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9.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0.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8"/>
  </p:notesMasterIdLst>
  <p:sldIdLst>
    <p:sldId id="314" r:id="rId5"/>
    <p:sldId id="391" r:id="rId6"/>
    <p:sldId id="392" r:id="rId7"/>
    <p:sldId id="394" r:id="rId8"/>
    <p:sldId id="395" r:id="rId9"/>
    <p:sldId id="396" r:id="rId10"/>
    <p:sldId id="397" r:id="rId11"/>
    <p:sldId id="398" r:id="rId12"/>
    <p:sldId id="399" r:id="rId13"/>
    <p:sldId id="401" r:id="rId14"/>
    <p:sldId id="402" r:id="rId15"/>
    <p:sldId id="403" r:id="rId16"/>
    <p:sldId id="364"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CE3D990-600E-89C4-DE03-F8AC4AD58452}" name="EDL_HUB / Esther Worobjoff" initials="EW" userId="S::esther.worobjoff@edlhub.org::f9ebd28b-3869-4d95-a18e-0422ec9e8a6a" providerId="AD"/>
  <p188:author id="{233DADC7-9442-E81E-009B-59E3D135AB1D}" name="DENEFF / Clemens Buhr" initials="CB" userId="S::clemens.buhr@deneff.org::51ec2ba2-7a31-4f69-ba3f-1e25710c1a6e" providerId="AD"/>
  <p188:author id="{F54792F5-2A35-692B-56E2-C68C2BBF2279}" name="DENEFF / Johan Ohnesorge" initials="JO" userId="S::Johan.Ohnesorge@deneff.org::5c7c272f-c6f6-49be-8827-732250a55ee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60"/>
  </p:normalViewPr>
  <p:slideViewPr>
    <p:cSldViewPr snapToGrid="0" showGuides="1">
      <p:cViewPr varScale="1">
        <p:scale>
          <a:sx n="59" d="100"/>
          <a:sy n="59" d="100"/>
        </p:scale>
        <p:origin x="964" y="5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8/10/relationships/authors" Target="authors.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iagrams/_rels/data1.xml.rels><?xml version="1.0" encoding="UTF-8" standalone="yes"?>
<Relationships xmlns="http://schemas.openxmlformats.org/package/2006/relationships"><Relationship Id="rId2" Type="http://schemas.openxmlformats.org/officeDocument/2006/relationships/hyperlink" Target="https://www.kfw.de/inlandsfoerderung/Unternehmen/Energie-Umwelt/F%C3%B6rderprodukte/Klimaschutzoffensive-f%C3%BCr-den-Mittelstand-(293)/" TargetMode="External"/><Relationship Id="rId1" Type="http://schemas.openxmlformats.org/officeDocument/2006/relationships/hyperlink" Target="https://www.kfw.de/inlandsfoerderung/Unternehmen/Energie-Umwelt/F%C3%B6rderprodukte/EE-Produktion-292/" TargetMode="External"/></Relationships>
</file>

<file path=ppt/diagrams/_rels/data2.xml.rels><?xml version="1.0" encoding="UTF-8" standalone="yes"?>
<Relationships xmlns="http://schemas.openxmlformats.org/package/2006/relationships"><Relationship Id="rId1" Type="http://schemas.openxmlformats.org/officeDocument/2006/relationships/hyperlink" Target="https://www.bafa.de/DE/Energie/Energieeffizienz/Energieeffizienz_und_Prozesswaerme/Modul1_Querschnittstechnologien/modul1_querschnittstechnologien_node.html" TargetMode="External"/></Relationships>
</file>

<file path=ppt/diagrams/_rels/data3.xml.rels><?xml version="1.0" encoding="UTF-8" standalone="yes"?>
<Relationships xmlns="http://schemas.openxmlformats.org/package/2006/relationships"><Relationship Id="rId1" Type="http://schemas.openxmlformats.org/officeDocument/2006/relationships/hyperlink" Target="https://www.bafa.de/DE/Energie/Energieeffizienz/Energieeffizienz_und_Prozesswaerme/Modul2_Prozesswaerme/modul2_prozesswaerme_node.html" TargetMode="External"/></Relationships>
</file>

<file path=ppt/diagrams/_rels/data4.xml.rels><?xml version="1.0" encoding="UTF-8" standalone="yes"?>
<Relationships xmlns="http://schemas.openxmlformats.org/package/2006/relationships"><Relationship Id="rId1" Type="http://schemas.openxmlformats.org/officeDocument/2006/relationships/hyperlink" Target="https://www.bafa.de/DE/Energie/Energieeffizienz/Energieeffizienz_und_Prozesswaerme/Modul3_Energiemanagementsysteme/modul3_energiemanagementsysteme_node.html" TargetMode="External"/></Relationships>
</file>

<file path=ppt/diagrams/_rels/data5.xml.rels><?xml version="1.0" encoding="UTF-8" standalone="yes"?>
<Relationships xmlns="http://schemas.openxmlformats.org/package/2006/relationships"><Relationship Id="rId1" Type="http://schemas.openxmlformats.org/officeDocument/2006/relationships/hyperlink" Target="https://www.bafa.de/DE/Energie/Energieeffizienz/Energieeffizienz_und_Prozesswaerme/Modul5_Transformationsplaene/modul5_transformationsplaene_node.html" TargetMode="External"/></Relationships>
</file>

<file path=ppt/diagrams/_rels/data6.xml.rels><?xml version="1.0" encoding="UTF-8" standalone="yes"?>
<Relationships xmlns="http://schemas.openxmlformats.org/package/2006/relationships"><Relationship Id="rId1" Type="http://schemas.openxmlformats.org/officeDocument/2006/relationships/hyperlink" Target="https://www.bafa.de/DE/Energie/Energieeffizienz/Energieeffizienz_und_Prozesswaerme/Modul6_Elektrifizierungsmassnahmen_KU/modul6_elektrifizierungsmassnahmen_ku_node.html" TargetMode="External"/></Relationships>
</file>

<file path=ppt/diagrams/_rels/data7.xml.rels><?xml version="1.0" encoding="UTF-8" standalone="yes"?>
<Relationships xmlns="http://schemas.openxmlformats.org/package/2006/relationships"><Relationship Id="rId2" Type="http://schemas.openxmlformats.org/officeDocument/2006/relationships/hyperlink" Target="https://www.wettbewerb-energieeffizienz.de/mitmachen/wettbewerbsrunden" TargetMode="External"/><Relationship Id="rId1" Type="http://schemas.openxmlformats.org/officeDocument/2006/relationships/hyperlink" Target="https://www.wettbewerb-energieeffizienz.de/foerderwettbewerb" TargetMode="External"/></Relationships>
</file>

<file path=ppt/diagrams/_rels/data8.xml.rels><?xml version="1.0" encoding="UTF-8" standalone="yes"?>
<Relationships xmlns="http://schemas.openxmlformats.org/package/2006/relationships"><Relationship Id="rId3" Type="http://schemas.openxmlformats.org/officeDocument/2006/relationships/hyperlink" Target="https://gesetze.legal/eu/vo_eu_2014_651/25" TargetMode="External"/><Relationship Id="rId2" Type="http://schemas.openxmlformats.org/officeDocument/2006/relationships/hyperlink" Target="https://www.klimaschutz-industrie.de/foerderung/bundesfoerderung-industrie-und-klimaschutz-modul-1/" TargetMode="External"/><Relationship Id="rId1" Type="http://schemas.openxmlformats.org/officeDocument/2006/relationships/hyperlink" Target="https://eur-lex.europa.eu/legal-content/EN/TXT/?uri=CELEX%3A02023XC0317%2801%29-20240502" TargetMode="External"/><Relationship Id="rId4" Type="http://schemas.openxmlformats.org/officeDocument/2006/relationships/hyperlink" Target="https://gesetze.legal/eu/vo_eu_2014_651/36" TargetMode="External"/></Relationships>
</file>

<file path=ppt/diagrams/_rels/data9.xml.rels><?xml version="1.0" encoding="UTF-8" standalone="yes"?>
<Relationships xmlns="http://schemas.openxmlformats.org/package/2006/relationships"><Relationship Id="rId1" Type="http://schemas.openxmlformats.org/officeDocument/2006/relationships/hyperlink" Target="https://www.klimaschutzvertraege.info/" TargetMode="External"/></Relationships>
</file>

<file path=ppt/diagrams/_rels/drawing1.xml.rels><?xml version="1.0" encoding="UTF-8" standalone="yes"?>
<Relationships xmlns="http://schemas.openxmlformats.org/package/2006/relationships"><Relationship Id="rId2" Type="http://schemas.openxmlformats.org/officeDocument/2006/relationships/hyperlink" Target="https://www.kfw.de/inlandsfoerderung/Unternehmen/Energie-Umwelt/F%C3%B6rderprodukte/Klimaschutzoffensive-f%C3%BCr-den-Mittelstand-(293)/" TargetMode="External"/><Relationship Id="rId1" Type="http://schemas.openxmlformats.org/officeDocument/2006/relationships/hyperlink" Target="https://www.kfw.de/inlandsfoerderung/Unternehmen/Energie-Umwelt/F%C3%B6rderprodukte/EE-Produktion-292/" TargetMode="External"/></Relationships>
</file>

<file path=ppt/diagrams/_rels/drawing2.xml.rels><?xml version="1.0" encoding="UTF-8" standalone="yes"?>
<Relationships xmlns="http://schemas.openxmlformats.org/package/2006/relationships"><Relationship Id="rId1" Type="http://schemas.openxmlformats.org/officeDocument/2006/relationships/hyperlink" Target="https://www.bafa.de/DE/Energie/Energieeffizienz/Energieeffizienz_und_Prozesswaerme/Modul1_Querschnittstechnologien/modul1_querschnittstechnologien_node.html" TargetMode="External"/></Relationships>
</file>

<file path=ppt/diagrams/_rels/drawing3.xml.rels><?xml version="1.0" encoding="UTF-8" standalone="yes"?>
<Relationships xmlns="http://schemas.openxmlformats.org/package/2006/relationships"><Relationship Id="rId1" Type="http://schemas.openxmlformats.org/officeDocument/2006/relationships/hyperlink" Target="https://www.bafa.de/DE/Energie/Energieeffizienz/Energieeffizienz_und_Prozesswaerme/Modul2_Prozesswaerme/modul2_prozesswaerme_node.html" TargetMode="External"/></Relationships>
</file>

<file path=ppt/diagrams/_rels/drawing4.xml.rels><?xml version="1.0" encoding="UTF-8" standalone="yes"?>
<Relationships xmlns="http://schemas.openxmlformats.org/package/2006/relationships"><Relationship Id="rId1" Type="http://schemas.openxmlformats.org/officeDocument/2006/relationships/hyperlink" Target="https://www.bafa.de/DE/Energie/Energieeffizienz/Energieeffizienz_und_Prozesswaerme/Modul3_Energiemanagementsysteme/modul3_energiemanagementsysteme_node.html" TargetMode="External"/></Relationships>
</file>

<file path=ppt/diagrams/_rels/drawing5.xml.rels><?xml version="1.0" encoding="UTF-8" standalone="yes"?>
<Relationships xmlns="http://schemas.openxmlformats.org/package/2006/relationships"><Relationship Id="rId1" Type="http://schemas.openxmlformats.org/officeDocument/2006/relationships/hyperlink" Target="https://www.bafa.de/DE/Energie/Energieeffizienz/Energieeffizienz_und_Prozesswaerme/Modul5_Transformationsplaene/modul5_transformationsplaene_node.html" TargetMode="External"/></Relationships>
</file>

<file path=ppt/diagrams/_rels/drawing6.xml.rels><?xml version="1.0" encoding="UTF-8" standalone="yes"?>
<Relationships xmlns="http://schemas.openxmlformats.org/package/2006/relationships"><Relationship Id="rId1" Type="http://schemas.openxmlformats.org/officeDocument/2006/relationships/hyperlink" Target="https://www.bafa.de/DE/Energie/Energieeffizienz/Energieeffizienz_und_Prozesswaerme/Modul6_Elektrifizierungsmassnahmen_KU/modul6_elektrifizierungsmassnahmen_ku_node.html" TargetMode="External"/></Relationships>
</file>

<file path=ppt/diagrams/_rels/drawing7.xml.rels><?xml version="1.0" encoding="UTF-8" standalone="yes"?>
<Relationships xmlns="http://schemas.openxmlformats.org/package/2006/relationships"><Relationship Id="rId2" Type="http://schemas.openxmlformats.org/officeDocument/2006/relationships/hyperlink" Target="https://www.wettbewerb-energieeffizienz.de/foerderwettbewerb" TargetMode="External"/><Relationship Id="rId1" Type="http://schemas.openxmlformats.org/officeDocument/2006/relationships/hyperlink" Target="https://www.wettbewerb-energieeffizienz.de/mitmachen/wettbewerbsrunden" TargetMode="External"/></Relationships>
</file>

<file path=ppt/diagrams/_rels/drawing8.xml.rels><?xml version="1.0" encoding="UTF-8" standalone="yes"?>
<Relationships xmlns="http://schemas.openxmlformats.org/package/2006/relationships"><Relationship Id="rId3" Type="http://schemas.openxmlformats.org/officeDocument/2006/relationships/hyperlink" Target="https://gesetze.legal/eu/vo_eu_2014_651/25" TargetMode="External"/><Relationship Id="rId2" Type="http://schemas.openxmlformats.org/officeDocument/2006/relationships/hyperlink" Target="https://eur-lex.europa.eu/legal-content/EN/TXT/?uri=CELEX%3A02023XC0317%2801%29-20240502" TargetMode="External"/><Relationship Id="rId1" Type="http://schemas.openxmlformats.org/officeDocument/2006/relationships/hyperlink" Target="https://gesetze.legal/eu/vo_eu_2014_651/36" TargetMode="External"/><Relationship Id="rId4" Type="http://schemas.openxmlformats.org/officeDocument/2006/relationships/hyperlink" Target="https://www.klimaschutz-industrie.de/foerderung/bundesfoerderung-industrie-und-klimaschutz-modul-1/" TargetMode="External"/></Relationships>
</file>

<file path=ppt/diagrams/_rels/drawing9.xml.rels><?xml version="1.0" encoding="UTF-8" standalone="yes"?>
<Relationships xmlns="http://schemas.openxmlformats.org/package/2006/relationships"><Relationship Id="rId1" Type="http://schemas.openxmlformats.org/officeDocument/2006/relationships/hyperlink" Target="https://www.klimaschutzvertraege.info/" TargetMode="Externa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FCB392C-E190-4000-BC2B-8923E66F8E05}"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GB"/>
        </a:p>
      </dgm:t>
    </dgm:pt>
    <dgm:pt modelId="{E6EFA897-0431-492F-B65F-D429EF9274CB}">
      <dgm:prSet phldrT="[Text]" custT="1"/>
      <dgm:spPr>
        <a:solidFill>
          <a:srgbClr val="FC5B2F"/>
        </a:solidFill>
        <a:ln w="63500">
          <a:solidFill>
            <a:schemeClr val="bg1"/>
          </a:solidFill>
        </a:ln>
      </dgm:spPr>
      <dgm:t>
        <a:bodyPr/>
        <a:lstStyle/>
        <a:p>
          <a:r>
            <a:rPr lang="de-DE" sz="2000" b="1"/>
            <a:t>WAS?</a:t>
          </a:r>
          <a:endParaRPr lang="en-GB" sz="2000" b="1"/>
        </a:p>
      </dgm:t>
    </dgm:pt>
    <dgm:pt modelId="{3F2A00E6-14CF-4B7B-83A8-308789775694}" type="parTrans" cxnId="{2E6C1579-6082-4E33-A723-E845F8FBA423}">
      <dgm:prSet/>
      <dgm:spPr/>
      <dgm:t>
        <a:bodyPr/>
        <a:lstStyle/>
        <a:p>
          <a:endParaRPr lang="en-GB"/>
        </a:p>
      </dgm:t>
    </dgm:pt>
    <dgm:pt modelId="{7AEB0645-723A-40EF-ABFC-A5BB952678BD}" type="sibTrans" cxnId="{2E6C1579-6082-4E33-A723-E845F8FBA423}">
      <dgm:prSet/>
      <dgm:spPr/>
      <dgm:t>
        <a:bodyPr/>
        <a:lstStyle/>
        <a:p>
          <a:endParaRPr lang="en-GB"/>
        </a:p>
      </dgm:t>
    </dgm:pt>
    <dgm:pt modelId="{03FEEBAF-B492-4AB8-89C6-4B4628CA1E26}">
      <dgm:prSet phldrT="[Text]" custT="1"/>
      <dgm:spPr>
        <a:solidFill>
          <a:srgbClr val="FC5B2F"/>
        </a:solidFill>
        <a:ln w="63500">
          <a:solidFill>
            <a:schemeClr val="bg1"/>
          </a:solidFill>
        </a:ln>
      </dgm:spPr>
      <dgm:t>
        <a:bodyPr/>
        <a:lstStyle/>
        <a:p>
          <a:r>
            <a:rPr lang="de-DE" sz="2000" b="1"/>
            <a:t>WER?</a:t>
          </a:r>
          <a:endParaRPr lang="en-GB" sz="2000" b="1"/>
        </a:p>
      </dgm:t>
    </dgm:pt>
    <dgm:pt modelId="{36E648EC-D32B-449E-9167-67FC1B8DDF49}" type="parTrans" cxnId="{84E6D674-155B-4E0C-98FA-DD06EBDC25BA}">
      <dgm:prSet/>
      <dgm:spPr/>
      <dgm:t>
        <a:bodyPr/>
        <a:lstStyle/>
        <a:p>
          <a:endParaRPr lang="en-GB"/>
        </a:p>
      </dgm:t>
    </dgm:pt>
    <dgm:pt modelId="{46A33D61-164A-49AF-AE7D-CEFC1DBAB295}" type="sibTrans" cxnId="{84E6D674-155B-4E0C-98FA-DD06EBDC25BA}">
      <dgm:prSet/>
      <dgm:spPr/>
      <dgm:t>
        <a:bodyPr/>
        <a:lstStyle/>
        <a:p>
          <a:endParaRPr lang="en-GB"/>
        </a:p>
      </dgm:t>
    </dgm:pt>
    <dgm:pt modelId="{96260E3C-6263-485C-AAD5-4834D4569D00}">
      <dgm:prSet phldrT="[Text]" custT="1"/>
      <dgm:spPr>
        <a:solidFill>
          <a:srgbClr val="FC5B2F"/>
        </a:solidFill>
        <a:ln w="63500">
          <a:solidFill>
            <a:schemeClr val="bg1"/>
          </a:solidFill>
        </a:ln>
      </dgm:spPr>
      <dgm:t>
        <a:bodyPr/>
        <a:lstStyle/>
        <a:p>
          <a:r>
            <a:rPr lang="de-DE" sz="2000" b="1"/>
            <a:t>WIE VIEL?</a:t>
          </a:r>
          <a:endParaRPr lang="en-GB" sz="2000" b="1"/>
        </a:p>
      </dgm:t>
    </dgm:pt>
    <dgm:pt modelId="{2B5F8176-600B-448A-BAC4-07CC9809E5E1}" type="parTrans" cxnId="{F4407357-DA74-4905-8D57-999A75C49954}">
      <dgm:prSet/>
      <dgm:spPr/>
      <dgm:t>
        <a:bodyPr/>
        <a:lstStyle/>
        <a:p>
          <a:endParaRPr lang="en-GB"/>
        </a:p>
      </dgm:t>
    </dgm:pt>
    <dgm:pt modelId="{9118D841-7835-4425-89DF-5E2FF676BD2C}" type="sibTrans" cxnId="{F4407357-DA74-4905-8D57-999A75C49954}">
      <dgm:prSet/>
      <dgm:spPr/>
      <dgm:t>
        <a:bodyPr/>
        <a:lstStyle/>
        <a:p>
          <a:endParaRPr lang="en-GB"/>
        </a:p>
      </dgm:t>
    </dgm:pt>
    <dgm:pt modelId="{0A2167F3-4E3C-49E8-8F53-F429B724897B}">
      <dgm:prSet phldrT="[Text]" custT="1"/>
      <dgm:spPr>
        <a:solidFill>
          <a:srgbClr val="FEEAE8">
            <a:alpha val="90000"/>
          </a:srgbClr>
        </a:solidFill>
        <a:ln w="63500" cap="rnd">
          <a:solidFill>
            <a:schemeClr val="bg1"/>
          </a:solidFill>
          <a:round/>
        </a:ln>
      </dgm:spPr>
      <dgm:t>
        <a:bodyPr/>
        <a:lstStyle/>
        <a:p>
          <a:r>
            <a:rPr lang="de-DE" altLang="de-DE" sz="1200">
              <a:latin typeface="+mn-lt"/>
            </a:rPr>
            <a:t>Finanzierung von bis zu 100 % der förderfähigen Investitionskosten,</a:t>
          </a:r>
          <a:endParaRPr lang="en-GB" sz="1200">
            <a:latin typeface="+mn-lt"/>
          </a:endParaRPr>
        </a:p>
      </dgm:t>
    </dgm:pt>
    <dgm:pt modelId="{C31FCFD9-9839-42B9-909B-53DFE97C6A9D}" type="parTrans" cxnId="{92F75A5B-779F-4B6B-9DC9-466C31D92B4C}">
      <dgm:prSet/>
      <dgm:spPr/>
      <dgm:t>
        <a:bodyPr/>
        <a:lstStyle/>
        <a:p>
          <a:endParaRPr lang="en-GB"/>
        </a:p>
      </dgm:t>
    </dgm:pt>
    <dgm:pt modelId="{981FCCCA-D06E-451D-858E-6E6DE23A18B8}" type="sibTrans" cxnId="{92F75A5B-779F-4B6B-9DC9-466C31D92B4C}">
      <dgm:prSet/>
      <dgm:spPr/>
      <dgm:t>
        <a:bodyPr/>
        <a:lstStyle/>
        <a:p>
          <a:endParaRPr lang="en-GB"/>
        </a:p>
      </dgm:t>
    </dgm:pt>
    <dgm:pt modelId="{52BD68D0-EAE3-4487-ADC7-C30AD0C149E7}">
      <dgm:prSet phldrT="[Text]" custT="1"/>
      <dgm:spPr>
        <a:solidFill>
          <a:srgbClr val="FC5B2F"/>
        </a:solidFill>
        <a:ln w="63500">
          <a:solidFill>
            <a:schemeClr val="bg1"/>
          </a:solidFill>
        </a:ln>
      </dgm:spPr>
      <dgm:t>
        <a:bodyPr/>
        <a:lstStyle/>
        <a:p>
          <a:r>
            <a:rPr lang="de-DE" sz="2000" b="1"/>
            <a:t>WO?</a:t>
          </a:r>
          <a:endParaRPr lang="en-GB" sz="2000" b="1"/>
        </a:p>
      </dgm:t>
    </dgm:pt>
    <dgm:pt modelId="{BB9FE834-9348-4C65-ABF7-D62613A39635}" type="parTrans" cxnId="{F1270984-F461-4C12-ACC0-75C88A60C205}">
      <dgm:prSet/>
      <dgm:spPr/>
      <dgm:t>
        <a:bodyPr/>
        <a:lstStyle/>
        <a:p>
          <a:endParaRPr lang="en-GB"/>
        </a:p>
      </dgm:t>
    </dgm:pt>
    <dgm:pt modelId="{C8ED1CA2-595E-436E-B860-29E61D658492}" type="sibTrans" cxnId="{F1270984-F461-4C12-ACC0-75C88A60C205}">
      <dgm:prSet/>
      <dgm:spPr/>
      <dgm:t>
        <a:bodyPr/>
        <a:lstStyle/>
        <a:p>
          <a:endParaRPr lang="en-GB"/>
        </a:p>
      </dgm:t>
    </dgm:pt>
    <dgm:pt modelId="{52B98E0D-74B5-47F3-93A9-75219B6BCE70}">
      <dgm:prSet phldrT="[Text]" custT="1"/>
      <dgm:spPr>
        <a:solidFill>
          <a:srgbClr val="FC5B2F"/>
        </a:solidFill>
        <a:ln w="63500">
          <a:solidFill>
            <a:schemeClr val="bg1"/>
          </a:solidFill>
        </a:ln>
      </dgm:spPr>
      <dgm:t>
        <a:bodyPr/>
        <a:lstStyle/>
        <a:p>
          <a:r>
            <a:rPr lang="de-DE" sz="2000" b="1"/>
            <a:t>BIS WANN?</a:t>
          </a:r>
          <a:endParaRPr lang="en-GB" sz="2000" b="1"/>
        </a:p>
      </dgm:t>
    </dgm:pt>
    <dgm:pt modelId="{98C1EE2D-85CD-4DF7-BA31-B2037EADB0D7}" type="parTrans" cxnId="{954AB5ED-19D8-4B9F-9274-A07D3F0B86DC}">
      <dgm:prSet/>
      <dgm:spPr/>
      <dgm:t>
        <a:bodyPr/>
        <a:lstStyle/>
        <a:p>
          <a:endParaRPr lang="en-GB"/>
        </a:p>
      </dgm:t>
    </dgm:pt>
    <dgm:pt modelId="{CD1C99D8-452D-4FB0-BFC1-18CE9E5E8FC6}" type="sibTrans" cxnId="{954AB5ED-19D8-4B9F-9274-A07D3F0B86DC}">
      <dgm:prSet/>
      <dgm:spPr/>
      <dgm:t>
        <a:bodyPr/>
        <a:lstStyle/>
        <a:p>
          <a:endParaRPr lang="en-GB"/>
        </a:p>
      </dgm:t>
    </dgm:pt>
    <dgm:pt modelId="{9769D350-8FE4-4236-B37A-51F281FB0440}">
      <dgm:prSet phldrT="[Text]" custT="1"/>
      <dgm:spPr>
        <a:solidFill>
          <a:srgbClr val="FEEAE8">
            <a:alpha val="90000"/>
          </a:srgbClr>
        </a:solidFill>
        <a:ln w="63500" cap="rnd">
          <a:solidFill>
            <a:schemeClr val="bg1">
              <a:alpha val="90000"/>
            </a:schemeClr>
          </a:solidFill>
          <a:round/>
        </a:ln>
      </dgm:spPr>
      <dgm:t>
        <a:bodyPr/>
        <a:lstStyle/>
        <a:p>
          <a:pPr>
            <a:buFont typeface="Arial" panose="020B0604020202020204" pitchFamily="34" charset="0"/>
            <a:buChar char="•"/>
          </a:pPr>
          <a:r>
            <a:rPr lang="en-GB" altLang="de-DE" sz="1200">
              <a:solidFill>
                <a:schemeClr val="tx1"/>
              </a:solidFill>
              <a:latin typeface="+mn-lt"/>
              <a:hlinkClick xmlns:r="http://schemas.openxmlformats.org/officeDocument/2006/relationships" r:id="rId1">
                <a:extLst>
                  <a:ext uri="{A12FA001-AC4F-418D-AE19-62706E023703}">
                    <ahyp:hlinkClr xmlns:ahyp="http://schemas.microsoft.com/office/drawing/2018/hyperlinkcolor" val="tx"/>
                  </a:ext>
                </a:extLst>
              </a:hlinkClick>
            </a:rPr>
            <a:t>https://www.kfw.de/inlandsfoerderung/Unternehmen/Energie-Umwelt/F%C3%B6rderprodukte/EE-Produktion-292/</a:t>
          </a:r>
          <a:endParaRPr lang="en-GB" sz="1200">
            <a:solidFill>
              <a:schemeClr val="tx1"/>
            </a:solidFill>
            <a:latin typeface="+mn-lt"/>
          </a:endParaRPr>
        </a:p>
      </dgm:t>
    </dgm:pt>
    <dgm:pt modelId="{B162A309-DDB3-4E45-92DD-CDBE1CC908D1}" type="parTrans" cxnId="{2B5F364B-9F67-4EFD-A893-5ED40B6C87FC}">
      <dgm:prSet/>
      <dgm:spPr/>
      <dgm:t>
        <a:bodyPr/>
        <a:lstStyle/>
        <a:p>
          <a:endParaRPr lang="en-GB"/>
        </a:p>
      </dgm:t>
    </dgm:pt>
    <dgm:pt modelId="{E3E4F325-38EC-4BAF-80AB-9E71F04CCABD}" type="sibTrans" cxnId="{2B5F364B-9F67-4EFD-A893-5ED40B6C87FC}">
      <dgm:prSet/>
      <dgm:spPr/>
      <dgm:t>
        <a:bodyPr/>
        <a:lstStyle/>
        <a:p>
          <a:endParaRPr lang="en-GB"/>
        </a:p>
      </dgm:t>
    </dgm:pt>
    <dgm:pt modelId="{0304314D-5BF1-42A8-BE34-2A2F0E95F676}">
      <dgm:prSet phldrT="[Text]" custT="1"/>
      <dgm:spPr>
        <a:solidFill>
          <a:srgbClr val="FEEAE8">
            <a:alpha val="90000"/>
          </a:srgbClr>
        </a:solidFill>
        <a:ln w="63500" cap="rnd">
          <a:solidFill>
            <a:schemeClr val="bg1"/>
          </a:solidFill>
          <a:round/>
        </a:ln>
      </dgm:spPr>
      <dgm:t>
        <a:bodyPr/>
        <a:lstStyle/>
        <a:p>
          <a:pPr>
            <a:buNone/>
          </a:pPr>
          <a:r>
            <a:rPr lang="en-GB" sz="1200">
              <a:latin typeface="+mn-lt"/>
            </a:rPr>
            <a:t>offen</a:t>
          </a:r>
        </a:p>
      </dgm:t>
    </dgm:pt>
    <dgm:pt modelId="{804FF43D-A32E-451E-A676-9BB53C66ECED}" type="parTrans" cxnId="{4C02BB6C-62E0-4B38-BABC-C6745075E7FB}">
      <dgm:prSet/>
      <dgm:spPr/>
      <dgm:t>
        <a:bodyPr/>
        <a:lstStyle/>
        <a:p>
          <a:endParaRPr lang="en-GB"/>
        </a:p>
      </dgm:t>
    </dgm:pt>
    <dgm:pt modelId="{45B9690B-B485-4BD2-A80E-FBB267D431B6}" type="sibTrans" cxnId="{4C02BB6C-62E0-4B38-BABC-C6745075E7FB}">
      <dgm:prSet/>
      <dgm:spPr/>
      <dgm:t>
        <a:bodyPr/>
        <a:lstStyle/>
        <a:p>
          <a:endParaRPr lang="en-GB"/>
        </a:p>
      </dgm:t>
    </dgm:pt>
    <dgm:pt modelId="{5B68FBBB-097B-4FC1-AC52-7BCB9A82E434}">
      <dgm:prSet phldrT="[Text]" custT="1"/>
      <dgm:spPr>
        <a:solidFill>
          <a:srgbClr val="FEEAE8">
            <a:alpha val="90000"/>
          </a:srgbClr>
        </a:solidFill>
        <a:ln w="63500" cap="rnd">
          <a:solidFill>
            <a:schemeClr val="bg1"/>
          </a:solidFill>
          <a:round/>
        </a:ln>
      </dgm:spPr>
      <dgm:t>
        <a:bodyPr/>
        <a:lstStyle/>
        <a:p>
          <a:pPr>
            <a:buFont typeface="Arial" panose="020B0604020202020204" pitchFamily="34" charset="0"/>
            <a:buChar char="•"/>
          </a:pPr>
          <a:r>
            <a:rPr lang="de-DE" altLang="de-DE" sz="1200">
              <a:solidFill>
                <a:srgbClr val="000000"/>
              </a:solidFill>
              <a:latin typeface="+mn-lt"/>
              <a:cs typeface="Arial" charset="0"/>
            </a:rPr>
            <a:t>In- und ausländische Unternehmen der gewerblichen Wirtschaft, </a:t>
          </a:r>
          <a:endParaRPr lang="en-GB" sz="1200">
            <a:latin typeface="+mn-lt"/>
          </a:endParaRPr>
        </a:p>
      </dgm:t>
    </dgm:pt>
    <dgm:pt modelId="{659E152D-55D2-44AD-AE67-588F8779BF6F}" type="parTrans" cxnId="{CED7E969-D16B-49AC-9025-0639DE7A44EA}">
      <dgm:prSet/>
      <dgm:spPr/>
      <dgm:t>
        <a:bodyPr/>
        <a:lstStyle/>
        <a:p>
          <a:endParaRPr lang="en-GB"/>
        </a:p>
      </dgm:t>
    </dgm:pt>
    <dgm:pt modelId="{2DEC8DEC-3F82-4CCC-A411-7762AAC03FEB}" type="sibTrans" cxnId="{CED7E969-D16B-49AC-9025-0639DE7A44EA}">
      <dgm:prSet/>
      <dgm:spPr/>
      <dgm:t>
        <a:bodyPr/>
        <a:lstStyle/>
        <a:p>
          <a:endParaRPr lang="en-GB"/>
        </a:p>
      </dgm:t>
    </dgm:pt>
    <dgm:pt modelId="{0B0E29F8-58DA-4B85-A037-33270222EDB5}">
      <dgm:prSet phldrT="[Text]" custT="1"/>
      <dgm:spPr>
        <a:solidFill>
          <a:srgbClr val="FEEAE8">
            <a:alpha val="90000"/>
          </a:srgbClr>
        </a:solidFill>
        <a:ln w="63500" cap="rnd" cmpd="sng">
          <a:solidFill>
            <a:schemeClr val="bg1"/>
          </a:solidFill>
          <a:round/>
        </a:ln>
      </dgm:spPr>
      <dgm:t>
        <a:bodyPr/>
        <a:lstStyle/>
        <a:p>
          <a:r>
            <a:rPr lang="de-DE" altLang="de-DE" sz="1200">
              <a:solidFill>
                <a:srgbClr val="000000"/>
              </a:solidFill>
              <a:cs typeface="Arial" panose="020B0604020202020204" pitchFamily="34" charset="0"/>
            </a:rPr>
            <a:t>Zinsgünstige Darlehen für Energieeffizienzmaßnahmen im Bereich Produktionsanlagen und -prozesse ab 10% Energieeinsparung, günstigere Konditionen wenn es die Taxonomie erfüllt:</a:t>
          </a:r>
          <a:endParaRPr lang="en-GB" sz="1200">
            <a:ln>
              <a:noFill/>
            </a:ln>
            <a:latin typeface="+mn-lt"/>
          </a:endParaRPr>
        </a:p>
      </dgm:t>
    </dgm:pt>
    <dgm:pt modelId="{B3303F4A-0797-479A-ADE6-B072AA2FE5D1}" type="sibTrans" cxnId="{8DB13611-D17D-4779-84EF-763DF9E3547C}">
      <dgm:prSet/>
      <dgm:spPr/>
      <dgm:t>
        <a:bodyPr/>
        <a:lstStyle/>
        <a:p>
          <a:endParaRPr lang="en-GB"/>
        </a:p>
      </dgm:t>
    </dgm:pt>
    <dgm:pt modelId="{6932F5EC-2FFE-483B-A29C-A66067ED0F62}" type="parTrans" cxnId="{8DB13611-D17D-4779-84EF-763DF9E3547C}">
      <dgm:prSet/>
      <dgm:spPr/>
      <dgm:t>
        <a:bodyPr/>
        <a:lstStyle/>
        <a:p>
          <a:endParaRPr lang="en-GB"/>
        </a:p>
      </dgm:t>
    </dgm:pt>
    <dgm:pt modelId="{59DFEB15-4BE0-43CF-A481-3E11C46C7566}">
      <dgm:prSet custT="1"/>
      <dgm:spPr/>
      <dgm:t>
        <a:bodyPr/>
        <a:lstStyle/>
        <a:p>
          <a:r>
            <a:rPr lang="de-DE" altLang="de-DE" sz="1200">
              <a:solidFill>
                <a:srgbClr val="000000"/>
              </a:solidFill>
              <a:cs typeface="Arial" panose="020B0604020202020204" pitchFamily="34" charset="0"/>
            </a:rPr>
            <a:t>Bei Modernisierungsinvestition gemessen am Durchschnittsverbrauch der letzten drei Jahre</a:t>
          </a:r>
          <a:endParaRPr lang="en-GB" altLang="de-DE" sz="1200">
            <a:solidFill>
              <a:srgbClr val="000000"/>
            </a:solidFill>
            <a:cs typeface="Arial" panose="020B0604020202020204" pitchFamily="34" charset="0"/>
          </a:endParaRPr>
        </a:p>
      </dgm:t>
    </dgm:pt>
    <dgm:pt modelId="{02AC5A08-37DE-497B-B667-313A6AEF3007}" type="parTrans" cxnId="{4C018577-795A-43B7-B944-636A6A452768}">
      <dgm:prSet/>
      <dgm:spPr/>
      <dgm:t>
        <a:bodyPr/>
        <a:lstStyle/>
        <a:p>
          <a:endParaRPr lang="en-GB"/>
        </a:p>
      </dgm:t>
    </dgm:pt>
    <dgm:pt modelId="{4B80E11F-DB1F-4ABF-8DC1-960550FB7F9A}" type="sibTrans" cxnId="{4C018577-795A-43B7-B944-636A6A452768}">
      <dgm:prSet/>
      <dgm:spPr/>
      <dgm:t>
        <a:bodyPr/>
        <a:lstStyle/>
        <a:p>
          <a:endParaRPr lang="en-GB"/>
        </a:p>
      </dgm:t>
    </dgm:pt>
    <dgm:pt modelId="{7D5DB66F-0FFE-4F5B-9ADD-BBA3FC07D721}">
      <dgm:prSet custT="1"/>
      <dgm:spPr/>
      <dgm:t>
        <a:bodyPr/>
        <a:lstStyle/>
        <a:p>
          <a:r>
            <a:rPr lang="de-DE" altLang="de-DE" sz="1200">
              <a:solidFill>
                <a:srgbClr val="000000"/>
              </a:solidFill>
              <a:cs typeface="Arial" panose="020B0604020202020204" pitchFamily="34" charset="0"/>
            </a:rPr>
            <a:t>Bei Neuinvestitionen gegenüber dem Branchendurchschnitt</a:t>
          </a:r>
          <a:endParaRPr lang="en-GB" altLang="de-DE" sz="1200">
            <a:solidFill>
              <a:srgbClr val="000000"/>
            </a:solidFill>
            <a:cs typeface="Arial" panose="020B0604020202020204" pitchFamily="34" charset="0"/>
          </a:endParaRPr>
        </a:p>
      </dgm:t>
    </dgm:pt>
    <dgm:pt modelId="{61B9A450-9761-43E1-AF88-2E76BD996CD3}" type="parTrans" cxnId="{09BFBC71-2D70-43E5-9C16-D7058369A9A2}">
      <dgm:prSet/>
      <dgm:spPr/>
      <dgm:t>
        <a:bodyPr/>
        <a:lstStyle/>
        <a:p>
          <a:endParaRPr lang="en-GB"/>
        </a:p>
      </dgm:t>
    </dgm:pt>
    <dgm:pt modelId="{DFB52A48-AD73-4610-B7C8-3EFBF1691062}" type="sibTrans" cxnId="{09BFBC71-2D70-43E5-9C16-D7058369A9A2}">
      <dgm:prSet/>
      <dgm:spPr/>
      <dgm:t>
        <a:bodyPr/>
        <a:lstStyle/>
        <a:p>
          <a:endParaRPr lang="en-GB"/>
        </a:p>
      </dgm:t>
    </dgm:pt>
    <dgm:pt modelId="{11484A47-5966-4CFA-87D9-7847845E75D2}">
      <dgm:prSet custT="1"/>
      <dgm:spPr/>
      <dgm:t>
        <a:bodyPr/>
        <a:lstStyle/>
        <a:p>
          <a:r>
            <a:rPr lang="de-DE" altLang="de-DE" sz="1200">
              <a:solidFill>
                <a:srgbClr val="000000"/>
              </a:solidFill>
              <a:cs typeface="Arial" panose="020B0604020202020204" pitchFamily="34" charset="0"/>
            </a:rPr>
            <a:t>Damit in Verbindung stehende Aufwendungen für die Planungs- und Umsetzungsbegleitung sowie Energiemanagementsysteme</a:t>
          </a:r>
          <a:endParaRPr lang="en-GB" altLang="de-DE" sz="1200">
            <a:solidFill>
              <a:srgbClr val="000000"/>
            </a:solidFill>
            <a:cs typeface="Arial" panose="020B0604020202020204" pitchFamily="34" charset="0"/>
          </a:endParaRPr>
        </a:p>
      </dgm:t>
    </dgm:pt>
    <dgm:pt modelId="{09AFFC95-1066-47A1-81D6-3B97A871FCE5}" type="parTrans" cxnId="{DFD8182C-F409-4473-922A-589C26A00557}">
      <dgm:prSet/>
      <dgm:spPr/>
      <dgm:t>
        <a:bodyPr/>
        <a:lstStyle/>
        <a:p>
          <a:endParaRPr lang="en-GB"/>
        </a:p>
      </dgm:t>
    </dgm:pt>
    <dgm:pt modelId="{CB582BEC-D08A-49EC-A2C3-6536128A8F46}" type="sibTrans" cxnId="{DFD8182C-F409-4473-922A-589C26A00557}">
      <dgm:prSet/>
      <dgm:spPr/>
      <dgm:t>
        <a:bodyPr/>
        <a:lstStyle/>
        <a:p>
          <a:endParaRPr lang="en-GB"/>
        </a:p>
      </dgm:t>
    </dgm:pt>
    <dgm:pt modelId="{3F05BAF2-DB86-43CC-B9BC-8E2C3F7EA80A}">
      <dgm:prSet custT="1"/>
      <dgm:spPr/>
      <dgm:t>
        <a:bodyPr/>
        <a:lstStyle/>
        <a:p>
          <a:pPr>
            <a:buFont typeface="Arial" panose="020B0604020202020204" pitchFamily="34" charset="0"/>
            <a:buChar char="•"/>
          </a:pPr>
          <a:r>
            <a:rPr lang="de-DE" altLang="de-DE" sz="1200">
              <a:solidFill>
                <a:srgbClr val="000000"/>
              </a:solidFill>
              <a:latin typeface="+mn-lt"/>
              <a:cs typeface="Arial" charset="0"/>
            </a:rPr>
            <a:t>freiberuflich Tätige und Unternehmen, die als Contracting-Geber Energie-Dienstleistungen für Dritte erbringen</a:t>
          </a:r>
          <a:endParaRPr lang="en-GB" altLang="de-DE" sz="1200">
            <a:solidFill>
              <a:srgbClr val="000000"/>
            </a:solidFill>
            <a:latin typeface="+mn-lt"/>
            <a:cs typeface="Arial" charset="0"/>
          </a:endParaRPr>
        </a:p>
      </dgm:t>
    </dgm:pt>
    <dgm:pt modelId="{29F8A324-BC41-4F4E-B45B-0CA23C0F24ED}" type="parTrans" cxnId="{CA49856A-9785-430E-AE58-1A438E4E6130}">
      <dgm:prSet/>
      <dgm:spPr/>
      <dgm:t>
        <a:bodyPr/>
        <a:lstStyle/>
        <a:p>
          <a:endParaRPr lang="en-GB"/>
        </a:p>
      </dgm:t>
    </dgm:pt>
    <dgm:pt modelId="{1BCB5031-1C83-4FD8-A2C7-5F820517DC9F}" type="sibTrans" cxnId="{CA49856A-9785-430E-AE58-1A438E4E6130}">
      <dgm:prSet/>
      <dgm:spPr/>
      <dgm:t>
        <a:bodyPr/>
        <a:lstStyle/>
        <a:p>
          <a:endParaRPr lang="en-GB"/>
        </a:p>
      </dgm:t>
    </dgm:pt>
    <dgm:pt modelId="{4646F0A7-7A10-4C9E-ADD1-416A1024C1BB}">
      <dgm:prSet custT="1"/>
      <dgm:spPr/>
      <dgm:t>
        <a:bodyPr/>
        <a:lstStyle/>
        <a:p>
          <a:r>
            <a:rPr lang="de-DE" altLang="de-DE" sz="1200">
              <a:latin typeface="+mn-lt"/>
            </a:rPr>
            <a:t>Der Kreditbetrag beträgt i. d. R. bis zu 25 Mio. € pro Vorhaben</a:t>
          </a:r>
          <a:endParaRPr lang="en-GB" altLang="de-DE" sz="1200">
            <a:latin typeface="+mn-lt"/>
          </a:endParaRPr>
        </a:p>
      </dgm:t>
    </dgm:pt>
    <dgm:pt modelId="{52E03E83-B94D-4081-BA6A-C8B5321B7B41}" type="parTrans" cxnId="{5E2D01C5-FF61-4B9C-A5DC-BA19B35F3B42}">
      <dgm:prSet/>
      <dgm:spPr/>
      <dgm:t>
        <a:bodyPr/>
        <a:lstStyle/>
        <a:p>
          <a:endParaRPr lang="en-GB"/>
        </a:p>
      </dgm:t>
    </dgm:pt>
    <dgm:pt modelId="{B6F8345B-8FC0-4796-A4E9-52DD0920FCB8}" type="sibTrans" cxnId="{5E2D01C5-FF61-4B9C-A5DC-BA19B35F3B42}">
      <dgm:prSet/>
      <dgm:spPr/>
      <dgm:t>
        <a:bodyPr/>
        <a:lstStyle/>
        <a:p>
          <a:endParaRPr lang="en-GB"/>
        </a:p>
      </dgm:t>
    </dgm:pt>
    <dgm:pt modelId="{5CE4AE76-8823-45C1-910F-3B6484A4606F}">
      <dgm:prSet custT="1"/>
      <dgm:spPr/>
      <dgm:t>
        <a:bodyPr/>
        <a:lstStyle/>
        <a:p>
          <a:r>
            <a:rPr lang="en-GB" altLang="de-DE" sz="1200">
              <a:latin typeface="+mn-lt"/>
            </a:rPr>
            <a:t>Für 293 auch Klimazuschuss</a:t>
          </a:r>
        </a:p>
      </dgm:t>
    </dgm:pt>
    <dgm:pt modelId="{F4EF1D2E-59EF-436C-8050-F4860D683567}" type="parTrans" cxnId="{F3EABBCE-55E5-4B1D-B2A8-C35058EB25B1}">
      <dgm:prSet/>
      <dgm:spPr/>
      <dgm:t>
        <a:bodyPr/>
        <a:lstStyle/>
        <a:p>
          <a:endParaRPr lang="en-GB"/>
        </a:p>
      </dgm:t>
    </dgm:pt>
    <dgm:pt modelId="{35979291-6EB0-49FF-AA2C-F0457E7E4E28}" type="sibTrans" cxnId="{F3EABBCE-55E5-4B1D-B2A8-C35058EB25B1}">
      <dgm:prSet/>
      <dgm:spPr/>
      <dgm:t>
        <a:bodyPr/>
        <a:lstStyle/>
        <a:p>
          <a:endParaRPr lang="en-GB"/>
        </a:p>
      </dgm:t>
    </dgm:pt>
    <dgm:pt modelId="{8C1C0F61-544E-48EC-A660-651CE3A8AC23}">
      <dgm:prSet custT="1"/>
      <dgm:spPr/>
      <dgm:t>
        <a:bodyPr/>
        <a:lstStyle/>
        <a:p>
          <a:r>
            <a:rPr lang="de-DE" altLang="de-DE" sz="1200">
              <a:latin typeface="+mn-lt"/>
            </a:rPr>
            <a:t>Beihilferechtliche Vorgaben: Beantragung nach De-Minimis oder AGVO</a:t>
          </a:r>
          <a:endParaRPr lang="en-GB" altLang="de-DE" sz="1200">
            <a:latin typeface="+mn-lt"/>
          </a:endParaRPr>
        </a:p>
      </dgm:t>
    </dgm:pt>
    <dgm:pt modelId="{8C327407-3C7C-407B-95C1-D102F6F97BBC}" type="parTrans" cxnId="{E809A012-4BFB-45A3-9A4C-862C334FE004}">
      <dgm:prSet/>
      <dgm:spPr/>
      <dgm:t>
        <a:bodyPr/>
        <a:lstStyle/>
        <a:p>
          <a:endParaRPr lang="en-GB"/>
        </a:p>
      </dgm:t>
    </dgm:pt>
    <dgm:pt modelId="{A4C50F89-D053-4C0D-B6B7-9B5713A3726D}" type="sibTrans" cxnId="{E809A012-4BFB-45A3-9A4C-862C334FE004}">
      <dgm:prSet/>
      <dgm:spPr/>
      <dgm:t>
        <a:bodyPr/>
        <a:lstStyle/>
        <a:p>
          <a:endParaRPr lang="en-GB"/>
        </a:p>
      </dgm:t>
    </dgm:pt>
    <dgm:pt modelId="{DF4876AA-C9E2-4E5B-92A9-BBC3DF4AF2DE}">
      <dgm:prSet phldrT="[Text]" custT="1"/>
      <dgm:spPr>
        <a:solidFill>
          <a:srgbClr val="FEEAE8">
            <a:alpha val="90000"/>
          </a:srgbClr>
        </a:solidFill>
        <a:ln w="63500" cap="rnd">
          <a:solidFill>
            <a:schemeClr val="bg1">
              <a:alpha val="90000"/>
            </a:schemeClr>
          </a:solidFill>
          <a:round/>
        </a:ln>
      </dgm:spPr>
      <dgm:t>
        <a:bodyPr/>
        <a:lstStyle/>
        <a:p>
          <a:pPr>
            <a:buFont typeface="Arial" panose="020B0604020202020204" pitchFamily="34" charset="0"/>
            <a:buChar char="•"/>
          </a:pPr>
          <a:r>
            <a:rPr lang="de-DE" sz="1200">
              <a:solidFill>
                <a:schemeClr val="tx1"/>
              </a:solidFill>
              <a:latin typeface="+mn-lt"/>
              <a:hlinkClick xmlns:r="http://schemas.openxmlformats.org/officeDocument/2006/relationships" r:id="rId2">
                <a:extLst>
                  <a:ext uri="{A12FA001-AC4F-418D-AE19-62706E023703}">
                    <ahyp:hlinkClr xmlns:ahyp="http://schemas.microsoft.com/office/drawing/2018/hyperlinkcolor" val="tx"/>
                  </a:ext>
                </a:extLst>
              </a:hlinkClick>
            </a:rPr>
            <a:t>https://www.kfw.de/inlandsfoerderung/Unternehmen/Energie-Umwelt/F%C3%B6rderprodukte/Klimaschutzoffensive-f%C3%BCr-den-Mittelstand-(293)/</a:t>
          </a:r>
          <a:endParaRPr lang="en-GB" sz="1200">
            <a:solidFill>
              <a:schemeClr val="tx1"/>
            </a:solidFill>
            <a:latin typeface="+mn-lt"/>
          </a:endParaRPr>
        </a:p>
      </dgm:t>
    </dgm:pt>
    <dgm:pt modelId="{1CB7DC5A-DE49-40BF-8026-0B6B4911A525}" type="parTrans" cxnId="{FCFE6F91-B0FE-4DC9-8ED5-49C8F0335454}">
      <dgm:prSet/>
      <dgm:spPr/>
      <dgm:t>
        <a:bodyPr/>
        <a:lstStyle/>
        <a:p>
          <a:endParaRPr lang="de-DE"/>
        </a:p>
      </dgm:t>
    </dgm:pt>
    <dgm:pt modelId="{BED02E47-07DC-40DB-988C-BC2A95769F38}" type="sibTrans" cxnId="{FCFE6F91-B0FE-4DC9-8ED5-49C8F0335454}">
      <dgm:prSet/>
      <dgm:spPr/>
      <dgm:t>
        <a:bodyPr/>
        <a:lstStyle/>
        <a:p>
          <a:endParaRPr lang="de-DE"/>
        </a:p>
      </dgm:t>
    </dgm:pt>
    <dgm:pt modelId="{27648138-B716-41A0-A76C-626220E2874C}" type="pres">
      <dgm:prSet presAssocID="{FFCB392C-E190-4000-BC2B-8923E66F8E05}" presName="Name0" presStyleCnt="0">
        <dgm:presLayoutVars>
          <dgm:dir/>
          <dgm:animLvl val="lvl"/>
          <dgm:resizeHandles val="exact"/>
        </dgm:presLayoutVars>
      </dgm:prSet>
      <dgm:spPr/>
    </dgm:pt>
    <dgm:pt modelId="{1ADF6C26-1B25-4A78-B388-B1C46C817D76}" type="pres">
      <dgm:prSet presAssocID="{E6EFA897-0431-492F-B65F-D429EF9274CB}" presName="linNode" presStyleCnt="0"/>
      <dgm:spPr/>
    </dgm:pt>
    <dgm:pt modelId="{9C1950A7-783E-48B6-8E92-F40F44EBAD14}" type="pres">
      <dgm:prSet presAssocID="{E6EFA897-0431-492F-B65F-D429EF9274CB}" presName="parentText" presStyleLbl="node1" presStyleIdx="0" presStyleCnt="5" custScaleX="1418391" custScaleY="676824">
        <dgm:presLayoutVars>
          <dgm:chMax val="1"/>
          <dgm:bulletEnabled val="1"/>
        </dgm:presLayoutVars>
      </dgm:prSet>
      <dgm:spPr/>
    </dgm:pt>
    <dgm:pt modelId="{D4830C8F-A2AE-4990-90BF-6D9758F800E7}" type="pres">
      <dgm:prSet presAssocID="{E6EFA897-0431-492F-B65F-D429EF9274CB}" presName="descendantText" presStyleLbl="alignAccFollowNode1" presStyleIdx="0" presStyleCnt="5" custAng="0" custScaleX="2000000" custScaleY="850310">
        <dgm:presLayoutVars>
          <dgm:bulletEnabled val="1"/>
        </dgm:presLayoutVars>
      </dgm:prSet>
      <dgm:spPr>
        <a:prstGeom prst="roundRect">
          <a:avLst/>
        </a:prstGeom>
      </dgm:spPr>
    </dgm:pt>
    <dgm:pt modelId="{9203D1ED-D34A-4B16-8646-7FE2F50473D2}" type="pres">
      <dgm:prSet presAssocID="{7AEB0645-723A-40EF-ABFC-A5BB952678BD}" presName="sp" presStyleCnt="0"/>
      <dgm:spPr/>
    </dgm:pt>
    <dgm:pt modelId="{53851687-2ABD-4E48-9F25-DB16955D1D90}" type="pres">
      <dgm:prSet presAssocID="{03FEEBAF-B492-4AB8-89C6-4B4628CA1E26}" presName="linNode" presStyleCnt="0"/>
      <dgm:spPr/>
    </dgm:pt>
    <dgm:pt modelId="{6282B259-D810-400D-AF6A-A79E8F7BBC6B}" type="pres">
      <dgm:prSet presAssocID="{03FEEBAF-B492-4AB8-89C6-4B4628CA1E26}" presName="parentText" presStyleLbl="node1" presStyleIdx="1" presStyleCnt="5" custScaleX="1418391" custScaleY="266952">
        <dgm:presLayoutVars>
          <dgm:chMax val="1"/>
          <dgm:bulletEnabled val="1"/>
        </dgm:presLayoutVars>
      </dgm:prSet>
      <dgm:spPr>
        <a:prstGeom prst="roundRect">
          <a:avLst/>
        </a:prstGeom>
      </dgm:spPr>
    </dgm:pt>
    <dgm:pt modelId="{C3CA0957-EF4F-46A9-B14B-C34909532529}" type="pres">
      <dgm:prSet presAssocID="{03FEEBAF-B492-4AB8-89C6-4B4628CA1E26}" presName="descendantText" presStyleLbl="alignAccFollowNode1" presStyleIdx="1" presStyleCnt="5" custScaleX="2000000" custScaleY="342698">
        <dgm:presLayoutVars>
          <dgm:bulletEnabled val="1"/>
        </dgm:presLayoutVars>
      </dgm:prSet>
      <dgm:spPr>
        <a:prstGeom prst="roundRect">
          <a:avLst/>
        </a:prstGeom>
      </dgm:spPr>
    </dgm:pt>
    <dgm:pt modelId="{C9293F8E-C675-4E36-A65B-AAAC8006C733}" type="pres">
      <dgm:prSet presAssocID="{46A33D61-164A-49AF-AE7D-CEFC1DBAB295}" presName="sp" presStyleCnt="0"/>
      <dgm:spPr/>
    </dgm:pt>
    <dgm:pt modelId="{61D33F34-F888-4DD1-BA17-F953371D0B7A}" type="pres">
      <dgm:prSet presAssocID="{96260E3C-6263-485C-AAD5-4834D4569D00}" presName="linNode" presStyleCnt="0"/>
      <dgm:spPr/>
    </dgm:pt>
    <dgm:pt modelId="{E2E438A6-5F37-4E34-923A-0CA8673CDF3A}" type="pres">
      <dgm:prSet presAssocID="{96260E3C-6263-485C-AAD5-4834D4569D00}" presName="parentText" presStyleLbl="node1" presStyleIdx="2" presStyleCnt="5" custScaleX="86660" custScaleY="568453">
        <dgm:presLayoutVars>
          <dgm:chMax val="1"/>
          <dgm:bulletEnabled val="1"/>
        </dgm:presLayoutVars>
      </dgm:prSet>
      <dgm:spPr/>
    </dgm:pt>
    <dgm:pt modelId="{42205B36-F6FD-4A61-8A6C-F7C8A06C6790}" type="pres">
      <dgm:prSet presAssocID="{96260E3C-6263-485C-AAD5-4834D4569D00}" presName="descendantText" presStyleLbl="alignAccFollowNode1" presStyleIdx="2" presStyleCnt="5" custScaleX="122177" custScaleY="711120">
        <dgm:presLayoutVars>
          <dgm:bulletEnabled val="1"/>
        </dgm:presLayoutVars>
      </dgm:prSet>
      <dgm:spPr>
        <a:prstGeom prst="roundRect">
          <a:avLst/>
        </a:prstGeom>
      </dgm:spPr>
    </dgm:pt>
    <dgm:pt modelId="{CDDFDC90-580B-485A-9FC2-5DB7FE6F7287}" type="pres">
      <dgm:prSet presAssocID="{9118D841-7835-4425-89DF-5E2FF676BD2C}" presName="sp" presStyleCnt="0"/>
      <dgm:spPr/>
    </dgm:pt>
    <dgm:pt modelId="{73F3CA5A-E1C8-4A93-9B4D-EA5329F4F21A}" type="pres">
      <dgm:prSet presAssocID="{52BD68D0-EAE3-4487-ADC7-C30AD0C149E7}" presName="linNode" presStyleCnt="0"/>
      <dgm:spPr/>
    </dgm:pt>
    <dgm:pt modelId="{C8A9DE35-1CD6-4E88-9A7A-CD82966A87BF}" type="pres">
      <dgm:prSet presAssocID="{52BD68D0-EAE3-4487-ADC7-C30AD0C149E7}" presName="parentText" presStyleLbl="node1" presStyleIdx="3" presStyleCnt="5" custScaleX="114730" custScaleY="393358">
        <dgm:presLayoutVars>
          <dgm:chMax val="1"/>
          <dgm:bulletEnabled val="1"/>
        </dgm:presLayoutVars>
      </dgm:prSet>
      <dgm:spPr/>
    </dgm:pt>
    <dgm:pt modelId="{600B0FCE-F633-4F00-B20F-1253DB6B5E6E}" type="pres">
      <dgm:prSet presAssocID="{52BD68D0-EAE3-4487-ADC7-C30AD0C149E7}" presName="descendantText" presStyleLbl="alignAccFollowNode1" presStyleIdx="3" presStyleCnt="5" custScaleX="161690" custScaleY="552530">
        <dgm:presLayoutVars>
          <dgm:bulletEnabled val="1"/>
        </dgm:presLayoutVars>
      </dgm:prSet>
      <dgm:spPr>
        <a:prstGeom prst="roundRect">
          <a:avLst/>
        </a:prstGeom>
      </dgm:spPr>
    </dgm:pt>
    <dgm:pt modelId="{1A51CAE2-8F35-4B86-BC85-6FAB03C10C9B}" type="pres">
      <dgm:prSet presAssocID="{C8ED1CA2-595E-436E-B860-29E61D658492}" presName="sp" presStyleCnt="0"/>
      <dgm:spPr/>
    </dgm:pt>
    <dgm:pt modelId="{930F362C-C84D-4BD3-B965-79AFCF7BEE58}" type="pres">
      <dgm:prSet presAssocID="{52B98E0D-74B5-47F3-93A9-75219B6BCE70}" presName="linNode" presStyleCnt="0"/>
      <dgm:spPr/>
    </dgm:pt>
    <dgm:pt modelId="{36DCF81B-4ED1-4AD8-B27C-5FE0EF7F2B66}" type="pres">
      <dgm:prSet presAssocID="{52B98E0D-74B5-47F3-93A9-75219B6BCE70}" presName="parentText" presStyleLbl="node1" presStyleIdx="4" presStyleCnt="5" custScaleX="111007" custScaleY="202830">
        <dgm:presLayoutVars>
          <dgm:chMax val="1"/>
          <dgm:bulletEnabled val="1"/>
        </dgm:presLayoutVars>
      </dgm:prSet>
      <dgm:spPr/>
    </dgm:pt>
    <dgm:pt modelId="{BCBFAC89-216D-4DFF-897D-8C47A404ADDC}" type="pres">
      <dgm:prSet presAssocID="{52B98E0D-74B5-47F3-93A9-75219B6BCE70}" presName="descendantText" presStyleLbl="alignAccFollowNode1" presStyleIdx="4" presStyleCnt="5" custScaleX="156728" custScaleY="221057">
        <dgm:presLayoutVars>
          <dgm:bulletEnabled val="1"/>
        </dgm:presLayoutVars>
      </dgm:prSet>
      <dgm:spPr>
        <a:prstGeom prst="roundRect">
          <a:avLst/>
        </a:prstGeom>
      </dgm:spPr>
    </dgm:pt>
  </dgm:ptLst>
  <dgm:cxnLst>
    <dgm:cxn modelId="{3FDA0502-563B-4FA2-828B-8768C702D0F3}" type="presOf" srcId="{4646F0A7-7A10-4C9E-ADD1-416A1024C1BB}" destId="{42205B36-F6FD-4A61-8A6C-F7C8A06C6790}" srcOrd="0" destOrd="1" presId="urn:microsoft.com/office/officeart/2005/8/layout/vList5"/>
    <dgm:cxn modelId="{A049FB09-833A-4537-9648-2AD33358BC1B}" type="presOf" srcId="{11484A47-5966-4CFA-87D9-7847845E75D2}" destId="{D4830C8F-A2AE-4990-90BF-6D9758F800E7}" srcOrd="0" destOrd="3" presId="urn:microsoft.com/office/officeart/2005/8/layout/vList5"/>
    <dgm:cxn modelId="{9AA0FE0C-3498-4DEF-BAAA-9ECEAC181F28}" type="presOf" srcId="{FFCB392C-E190-4000-BC2B-8923E66F8E05}" destId="{27648138-B716-41A0-A76C-626220E2874C}" srcOrd="0" destOrd="0" presId="urn:microsoft.com/office/officeart/2005/8/layout/vList5"/>
    <dgm:cxn modelId="{8DB13611-D17D-4779-84EF-763DF9E3547C}" srcId="{E6EFA897-0431-492F-B65F-D429EF9274CB}" destId="{0B0E29F8-58DA-4B85-A037-33270222EDB5}" srcOrd="0" destOrd="0" parTransId="{6932F5EC-2FFE-483B-A29C-A66067ED0F62}" sibTransId="{B3303F4A-0797-479A-ADE6-B072AA2FE5D1}"/>
    <dgm:cxn modelId="{E809A012-4BFB-45A3-9A4C-862C334FE004}" srcId="{96260E3C-6263-485C-AAD5-4834D4569D00}" destId="{8C1C0F61-544E-48EC-A660-651CE3A8AC23}" srcOrd="3" destOrd="0" parTransId="{8C327407-3C7C-407B-95C1-D102F6F97BBC}" sibTransId="{A4C50F89-D053-4C0D-B6B7-9B5713A3726D}"/>
    <dgm:cxn modelId="{8783D314-DD93-4752-9F6B-1C1039E0C297}" type="presOf" srcId="{3F05BAF2-DB86-43CC-B9BC-8E2C3F7EA80A}" destId="{C3CA0957-EF4F-46A9-B14B-C34909532529}" srcOrd="0" destOrd="1" presId="urn:microsoft.com/office/officeart/2005/8/layout/vList5"/>
    <dgm:cxn modelId="{F95F9C27-E753-418D-AD5D-C296FAADD4BD}" type="presOf" srcId="{0A2167F3-4E3C-49E8-8F53-F429B724897B}" destId="{42205B36-F6FD-4A61-8A6C-F7C8A06C6790}" srcOrd="0" destOrd="0" presId="urn:microsoft.com/office/officeart/2005/8/layout/vList5"/>
    <dgm:cxn modelId="{A5523B2B-2528-40F6-A9F1-D7FD3059D53C}" type="presOf" srcId="{5B68FBBB-097B-4FC1-AC52-7BCB9A82E434}" destId="{C3CA0957-EF4F-46A9-B14B-C34909532529}" srcOrd="0" destOrd="0" presId="urn:microsoft.com/office/officeart/2005/8/layout/vList5"/>
    <dgm:cxn modelId="{DFD8182C-F409-4473-922A-589C26A00557}" srcId="{0B0E29F8-58DA-4B85-A037-33270222EDB5}" destId="{11484A47-5966-4CFA-87D9-7847845E75D2}" srcOrd="2" destOrd="0" parTransId="{09AFFC95-1066-47A1-81D6-3B97A871FCE5}" sibTransId="{CB582BEC-D08A-49EC-A2C3-6536128A8F46}"/>
    <dgm:cxn modelId="{92F75A5B-779F-4B6B-9DC9-466C31D92B4C}" srcId="{96260E3C-6263-485C-AAD5-4834D4569D00}" destId="{0A2167F3-4E3C-49E8-8F53-F429B724897B}" srcOrd="0" destOrd="0" parTransId="{C31FCFD9-9839-42B9-909B-53DFE97C6A9D}" sibTransId="{981FCCCA-D06E-451D-858E-6E6DE23A18B8}"/>
    <dgm:cxn modelId="{5BED8E5E-08F3-46D4-9AC4-6317578451D1}" type="presOf" srcId="{59DFEB15-4BE0-43CF-A481-3E11C46C7566}" destId="{D4830C8F-A2AE-4990-90BF-6D9758F800E7}" srcOrd="0" destOrd="1" presId="urn:microsoft.com/office/officeart/2005/8/layout/vList5"/>
    <dgm:cxn modelId="{CED7E969-D16B-49AC-9025-0639DE7A44EA}" srcId="{03FEEBAF-B492-4AB8-89C6-4B4628CA1E26}" destId="{5B68FBBB-097B-4FC1-AC52-7BCB9A82E434}" srcOrd="0" destOrd="0" parTransId="{659E152D-55D2-44AD-AE67-588F8779BF6F}" sibTransId="{2DEC8DEC-3F82-4CCC-A411-7762AAC03FEB}"/>
    <dgm:cxn modelId="{CA49856A-9785-430E-AE58-1A438E4E6130}" srcId="{03FEEBAF-B492-4AB8-89C6-4B4628CA1E26}" destId="{3F05BAF2-DB86-43CC-B9BC-8E2C3F7EA80A}" srcOrd="1" destOrd="0" parTransId="{29F8A324-BC41-4F4E-B45B-0CA23C0F24ED}" sibTransId="{1BCB5031-1C83-4FD8-A2C7-5F820517DC9F}"/>
    <dgm:cxn modelId="{2B5F364B-9F67-4EFD-A893-5ED40B6C87FC}" srcId="{52BD68D0-EAE3-4487-ADC7-C30AD0C149E7}" destId="{9769D350-8FE4-4236-B37A-51F281FB0440}" srcOrd="0" destOrd="0" parTransId="{B162A309-DDB3-4E45-92DD-CDBE1CC908D1}" sibTransId="{E3E4F325-38EC-4BAF-80AB-9E71F04CCABD}"/>
    <dgm:cxn modelId="{4C02BB6C-62E0-4B38-BABC-C6745075E7FB}" srcId="{52B98E0D-74B5-47F3-93A9-75219B6BCE70}" destId="{0304314D-5BF1-42A8-BE34-2A2F0E95F676}" srcOrd="0" destOrd="0" parTransId="{804FF43D-A32E-451E-A676-9BB53C66ECED}" sibTransId="{45B9690B-B485-4BD2-A80E-FBB267D431B6}"/>
    <dgm:cxn modelId="{C9682A4E-F57B-4634-8E51-44FAB228FA44}" type="presOf" srcId="{52B98E0D-74B5-47F3-93A9-75219B6BCE70}" destId="{36DCF81B-4ED1-4AD8-B27C-5FE0EF7F2B66}" srcOrd="0" destOrd="0" presId="urn:microsoft.com/office/officeart/2005/8/layout/vList5"/>
    <dgm:cxn modelId="{09BFBC71-2D70-43E5-9C16-D7058369A9A2}" srcId="{0B0E29F8-58DA-4B85-A037-33270222EDB5}" destId="{7D5DB66F-0FFE-4F5B-9ADD-BBA3FC07D721}" srcOrd="1" destOrd="0" parTransId="{61B9A450-9761-43E1-AF88-2E76BD996CD3}" sibTransId="{DFB52A48-AD73-4610-B7C8-3EFBF1691062}"/>
    <dgm:cxn modelId="{84E6D674-155B-4E0C-98FA-DD06EBDC25BA}" srcId="{FFCB392C-E190-4000-BC2B-8923E66F8E05}" destId="{03FEEBAF-B492-4AB8-89C6-4B4628CA1E26}" srcOrd="1" destOrd="0" parTransId="{36E648EC-D32B-449E-9167-67FC1B8DDF49}" sibTransId="{46A33D61-164A-49AF-AE7D-CEFC1DBAB295}"/>
    <dgm:cxn modelId="{F4407357-DA74-4905-8D57-999A75C49954}" srcId="{FFCB392C-E190-4000-BC2B-8923E66F8E05}" destId="{96260E3C-6263-485C-AAD5-4834D4569D00}" srcOrd="2" destOrd="0" parTransId="{2B5F8176-600B-448A-BAC4-07CC9809E5E1}" sibTransId="{9118D841-7835-4425-89DF-5E2FF676BD2C}"/>
    <dgm:cxn modelId="{4C018577-795A-43B7-B944-636A6A452768}" srcId="{0B0E29F8-58DA-4B85-A037-33270222EDB5}" destId="{59DFEB15-4BE0-43CF-A481-3E11C46C7566}" srcOrd="0" destOrd="0" parTransId="{02AC5A08-37DE-497B-B667-313A6AEF3007}" sibTransId="{4B80E11F-DB1F-4ABF-8DC1-960550FB7F9A}"/>
    <dgm:cxn modelId="{2E6C1579-6082-4E33-A723-E845F8FBA423}" srcId="{FFCB392C-E190-4000-BC2B-8923E66F8E05}" destId="{E6EFA897-0431-492F-B65F-D429EF9274CB}" srcOrd="0" destOrd="0" parTransId="{3F2A00E6-14CF-4B7B-83A8-308789775694}" sibTransId="{7AEB0645-723A-40EF-ABFC-A5BB952678BD}"/>
    <dgm:cxn modelId="{1261B27E-0369-4095-9661-BBC2129CF9E6}" type="presOf" srcId="{9769D350-8FE4-4236-B37A-51F281FB0440}" destId="{600B0FCE-F633-4F00-B20F-1253DB6B5E6E}" srcOrd="0" destOrd="0" presId="urn:microsoft.com/office/officeart/2005/8/layout/vList5"/>
    <dgm:cxn modelId="{F1270984-F461-4C12-ACC0-75C88A60C205}" srcId="{FFCB392C-E190-4000-BC2B-8923E66F8E05}" destId="{52BD68D0-EAE3-4487-ADC7-C30AD0C149E7}" srcOrd="3" destOrd="0" parTransId="{BB9FE834-9348-4C65-ABF7-D62613A39635}" sibTransId="{C8ED1CA2-595E-436E-B860-29E61D658492}"/>
    <dgm:cxn modelId="{51E3FB8B-E6C5-485A-BB47-8627A63463C1}" type="presOf" srcId="{7D5DB66F-0FFE-4F5B-9ADD-BBA3FC07D721}" destId="{D4830C8F-A2AE-4990-90BF-6D9758F800E7}" srcOrd="0" destOrd="2" presId="urn:microsoft.com/office/officeart/2005/8/layout/vList5"/>
    <dgm:cxn modelId="{F4AE0B8F-C03C-4B18-BFD0-82617CBBED97}" type="presOf" srcId="{0B0E29F8-58DA-4B85-A037-33270222EDB5}" destId="{D4830C8F-A2AE-4990-90BF-6D9758F800E7}" srcOrd="0" destOrd="0" presId="urn:microsoft.com/office/officeart/2005/8/layout/vList5"/>
    <dgm:cxn modelId="{FCFE6F91-B0FE-4DC9-8ED5-49C8F0335454}" srcId="{52BD68D0-EAE3-4487-ADC7-C30AD0C149E7}" destId="{DF4876AA-C9E2-4E5B-92A9-BBC3DF4AF2DE}" srcOrd="1" destOrd="0" parTransId="{1CB7DC5A-DE49-40BF-8026-0B6B4911A525}" sibTransId="{BED02E47-07DC-40DB-988C-BC2A95769F38}"/>
    <dgm:cxn modelId="{B6EACBB4-A375-443D-902C-3E742EA6A7AB}" type="presOf" srcId="{0304314D-5BF1-42A8-BE34-2A2F0E95F676}" destId="{BCBFAC89-216D-4DFF-897D-8C47A404ADDC}" srcOrd="0" destOrd="0" presId="urn:microsoft.com/office/officeart/2005/8/layout/vList5"/>
    <dgm:cxn modelId="{63E0AEB6-5CA9-4601-B05E-15DA2DE71DE1}" type="presOf" srcId="{03FEEBAF-B492-4AB8-89C6-4B4628CA1E26}" destId="{6282B259-D810-400D-AF6A-A79E8F7BBC6B}" srcOrd="0" destOrd="0" presId="urn:microsoft.com/office/officeart/2005/8/layout/vList5"/>
    <dgm:cxn modelId="{5E2D01C5-FF61-4B9C-A5DC-BA19B35F3B42}" srcId="{96260E3C-6263-485C-AAD5-4834D4569D00}" destId="{4646F0A7-7A10-4C9E-ADD1-416A1024C1BB}" srcOrd="1" destOrd="0" parTransId="{52E03E83-B94D-4081-BA6A-C8B5321B7B41}" sibTransId="{B6F8345B-8FC0-4796-A4E9-52DD0920FCB8}"/>
    <dgm:cxn modelId="{1B930CC6-ECE9-4D7A-BC58-E13BDB123953}" type="presOf" srcId="{8C1C0F61-544E-48EC-A660-651CE3A8AC23}" destId="{42205B36-F6FD-4A61-8A6C-F7C8A06C6790}" srcOrd="0" destOrd="3" presId="urn:microsoft.com/office/officeart/2005/8/layout/vList5"/>
    <dgm:cxn modelId="{186ADDC8-E13B-497A-B8CC-268BA4BB6882}" type="presOf" srcId="{E6EFA897-0431-492F-B65F-D429EF9274CB}" destId="{9C1950A7-783E-48B6-8E92-F40F44EBAD14}" srcOrd="0" destOrd="0" presId="urn:microsoft.com/office/officeart/2005/8/layout/vList5"/>
    <dgm:cxn modelId="{3A754EC9-4700-4E62-8D18-497E27C681AD}" type="presOf" srcId="{96260E3C-6263-485C-AAD5-4834D4569D00}" destId="{E2E438A6-5F37-4E34-923A-0CA8673CDF3A}" srcOrd="0" destOrd="0" presId="urn:microsoft.com/office/officeart/2005/8/layout/vList5"/>
    <dgm:cxn modelId="{F3EABBCE-55E5-4B1D-B2A8-C35058EB25B1}" srcId="{96260E3C-6263-485C-AAD5-4834D4569D00}" destId="{5CE4AE76-8823-45C1-910F-3B6484A4606F}" srcOrd="2" destOrd="0" parTransId="{F4EF1D2E-59EF-436C-8050-F4860D683567}" sibTransId="{35979291-6EB0-49FF-AA2C-F0457E7E4E28}"/>
    <dgm:cxn modelId="{ABAFECDC-449D-4D07-9045-9B6BBF5D33E9}" type="presOf" srcId="{52BD68D0-EAE3-4487-ADC7-C30AD0C149E7}" destId="{C8A9DE35-1CD6-4E88-9A7A-CD82966A87BF}" srcOrd="0" destOrd="0" presId="urn:microsoft.com/office/officeart/2005/8/layout/vList5"/>
    <dgm:cxn modelId="{85229FE2-B3D0-4699-9BBF-551A0CF620EA}" type="presOf" srcId="{DF4876AA-C9E2-4E5B-92A9-BBC3DF4AF2DE}" destId="{600B0FCE-F633-4F00-B20F-1253DB6B5E6E}" srcOrd="0" destOrd="1" presId="urn:microsoft.com/office/officeart/2005/8/layout/vList5"/>
    <dgm:cxn modelId="{954AB5ED-19D8-4B9F-9274-A07D3F0B86DC}" srcId="{FFCB392C-E190-4000-BC2B-8923E66F8E05}" destId="{52B98E0D-74B5-47F3-93A9-75219B6BCE70}" srcOrd="4" destOrd="0" parTransId="{98C1EE2D-85CD-4DF7-BA31-B2037EADB0D7}" sibTransId="{CD1C99D8-452D-4FB0-BFC1-18CE9E5E8FC6}"/>
    <dgm:cxn modelId="{7876B7F3-B6C2-4BAB-BE90-3B9EFACA8837}" type="presOf" srcId="{5CE4AE76-8823-45C1-910F-3B6484A4606F}" destId="{42205B36-F6FD-4A61-8A6C-F7C8A06C6790}" srcOrd="0" destOrd="2" presId="urn:microsoft.com/office/officeart/2005/8/layout/vList5"/>
    <dgm:cxn modelId="{36623C55-CE13-4AD6-BE4E-AD62A1CBA121}" type="presParOf" srcId="{27648138-B716-41A0-A76C-626220E2874C}" destId="{1ADF6C26-1B25-4A78-B388-B1C46C817D76}" srcOrd="0" destOrd="0" presId="urn:microsoft.com/office/officeart/2005/8/layout/vList5"/>
    <dgm:cxn modelId="{4DECFFBA-D269-4BF6-BE7C-8704F340A47C}" type="presParOf" srcId="{1ADF6C26-1B25-4A78-B388-B1C46C817D76}" destId="{9C1950A7-783E-48B6-8E92-F40F44EBAD14}" srcOrd="0" destOrd="0" presId="urn:microsoft.com/office/officeart/2005/8/layout/vList5"/>
    <dgm:cxn modelId="{49D490F8-05D0-4A47-83E7-1EE4A6BF73D4}" type="presParOf" srcId="{1ADF6C26-1B25-4A78-B388-B1C46C817D76}" destId="{D4830C8F-A2AE-4990-90BF-6D9758F800E7}" srcOrd="1" destOrd="0" presId="urn:microsoft.com/office/officeart/2005/8/layout/vList5"/>
    <dgm:cxn modelId="{5B9BC308-3876-4978-BF6D-848C851655F5}" type="presParOf" srcId="{27648138-B716-41A0-A76C-626220E2874C}" destId="{9203D1ED-D34A-4B16-8646-7FE2F50473D2}" srcOrd="1" destOrd="0" presId="urn:microsoft.com/office/officeart/2005/8/layout/vList5"/>
    <dgm:cxn modelId="{76438024-2C90-4EBC-ABBD-DF4056D36DDD}" type="presParOf" srcId="{27648138-B716-41A0-A76C-626220E2874C}" destId="{53851687-2ABD-4E48-9F25-DB16955D1D90}" srcOrd="2" destOrd="0" presId="urn:microsoft.com/office/officeart/2005/8/layout/vList5"/>
    <dgm:cxn modelId="{EDDEF264-1614-484B-B8FD-C8A0587F3E52}" type="presParOf" srcId="{53851687-2ABD-4E48-9F25-DB16955D1D90}" destId="{6282B259-D810-400D-AF6A-A79E8F7BBC6B}" srcOrd="0" destOrd="0" presId="urn:microsoft.com/office/officeart/2005/8/layout/vList5"/>
    <dgm:cxn modelId="{D30CBBBF-CA02-44E5-99C0-F6F65FB68257}" type="presParOf" srcId="{53851687-2ABD-4E48-9F25-DB16955D1D90}" destId="{C3CA0957-EF4F-46A9-B14B-C34909532529}" srcOrd="1" destOrd="0" presId="urn:microsoft.com/office/officeart/2005/8/layout/vList5"/>
    <dgm:cxn modelId="{BDFEC1CA-78BC-4DE1-9EB9-E38E7B8E9596}" type="presParOf" srcId="{27648138-B716-41A0-A76C-626220E2874C}" destId="{C9293F8E-C675-4E36-A65B-AAAC8006C733}" srcOrd="3" destOrd="0" presId="urn:microsoft.com/office/officeart/2005/8/layout/vList5"/>
    <dgm:cxn modelId="{C4B2619F-7DA6-4658-AA77-2FDF39975197}" type="presParOf" srcId="{27648138-B716-41A0-A76C-626220E2874C}" destId="{61D33F34-F888-4DD1-BA17-F953371D0B7A}" srcOrd="4" destOrd="0" presId="urn:microsoft.com/office/officeart/2005/8/layout/vList5"/>
    <dgm:cxn modelId="{2FD8CD44-C7F9-43AD-9B52-630B7CC91C5C}" type="presParOf" srcId="{61D33F34-F888-4DD1-BA17-F953371D0B7A}" destId="{E2E438A6-5F37-4E34-923A-0CA8673CDF3A}" srcOrd="0" destOrd="0" presId="urn:microsoft.com/office/officeart/2005/8/layout/vList5"/>
    <dgm:cxn modelId="{5F124C72-3FD6-4255-B876-8999C771D87C}" type="presParOf" srcId="{61D33F34-F888-4DD1-BA17-F953371D0B7A}" destId="{42205B36-F6FD-4A61-8A6C-F7C8A06C6790}" srcOrd="1" destOrd="0" presId="urn:microsoft.com/office/officeart/2005/8/layout/vList5"/>
    <dgm:cxn modelId="{5E0D6B70-5F2F-45A3-86AA-183C13C1A6AA}" type="presParOf" srcId="{27648138-B716-41A0-A76C-626220E2874C}" destId="{CDDFDC90-580B-485A-9FC2-5DB7FE6F7287}" srcOrd="5" destOrd="0" presId="urn:microsoft.com/office/officeart/2005/8/layout/vList5"/>
    <dgm:cxn modelId="{6F253042-D7C8-4B7D-9FEF-FB031CBF6CC5}" type="presParOf" srcId="{27648138-B716-41A0-A76C-626220E2874C}" destId="{73F3CA5A-E1C8-4A93-9B4D-EA5329F4F21A}" srcOrd="6" destOrd="0" presId="urn:microsoft.com/office/officeart/2005/8/layout/vList5"/>
    <dgm:cxn modelId="{4245BE60-5409-4B2F-AD96-F4F63CC1432C}" type="presParOf" srcId="{73F3CA5A-E1C8-4A93-9B4D-EA5329F4F21A}" destId="{C8A9DE35-1CD6-4E88-9A7A-CD82966A87BF}" srcOrd="0" destOrd="0" presId="urn:microsoft.com/office/officeart/2005/8/layout/vList5"/>
    <dgm:cxn modelId="{E8E8B4AE-4F7E-4AD5-8A15-D14916C48492}" type="presParOf" srcId="{73F3CA5A-E1C8-4A93-9B4D-EA5329F4F21A}" destId="{600B0FCE-F633-4F00-B20F-1253DB6B5E6E}" srcOrd="1" destOrd="0" presId="urn:microsoft.com/office/officeart/2005/8/layout/vList5"/>
    <dgm:cxn modelId="{BAD311A2-24F2-4CE9-8646-DFB9F5F6B5A3}" type="presParOf" srcId="{27648138-B716-41A0-A76C-626220E2874C}" destId="{1A51CAE2-8F35-4B86-BC85-6FAB03C10C9B}" srcOrd="7" destOrd="0" presId="urn:microsoft.com/office/officeart/2005/8/layout/vList5"/>
    <dgm:cxn modelId="{4A598431-260C-4E6E-83BF-52CFC9204234}" type="presParOf" srcId="{27648138-B716-41A0-A76C-626220E2874C}" destId="{930F362C-C84D-4BD3-B965-79AFCF7BEE58}" srcOrd="8" destOrd="0" presId="urn:microsoft.com/office/officeart/2005/8/layout/vList5"/>
    <dgm:cxn modelId="{6E3D6817-2E12-447E-B66E-93CED88B1220}" type="presParOf" srcId="{930F362C-C84D-4BD3-B965-79AFCF7BEE58}" destId="{36DCF81B-4ED1-4AD8-B27C-5FE0EF7F2B66}" srcOrd="0" destOrd="0" presId="urn:microsoft.com/office/officeart/2005/8/layout/vList5"/>
    <dgm:cxn modelId="{6C99B66F-E916-4FEB-B3E8-02761F76055D}" type="presParOf" srcId="{930F362C-C84D-4BD3-B965-79AFCF7BEE58}" destId="{BCBFAC89-216D-4DFF-897D-8C47A404ADDC}" srcOrd="1" destOrd="0" presId="urn:microsoft.com/office/officeart/2005/8/layout/vList5"/>
  </dgm:cxnLst>
  <dgm:bg/>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FFCB392C-E190-4000-BC2B-8923E66F8E05}"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GB"/>
        </a:p>
      </dgm:t>
    </dgm:pt>
    <dgm:pt modelId="{E6EFA897-0431-492F-B65F-D429EF9274CB}">
      <dgm:prSet phldrT="[Text]" custT="1"/>
      <dgm:spPr>
        <a:solidFill>
          <a:srgbClr val="FC5B2F"/>
        </a:solidFill>
        <a:ln w="63500">
          <a:solidFill>
            <a:schemeClr val="bg1"/>
          </a:solidFill>
        </a:ln>
      </dgm:spPr>
      <dgm:t>
        <a:bodyPr/>
        <a:lstStyle/>
        <a:p>
          <a:r>
            <a:rPr lang="de-DE" sz="2000" b="1"/>
            <a:t>WAS?</a:t>
          </a:r>
          <a:endParaRPr lang="en-GB" sz="2000" b="1"/>
        </a:p>
      </dgm:t>
    </dgm:pt>
    <dgm:pt modelId="{3F2A00E6-14CF-4B7B-83A8-308789775694}" type="parTrans" cxnId="{2E6C1579-6082-4E33-A723-E845F8FBA423}">
      <dgm:prSet/>
      <dgm:spPr/>
      <dgm:t>
        <a:bodyPr/>
        <a:lstStyle/>
        <a:p>
          <a:endParaRPr lang="en-GB"/>
        </a:p>
      </dgm:t>
    </dgm:pt>
    <dgm:pt modelId="{7AEB0645-723A-40EF-ABFC-A5BB952678BD}" type="sibTrans" cxnId="{2E6C1579-6082-4E33-A723-E845F8FBA423}">
      <dgm:prSet/>
      <dgm:spPr/>
      <dgm:t>
        <a:bodyPr/>
        <a:lstStyle/>
        <a:p>
          <a:endParaRPr lang="en-GB"/>
        </a:p>
      </dgm:t>
    </dgm:pt>
    <dgm:pt modelId="{03FEEBAF-B492-4AB8-89C6-4B4628CA1E26}">
      <dgm:prSet phldrT="[Text]" custT="1"/>
      <dgm:spPr>
        <a:solidFill>
          <a:srgbClr val="FC5B2F"/>
        </a:solidFill>
        <a:ln w="63500">
          <a:solidFill>
            <a:schemeClr val="bg1"/>
          </a:solidFill>
        </a:ln>
      </dgm:spPr>
      <dgm:t>
        <a:bodyPr/>
        <a:lstStyle/>
        <a:p>
          <a:r>
            <a:rPr lang="de-DE" sz="2000" b="1"/>
            <a:t>WER?</a:t>
          </a:r>
          <a:endParaRPr lang="en-GB" sz="2000" b="1"/>
        </a:p>
      </dgm:t>
    </dgm:pt>
    <dgm:pt modelId="{36E648EC-D32B-449E-9167-67FC1B8DDF49}" type="parTrans" cxnId="{84E6D674-155B-4E0C-98FA-DD06EBDC25BA}">
      <dgm:prSet/>
      <dgm:spPr/>
      <dgm:t>
        <a:bodyPr/>
        <a:lstStyle/>
        <a:p>
          <a:endParaRPr lang="en-GB"/>
        </a:p>
      </dgm:t>
    </dgm:pt>
    <dgm:pt modelId="{46A33D61-164A-49AF-AE7D-CEFC1DBAB295}" type="sibTrans" cxnId="{84E6D674-155B-4E0C-98FA-DD06EBDC25BA}">
      <dgm:prSet/>
      <dgm:spPr/>
      <dgm:t>
        <a:bodyPr/>
        <a:lstStyle/>
        <a:p>
          <a:endParaRPr lang="en-GB"/>
        </a:p>
      </dgm:t>
    </dgm:pt>
    <dgm:pt modelId="{96260E3C-6263-485C-AAD5-4834D4569D00}">
      <dgm:prSet phldrT="[Text]" custT="1"/>
      <dgm:spPr>
        <a:solidFill>
          <a:srgbClr val="FC5B2F"/>
        </a:solidFill>
        <a:ln w="63500">
          <a:solidFill>
            <a:schemeClr val="bg1"/>
          </a:solidFill>
        </a:ln>
      </dgm:spPr>
      <dgm:t>
        <a:bodyPr/>
        <a:lstStyle/>
        <a:p>
          <a:r>
            <a:rPr lang="de-DE" sz="2000" b="1"/>
            <a:t>WIE VIEL?</a:t>
          </a:r>
          <a:endParaRPr lang="en-GB" sz="2000" b="1"/>
        </a:p>
      </dgm:t>
    </dgm:pt>
    <dgm:pt modelId="{2B5F8176-600B-448A-BAC4-07CC9809E5E1}" type="parTrans" cxnId="{F4407357-DA74-4905-8D57-999A75C49954}">
      <dgm:prSet/>
      <dgm:spPr/>
      <dgm:t>
        <a:bodyPr/>
        <a:lstStyle/>
        <a:p>
          <a:endParaRPr lang="en-GB"/>
        </a:p>
      </dgm:t>
    </dgm:pt>
    <dgm:pt modelId="{9118D841-7835-4425-89DF-5E2FF676BD2C}" type="sibTrans" cxnId="{F4407357-DA74-4905-8D57-999A75C49954}">
      <dgm:prSet/>
      <dgm:spPr/>
      <dgm:t>
        <a:bodyPr/>
        <a:lstStyle/>
        <a:p>
          <a:endParaRPr lang="en-GB"/>
        </a:p>
      </dgm:t>
    </dgm:pt>
    <dgm:pt modelId="{0A2167F3-4E3C-49E8-8F53-F429B724897B}">
      <dgm:prSet phldrT="[Text]" custT="1"/>
      <dgm:spPr>
        <a:solidFill>
          <a:srgbClr val="FEEAE8">
            <a:alpha val="90000"/>
          </a:srgbClr>
        </a:solidFill>
        <a:ln w="63500" cap="rnd">
          <a:solidFill>
            <a:schemeClr val="bg1"/>
          </a:solidFill>
          <a:round/>
        </a:ln>
      </dgm:spPr>
      <dgm:t>
        <a:bodyPr/>
        <a:lstStyle/>
        <a:p>
          <a:r>
            <a:rPr lang="de-DE" altLang="de-DE" sz="1200">
              <a:latin typeface="+mn-lt"/>
            </a:rPr>
            <a:t>20% der gesamten Investitionskosten für mittlere Unternehmen und 25 % für kleine Unternehmen; Zinsverbilligung von max. 0,5 Prozentpunkten</a:t>
          </a:r>
          <a:endParaRPr lang="en-GB" sz="1200">
            <a:latin typeface="+mn-lt"/>
          </a:endParaRPr>
        </a:p>
      </dgm:t>
    </dgm:pt>
    <dgm:pt modelId="{C31FCFD9-9839-42B9-909B-53DFE97C6A9D}" type="parTrans" cxnId="{92F75A5B-779F-4B6B-9DC9-466C31D92B4C}">
      <dgm:prSet/>
      <dgm:spPr/>
      <dgm:t>
        <a:bodyPr/>
        <a:lstStyle/>
        <a:p>
          <a:endParaRPr lang="en-GB"/>
        </a:p>
      </dgm:t>
    </dgm:pt>
    <dgm:pt modelId="{981FCCCA-D06E-451D-858E-6E6DE23A18B8}" type="sibTrans" cxnId="{92F75A5B-779F-4B6B-9DC9-466C31D92B4C}">
      <dgm:prSet/>
      <dgm:spPr/>
      <dgm:t>
        <a:bodyPr/>
        <a:lstStyle/>
        <a:p>
          <a:endParaRPr lang="en-GB"/>
        </a:p>
      </dgm:t>
    </dgm:pt>
    <dgm:pt modelId="{52BD68D0-EAE3-4487-ADC7-C30AD0C149E7}">
      <dgm:prSet phldrT="[Text]" custT="1"/>
      <dgm:spPr>
        <a:solidFill>
          <a:srgbClr val="FC5B2F"/>
        </a:solidFill>
        <a:ln w="63500">
          <a:solidFill>
            <a:schemeClr val="bg1"/>
          </a:solidFill>
        </a:ln>
      </dgm:spPr>
      <dgm:t>
        <a:bodyPr/>
        <a:lstStyle/>
        <a:p>
          <a:r>
            <a:rPr lang="de-DE" sz="2000" b="1"/>
            <a:t>WO?</a:t>
          </a:r>
          <a:endParaRPr lang="en-GB" sz="2000" b="1"/>
        </a:p>
      </dgm:t>
    </dgm:pt>
    <dgm:pt modelId="{BB9FE834-9348-4C65-ABF7-D62613A39635}" type="parTrans" cxnId="{F1270984-F461-4C12-ACC0-75C88A60C205}">
      <dgm:prSet/>
      <dgm:spPr/>
      <dgm:t>
        <a:bodyPr/>
        <a:lstStyle/>
        <a:p>
          <a:endParaRPr lang="en-GB"/>
        </a:p>
      </dgm:t>
    </dgm:pt>
    <dgm:pt modelId="{C8ED1CA2-595E-436E-B860-29E61D658492}" type="sibTrans" cxnId="{F1270984-F461-4C12-ACC0-75C88A60C205}">
      <dgm:prSet/>
      <dgm:spPr/>
      <dgm:t>
        <a:bodyPr/>
        <a:lstStyle/>
        <a:p>
          <a:endParaRPr lang="en-GB"/>
        </a:p>
      </dgm:t>
    </dgm:pt>
    <dgm:pt modelId="{52B98E0D-74B5-47F3-93A9-75219B6BCE70}">
      <dgm:prSet phldrT="[Text]" custT="1"/>
      <dgm:spPr>
        <a:solidFill>
          <a:srgbClr val="FC5B2F"/>
        </a:solidFill>
        <a:ln w="63500">
          <a:solidFill>
            <a:schemeClr val="bg1"/>
          </a:solidFill>
        </a:ln>
      </dgm:spPr>
      <dgm:t>
        <a:bodyPr/>
        <a:lstStyle/>
        <a:p>
          <a:r>
            <a:rPr lang="de-DE" sz="2000" b="1"/>
            <a:t>BIS WANN?</a:t>
          </a:r>
          <a:endParaRPr lang="en-GB" sz="2000" b="1"/>
        </a:p>
      </dgm:t>
    </dgm:pt>
    <dgm:pt modelId="{98C1EE2D-85CD-4DF7-BA31-B2037EADB0D7}" type="parTrans" cxnId="{954AB5ED-19D8-4B9F-9274-A07D3F0B86DC}">
      <dgm:prSet/>
      <dgm:spPr/>
      <dgm:t>
        <a:bodyPr/>
        <a:lstStyle/>
        <a:p>
          <a:endParaRPr lang="en-GB"/>
        </a:p>
      </dgm:t>
    </dgm:pt>
    <dgm:pt modelId="{CD1C99D8-452D-4FB0-BFC1-18CE9E5E8FC6}" type="sibTrans" cxnId="{954AB5ED-19D8-4B9F-9274-A07D3F0B86DC}">
      <dgm:prSet/>
      <dgm:spPr/>
      <dgm:t>
        <a:bodyPr/>
        <a:lstStyle/>
        <a:p>
          <a:endParaRPr lang="en-GB"/>
        </a:p>
      </dgm:t>
    </dgm:pt>
    <dgm:pt modelId="{9769D350-8FE4-4236-B37A-51F281FB0440}">
      <dgm:prSet phldrT="[Text]" custT="1"/>
      <dgm:spPr>
        <a:solidFill>
          <a:srgbClr val="FEEAE8">
            <a:alpha val="90000"/>
          </a:srgbClr>
        </a:solidFill>
        <a:ln w="63500" cap="rnd">
          <a:solidFill>
            <a:schemeClr val="bg1">
              <a:alpha val="90000"/>
            </a:schemeClr>
          </a:solidFill>
          <a:round/>
        </a:ln>
      </dgm:spPr>
      <dgm:t>
        <a:bodyPr/>
        <a:lstStyle/>
        <a:p>
          <a:pPr marL="0" indent="0">
            <a:buNone/>
          </a:pPr>
          <a:r>
            <a:rPr lang="en-GB" altLang="de-DE" sz="1200">
              <a:solidFill>
                <a:schemeClr val="tx1"/>
              </a:solidFill>
              <a:latin typeface="+mn-lt"/>
              <a:hlinkClick xmlns:r="http://schemas.openxmlformats.org/officeDocument/2006/relationships" r:id="rId1">
                <a:extLst>
                  <a:ext uri="{A12FA001-AC4F-418D-AE19-62706E023703}">
                    <ahyp:hlinkClr xmlns:ahyp="http://schemas.microsoft.com/office/drawing/2018/hyperlinkcolor" val="tx"/>
                  </a:ext>
                </a:extLst>
              </a:hlinkClick>
            </a:rPr>
            <a:t>https://www.bafa.de/DE/Energie/Energieeffizienz/Energieeffizienz_und_Prozesswaerme/Modul1_Querschnittstechnologien/modul1_querschnittstechnologien_node.html</a:t>
          </a:r>
          <a:endParaRPr lang="en-GB" sz="1200">
            <a:solidFill>
              <a:schemeClr val="tx1"/>
            </a:solidFill>
            <a:latin typeface="+mn-lt"/>
          </a:endParaRPr>
        </a:p>
      </dgm:t>
    </dgm:pt>
    <dgm:pt modelId="{B162A309-DDB3-4E45-92DD-CDBE1CC908D1}" type="parTrans" cxnId="{2B5F364B-9F67-4EFD-A893-5ED40B6C87FC}">
      <dgm:prSet/>
      <dgm:spPr/>
      <dgm:t>
        <a:bodyPr/>
        <a:lstStyle/>
        <a:p>
          <a:endParaRPr lang="en-GB"/>
        </a:p>
      </dgm:t>
    </dgm:pt>
    <dgm:pt modelId="{E3E4F325-38EC-4BAF-80AB-9E71F04CCABD}" type="sibTrans" cxnId="{2B5F364B-9F67-4EFD-A893-5ED40B6C87FC}">
      <dgm:prSet/>
      <dgm:spPr/>
      <dgm:t>
        <a:bodyPr/>
        <a:lstStyle/>
        <a:p>
          <a:endParaRPr lang="en-GB"/>
        </a:p>
      </dgm:t>
    </dgm:pt>
    <dgm:pt modelId="{0304314D-5BF1-42A8-BE34-2A2F0E95F676}">
      <dgm:prSet phldrT="[Text]" custT="1"/>
      <dgm:spPr>
        <a:solidFill>
          <a:srgbClr val="FEEAE8">
            <a:alpha val="90000"/>
          </a:srgbClr>
        </a:solidFill>
        <a:ln w="63500" cap="rnd">
          <a:solidFill>
            <a:schemeClr val="bg1"/>
          </a:solidFill>
          <a:round/>
        </a:ln>
      </dgm:spPr>
      <dgm:t>
        <a:bodyPr/>
        <a:lstStyle/>
        <a:p>
          <a:pPr>
            <a:buNone/>
          </a:pPr>
          <a:r>
            <a:rPr lang="en-GB" sz="1200" strike="noStrike">
              <a:latin typeface="+mn-lt"/>
            </a:rPr>
            <a:t>31.12.2028</a:t>
          </a:r>
          <a:endParaRPr lang="en-GB" sz="1200" strike="sngStrike">
            <a:solidFill>
              <a:srgbClr val="FF0000"/>
            </a:solidFill>
            <a:highlight>
              <a:srgbClr val="FFFF00"/>
            </a:highlight>
            <a:latin typeface="+mn-lt"/>
          </a:endParaRPr>
        </a:p>
      </dgm:t>
    </dgm:pt>
    <dgm:pt modelId="{804FF43D-A32E-451E-A676-9BB53C66ECED}" type="parTrans" cxnId="{4C02BB6C-62E0-4B38-BABC-C6745075E7FB}">
      <dgm:prSet/>
      <dgm:spPr/>
      <dgm:t>
        <a:bodyPr/>
        <a:lstStyle/>
        <a:p>
          <a:endParaRPr lang="en-GB"/>
        </a:p>
      </dgm:t>
    </dgm:pt>
    <dgm:pt modelId="{45B9690B-B485-4BD2-A80E-FBB267D431B6}" type="sibTrans" cxnId="{4C02BB6C-62E0-4B38-BABC-C6745075E7FB}">
      <dgm:prSet/>
      <dgm:spPr/>
      <dgm:t>
        <a:bodyPr/>
        <a:lstStyle/>
        <a:p>
          <a:endParaRPr lang="en-GB"/>
        </a:p>
      </dgm:t>
    </dgm:pt>
    <dgm:pt modelId="{5B68FBBB-097B-4FC1-AC52-7BCB9A82E434}">
      <dgm:prSet phldrT="[Text]" custT="1"/>
      <dgm:spPr>
        <a:solidFill>
          <a:srgbClr val="FEEAE8">
            <a:alpha val="90000"/>
          </a:srgbClr>
        </a:solidFill>
        <a:ln w="63500" cap="rnd">
          <a:solidFill>
            <a:schemeClr val="bg1"/>
          </a:solidFill>
          <a:round/>
        </a:ln>
      </dgm:spPr>
      <dgm:t>
        <a:bodyPr/>
        <a:lstStyle/>
        <a:p>
          <a:pPr>
            <a:buFont typeface="Arial" panose="020B0604020202020204" pitchFamily="34" charset="0"/>
            <a:buChar char="•"/>
          </a:pPr>
          <a:r>
            <a:rPr lang="en-GB" altLang="de-DE" sz="1200">
              <a:solidFill>
                <a:srgbClr val="000000"/>
              </a:solidFill>
              <a:latin typeface="+mn-lt"/>
              <a:cs typeface="Arial"/>
            </a:rPr>
            <a:t>Private </a:t>
          </a:r>
          <a:r>
            <a:rPr lang="en-GB" altLang="de-DE" sz="1200" err="1">
              <a:solidFill>
                <a:srgbClr val="000000"/>
              </a:solidFill>
              <a:latin typeface="+mn-lt"/>
              <a:cs typeface="Arial"/>
            </a:rPr>
            <a:t>Unternehmen</a:t>
          </a:r>
          <a:r>
            <a:rPr lang="en-GB" altLang="de-DE" sz="1200">
              <a:solidFill>
                <a:srgbClr val="000000"/>
              </a:solidFill>
              <a:latin typeface="+mn-lt"/>
              <a:cs typeface="Arial"/>
            </a:rPr>
            <a:t> (</a:t>
          </a:r>
          <a:r>
            <a:rPr lang="en-GB" altLang="de-DE" sz="1200" err="1">
              <a:solidFill>
                <a:srgbClr val="000000"/>
              </a:solidFill>
              <a:latin typeface="+mn-lt"/>
              <a:cs typeface="Arial"/>
            </a:rPr>
            <a:t>nur</a:t>
          </a:r>
          <a:r>
            <a:rPr lang="en-GB" altLang="de-DE" sz="1200">
              <a:solidFill>
                <a:srgbClr val="000000"/>
              </a:solidFill>
              <a:latin typeface="+mn-lt"/>
              <a:cs typeface="Arial"/>
            </a:rPr>
            <a:t> KMU</a:t>
          </a:r>
          <a:r>
            <a:rPr lang="en-GB" altLang="de-DE" sz="1200" baseline="30000">
              <a:solidFill>
                <a:srgbClr val="000000"/>
              </a:solidFill>
              <a:latin typeface="+mn-lt"/>
              <a:cs typeface="Arial"/>
            </a:rPr>
            <a:t>1</a:t>
          </a:r>
          <a:r>
            <a:rPr lang="en-GB" altLang="de-DE" sz="1200">
              <a:solidFill>
                <a:srgbClr val="000000"/>
              </a:solidFill>
              <a:latin typeface="+mn-lt"/>
              <a:cs typeface="Arial"/>
            </a:rPr>
            <a:t>, </a:t>
          </a:r>
          <a:r>
            <a:rPr lang="en-GB" altLang="de-DE" sz="1200" err="1">
              <a:solidFill>
                <a:srgbClr val="000000"/>
              </a:solidFill>
              <a:latin typeface="+mn-lt"/>
              <a:cs typeface="Arial"/>
            </a:rPr>
            <a:t>nur</a:t>
          </a:r>
          <a:r>
            <a:rPr lang="en-GB" altLang="de-DE" sz="1200">
              <a:solidFill>
                <a:srgbClr val="000000"/>
              </a:solidFill>
              <a:latin typeface="+mn-lt"/>
              <a:cs typeface="Arial"/>
            </a:rPr>
            <a:t> </a:t>
          </a:r>
          <a:r>
            <a:rPr lang="en-GB" altLang="de-DE" sz="1200" err="1">
              <a:solidFill>
                <a:srgbClr val="000000"/>
              </a:solidFill>
              <a:latin typeface="+mn-lt"/>
              <a:cs typeface="Arial"/>
            </a:rPr>
            <a:t>Austausch</a:t>
          </a:r>
          <a:r>
            <a:rPr lang="en-GB" altLang="de-DE" sz="1200">
              <a:solidFill>
                <a:srgbClr val="000000"/>
              </a:solidFill>
              <a:latin typeface="+mn-lt"/>
              <a:cs typeface="Arial"/>
            </a:rPr>
            <a:t> und </a:t>
          </a:r>
          <a:r>
            <a:rPr lang="en-GB" altLang="de-DE" sz="1200" err="1">
              <a:solidFill>
                <a:srgbClr val="000000"/>
              </a:solidFill>
              <a:latin typeface="+mn-lt"/>
              <a:cs typeface="Arial"/>
            </a:rPr>
            <a:t>Nachrüstung</a:t>
          </a:r>
          <a:r>
            <a:rPr lang="en-GB" altLang="de-DE" sz="1200">
              <a:solidFill>
                <a:srgbClr val="000000"/>
              </a:solidFill>
              <a:latin typeface="+mn-lt"/>
              <a:cs typeface="Arial"/>
            </a:rPr>
            <a:t> von </a:t>
          </a:r>
          <a:r>
            <a:rPr lang="en-GB" altLang="de-DE" sz="1200" err="1">
              <a:solidFill>
                <a:srgbClr val="000000"/>
              </a:solidFill>
              <a:latin typeface="+mn-lt"/>
              <a:cs typeface="Arial"/>
            </a:rPr>
            <a:t>Bestandsanlagen</a:t>
          </a:r>
          <a:r>
            <a:rPr lang="en-GB" altLang="de-DE" sz="1200">
              <a:solidFill>
                <a:srgbClr val="000000"/>
              </a:solidFill>
              <a:latin typeface="+mn-lt"/>
              <a:cs typeface="Arial"/>
            </a:rPr>
            <a:t> </a:t>
          </a:r>
          <a:r>
            <a:rPr lang="en-GB" altLang="de-DE" sz="1200" err="1">
              <a:solidFill>
                <a:srgbClr val="000000"/>
              </a:solidFill>
              <a:latin typeface="+mn-lt"/>
              <a:cs typeface="Arial"/>
            </a:rPr>
            <a:t>mit</a:t>
          </a:r>
          <a:r>
            <a:rPr lang="en-GB" altLang="de-DE" sz="1200">
              <a:solidFill>
                <a:srgbClr val="000000"/>
              </a:solidFill>
              <a:latin typeface="+mn-lt"/>
              <a:cs typeface="Arial"/>
            </a:rPr>
            <a:t> </a:t>
          </a:r>
          <a:r>
            <a:rPr lang="en-GB" altLang="de-DE" sz="1200" err="1">
              <a:solidFill>
                <a:srgbClr val="000000"/>
              </a:solidFill>
              <a:latin typeface="+mn-lt"/>
              <a:cs typeface="Arial"/>
            </a:rPr>
            <a:t>Ausnahme</a:t>
          </a:r>
          <a:r>
            <a:rPr lang="en-GB" altLang="de-DE" sz="1200">
              <a:solidFill>
                <a:srgbClr val="000000"/>
              </a:solidFill>
              <a:latin typeface="+mn-lt"/>
              <a:cs typeface="Arial"/>
            </a:rPr>
            <a:t> </a:t>
          </a:r>
          <a:r>
            <a:rPr lang="en-GB" altLang="de-DE" sz="1200" err="1">
              <a:solidFill>
                <a:srgbClr val="000000"/>
              </a:solidFill>
              <a:latin typeface="+mn-lt"/>
              <a:cs typeface="Arial"/>
            </a:rPr>
            <a:t>bei</a:t>
          </a:r>
          <a:r>
            <a:rPr lang="en-GB" altLang="de-DE" sz="1200">
              <a:solidFill>
                <a:srgbClr val="000000"/>
              </a:solidFill>
              <a:latin typeface="+mn-lt"/>
              <a:cs typeface="Arial"/>
            </a:rPr>
            <a:t> </a:t>
          </a:r>
          <a:r>
            <a:rPr lang="en-GB" altLang="de-DE" sz="1200" err="1">
              <a:solidFill>
                <a:srgbClr val="000000"/>
              </a:solidFill>
              <a:latin typeface="+mn-lt"/>
              <a:cs typeface="Arial"/>
            </a:rPr>
            <a:t>Wärmeübertrager</a:t>
          </a:r>
          <a:r>
            <a:rPr lang="en-GB" altLang="de-DE" sz="1200">
              <a:solidFill>
                <a:srgbClr val="000000"/>
              </a:solidFill>
              <a:latin typeface="+mn-lt"/>
              <a:cs typeface="Arial"/>
            </a:rPr>
            <a:t>, </a:t>
          </a:r>
          <a:r>
            <a:rPr lang="en-GB" altLang="de-DE" sz="1200" err="1">
              <a:solidFill>
                <a:srgbClr val="000000"/>
              </a:solidFill>
              <a:latin typeface="+mn-lt"/>
              <a:cs typeface="Arial"/>
            </a:rPr>
            <a:t>thermische</a:t>
          </a:r>
          <a:r>
            <a:rPr lang="en-GB" altLang="de-DE" sz="1200">
              <a:solidFill>
                <a:srgbClr val="000000"/>
              </a:solidFill>
              <a:latin typeface="+mn-lt"/>
              <a:cs typeface="Arial"/>
            </a:rPr>
            <a:t> </a:t>
          </a:r>
          <a:r>
            <a:rPr lang="en-GB" altLang="de-DE" sz="1200" err="1">
              <a:solidFill>
                <a:srgbClr val="000000"/>
              </a:solidFill>
              <a:latin typeface="+mn-lt"/>
              <a:cs typeface="Arial"/>
            </a:rPr>
            <a:t>Isolierung</a:t>
          </a:r>
          <a:r>
            <a:rPr lang="en-GB" altLang="de-DE" sz="1200">
              <a:solidFill>
                <a:srgbClr val="000000"/>
              </a:solidFill>
              <a:latin typeface="+mn-lt"/>
              <a:cs typeface="Arial"/>
            </a:rPr>
            <a:t> und </a:t>
          </a:r>
          <a:r>
            <a:rPr lang="en-GB" altLang="de-DE" sz="1200" err="1">
              <a:solidFill>
                <a:srgbClr val="000000"/>
              </a:solidFill>
              <a:latin typeface="+mn-lt"/>
              <a:cs typeface="Arial"/>
            </a:rPr>
            <a:t>Wärmedämmung</a:t>
          </a:r>
          <a:r>
            <a:rPr lang="en-GB" altLang="de-DE" sz="1200">
              <a:solidFill>
                <a:srgbClr val="000000"/>
              </a:solidFill>
              <a:latin typeface="+mn-lt"/>
              <a:cs typeface="Arial"/>
            </a:rPr>
            <a:t>)</a:t>
          </a:r>
          <a:endParaRPr lang="en-GB" sz="1200">
            <a:latin typeface="+mn-lt"/>
            <a:cs typeface="Arial"/>
          </a:endParaRPr>
        </a:p>
      </dgm:t>
    </dgm:pt>
    <dgm:pt modelId="{659E152D-55D2-44AD-AE67-588F8779BF6F}" type="parTrans" cxnId="{CED7E969-D16B-49AC-9025-0639DE7A44EA}">
      <dgm:prSet/>
      <dgm:spPr/>
      <dgm:t>
        <a:bodyPr/>
        <a:lstStyle/>
        <a:p>
          <a:endParaRPr lang="en-GB"/>
        </a:p>
      </dgm:t>
    </dgm:pt>
    <dgm:pt modelId="{2DEC8DEC-3F82-4CCC-A411-7762AAC03FEB}" type="sibTrans" cxnId="{CED7E969-D16B-49AC-9025-0639DE7A44EA}">
      <dgm:prSet/>
      <dgm:spPr/>
      <dgm:t>
        <a:bodyPr/>
        <a:lstStyle/>
        <a:p>
          <a:endParaRPr lang="en-GB"/>
        </a:p>
      </dgm:t>
    </dgm:pt>
    <dgm:pt modelId="{0B0E29F8-58DA-4B85-A037-33270222EDB5}">
      <dgm:prSet phldrT="[Text]" custT="1"/>
      <dgm:spPr>
        <a:solidFill>
          <a:srgbClr val="FEEAE8">
            <a:alpha val="90000"/>
          </a:srgbClr>
        </a:solidFill>
        <a:ln w="63500" cap="rnd" cmpd="sng">
          <a:solidFill>
            <a:schemeClr val="bg1"/>
          </a:solidFill>
          <a:round/>
        </a:ln>
      </dgm:spPr>
      <dgm:t>
        <a:bodyPr/>
        <a:lstStyle/>
        <a:p>
          <a:pPr rtl="0"/>
          <a:r>
            <a:rPr lang="de-DE" altLang="de-DE" sz="1200" b="1">
              <a:solidFill>
                <a:srgbClr val="000000"/>
              </a:solidFill>
              <a:cs typeface="Arial"/>
            </a:rPr>
            <a:t>Einzelmaßnahmen</a:t>
          </a:r>
          <a:r>
            <a:rPr lang="de-DE" altLang="de-DE" sz="1200">
              <a:solidFill>
                <a:srgbClr val="000000"/>
              </a:solidFill>
              <a:cs typeface="Arial"/>
            </a:rPr>
            <a:t>: Investitionen (min. 2.000 €/Maßnahme) zum Ersatz/Neuanschaffung hocheffizienter Anlagen bzw.  Aggregaten verschiedener, definierter Querschnittstechnologien für die industrielle und gewerbliche Anwendung, z.B.: Elektrische Motoren und Antriebe, Pumpen, Ventilatoren, </a:t>
          </a:r>
          <a:r>
            <a:rPr lang="de-DE" altLang="de-DE" sz="1200">
              <a:solidFill>
                <a:srgbClr val="000000"/>
              </a:solidFill>
              <a:latin typeface="Segoe UI"/>
              <a:cs typeface="Arial"/>
            </a:rPr>
            <a:t>Drucklufterzeuger (inkl. Steuerung),</a:t>
          </a:r>
          <a:r>
            <a:rPr lang="de-DE" altLang="de-DE" sz="1200">
              <a:solidFill>
                <a:srgbClr val="000000"/>
              </a:solidFill>
              <a:cs typeface="Arial"/>
            </a:rPr>
            <a:t> </a:t>
          </a:r>
          <a:r>
            <a:rPr lang="de-DE" altLang="de-DE" sz="1200">
              <a:solidFill>
                <a:srgbClr val="000000"/>
              </a:solidFill>
              <a:latin typeface="Segoe UI"/>
              <a:cs typeface="Arial"/>
            </a:rPr>
            <a:t>Wärmeübertrager in </a:t>
          </a:r>
          <a:r>
            <a:rPr lang="de-DE" altLang="de-DE" sz="1200">
              <a:solidFill>
                <a:srgbClr val="000000"/>
              </a:solidFill>
              <a:cs typeface="Arial"/>
            </a:rPr>
            <a:t>Anlagen zur innerbetrieblichen Abwärmenutzung/Wärmerück-gewinnung, </a:t>
          </a:r>
          <a:r>
            <a:rPr lang="de-DE" altLang="de-DE" sz="1200">
              <a:solidFill>
                <a:srgbClr val="000000"/>
              </a:solidFill>
              <a:latin typeface="Segoe UI"/>
              <a:cs typeface="Arial"/>
            </a:rPr>
            <a:t>Isolierung/ Wärmedämmung, Frequenzumrichter zum Nachrüsten von bereits vorhandenen Querschnittstechnologien.</a:t>
          </a:r>
          <a:r>
            <a:rPr lang="de-DE" altLang="de-DE" sz="1200">
              <a:solidFill>
                <a:srgbClr val="000000"/>
              </a:solidFill>
              <a:cs typeface="Arial"/>
            </a:rPr>
            <a:t> Die förderfähigen Technologien werden regelmäßig flexibel durch das BAFA über das Merkblatt angepasst</a:t>
          </a:r>
          <a:endParaRPr lang="en-GB" sz="1200">
            <a:ln>
              <a:noFill/>
            </a:ln>
            <a:latin typeface="+mn-lt"/>
            <a:cs typeface="Arial"/>
          </a:endParaRPr>
        </a:p>
      </dgm:t>
    </dgm:pt>
    <dgm:pt modelId="{B3303F4A-0797-479A-ADE6-B072AA2FE5D1}" type="sibTrans" cxnId="{8DB13611-D17D-4779-84EF-763DF9E3547C}">
      <dgm:prSet/>
      <dgm:spPr/>
      <dgm:t>
        <a:bodyPr/>
        <a:lstStyle/>
        <a:p>
          <a:endParaRPr lang="en-GB"/>
        </a:p>
      </dgm:t>
    </dgm:pt>
    <dgm:pt modelId="{6932F5EC-2FFE-483B-A29C-A66067ED0F62}" type="parTrans" cxnId="{8DB13611-D17D-4779-84EF-763DF9E3547C}">
      <dgm:prSet/>
      <dgm:spPr/>
      <dgm:t>
        <a:bodyPr/>
        <a:lstStyle/>
        <a:p>
          <a:endParaRPr lang="en-GB"/>
        </a:p>
      </dgm:t>
    </dgm:pt>
    <dgm:pt modelId="{1FE26578-9495-4A51-8FD1-AA722B8BCE69}">
      <dgm:prSet custT="1"/>
      <dgm:spPr/>
      <dgm:t>
        <a:bodyPr/>
        <a:lstStyle/>
        <a:p>
          <a:r>
            <a:rPr lang="en-GB" altLang="de-DE" sz="1200">
              <a:latin typeface="+mn-lt"/>
            </a:rPr>
            <a:t>Max. 200.000 € pro </a:t>
          </a:r>
          <a:r>
            <a:rPr lang="en-GB" altLang="de-DE" sz="1200" err="1">
              <a:latin typeface="+mn-lt"/>
            </a:rPr>
            <a:t>Vorhaben</a:t>
          </a:r>
          <a:endParaRPr lang="en-GB" altLang="de-DE" sz="1200">
            <a:latin typeface="+mn-lt"/>
          </a:endParaRPr>
        </a:p>
      </dgm:t>
    </dgm:pt>
    <dgm:pt modelId="{1979E437-30F7-4668-8E52-EB2497E5895F}" type="parTrans" cxnId="{6B1229A2-E5FE-444A-8EB6-B5D8420C7B14}">
      <dgm:prSet/>
      <dgm:spPr/>
      <dgm:t>
        <a:bodyPr/>
        <a:lstStyle/>
        <a:p>
          <a:endParaRPr lang="en-GB"/>
        </a:p>
      </dgm:t>
    </dgm:pt>
    <dgm:pt modelId="{46ED2F55-0294-403A-9312-8F65C792BF1D}" type="sibTrans" cxnId="{6B1229A2-E5FE-444A-8EB6-B5D8420C7B14}">
      <dgm:prSet/>
      <dgm:spPr/>
      <dgm:t>
        <a:bodyPr/>
        <a:lstStyle/>
        <a:p>
          <a:endParaRPr lang="en-GB"/>
        </a:p>
      </dgm:t>
    </dgm:pt>
    <dgm:pt modelId="{2B1D3C42-0A24-4480-A7CA-06B8BE4E0C7C}">
      <dgm:prSet custT="1"/>
      <dgm:spPr/>
      <dgm:t>
        <a:bodyPr/>
        <a:lstStyle/>
        <a:p>
          <a:r>
            <a:rPr lang="de-DE" altLang="de-DE" sz="1200">
              <a:latin typeface="+mn-lt"/>
            </a:rPr>
            <a:t>Beihilferechtliche Vorgaben: Art. 38 AGVO</a:t>
          </a:r>
          <a:endParaRPr lang="en-GB" altLang="de-DE" sz="1200" err="1">
            <a:latin typeface="+mn-lt"/>
          </a:endParaRPr>
        </a:p>
      </dgm:t>
    </dgm:pt>
    <dgm:pt modelId="{9764BCF5-3F86-4800-B45D-3787862DEB66}" type="parTrans" cxnId="{918701D6-55AF-47D6-ADCE-CCC727FFE3B3}">
      <dgm:prSet/>
      <dgm:spPr/>
      <dgm:t>
        <a:bodyPr/>
        <a:lstStyle/>
        <a:p>
          <a:endParaRPr lang="en-GB"/>
        </a:p>
      </dgm:t>
    </dgm:pt>
    <dgm:pt modelId="{69EFDCEB-DE6B-42DA-8089-07F697AF75B8}" type="sibTrans" cxnId="{918701D6-55AF-47D6-ADCE-CCC727FFE3B3}">
      <dgm:prSet/>
      <dgm:spPr/>
      <dgm:t>
        <a:bodyPr/>
        <a:lstStyle/>
        <a:p>
          <a:endParaRPr lang="en-GB"/>
        </a:p>
      </dgm:t>
    </dgm:pt>
    <dgm:pt modelId="{B535A52B-C258-44C1-9035-ADC79AAC6E22}">
      <dgm:prSet custT="1"/>
      <dgm:spPr/>
      <dgm:t>
        <a:bodyPr/>
        <a:lstStyle/>
        <a:p>
          <a:pPr>
            <a:buFont typeface="Arial" panose="020B0604020202020204" pitchFamily="34" charset="0"/>
            <a:buChar char="•"/>
          </a:pPr>
          <a:r>
            <a:rPr lang="en-GB" altLang="de-DE" sz="1200" err="1">
              <a:solidFill>
                <a:srgbClr val="000000"/>
              </a:solidFill>
              <a:latin typeface="+mn-lt"/>
              <a:cs typeface="Arial"/>
            </a:rPr>
            <a:t>Contractoren</a:t>
          </a:r>
          <a:r>
            <a:rPr lang="en-GB" altLang="de-DE" sz="1200">
              <a:solidFill>
                <a:srgbClr val="000000"/>
              </a:solidFill>
              <a:latin typeface="+mn-lt"/>
              <a:cs typeface="Arial"/>
            </a:rPr>
            <a:t> </a:t>
          </a:r>
          <a:r>
            <a:rPr lang="en-GB" altLang="de-DE" sz="1200" strike="noStrike" err="1">
              <a:solidFill>
                <a:srgbClr val="000000"/>
              </a:solidFill>
              <a:latin typeface="+mn-lt"/>
              <a:cs typeface="Arial"/>
            </a:rPr>
            <a:t>im</a:t>
          </a:r>
          <a:r>
            <a:rPr lang="en-GB" altLang="de-DE" sz="1200" strike="noStrike">
              <a:solidFill>
                <a:srgbClr val="000000"/>
              </a:solidFill>
              <a:latin typeface="+mn-lt"/>
              <a:cs typeface="Arial"/>
            </a:rPr>
            <a:t> </a:t>
          </a:r>
          <a:r>
            <a:rPr lang="en-GB" altLang="de-DE" sz="1200" strike="noStrike" err="1">
              <a:solidFill>
                <a:srgbClr val="000000"/>
              </a:solidFill>
              <a:latin typeface="+mn-lt"/>
              <a:cs typeface="Arial"/>
            </a:rPr>
            <a:t>Auftrag</a:t>
          </a:r>
          <a:r>
            <a:rPr lang="en-GB" altLang="de-DE" sz="1200" strike="noStrike">
              <a:solidFill>
                <a:srgbClr val="000000"/>
              </a:solidFill>
              <a:latin typeface="+mn-lt"/>
              <a:cs typeface="Arial"/>
            </a:rPr>
            <a:t> von </a:t>
          </a:r>
          <a:r>
            <a:rPr lang="en-GB" altLang="de-DE" sz="1200" strike="noStrike" err="1">
              <a:solidFill>
                <a:srgbClr val="000000"/>
              </a:solidFill>
              <a:latin typeface="+mn-lt"/>
              <a:cs typeface="Arial"/>
            </a:rPr>
            <a:t>antragsberechtigten</a:t>
          </a:r>
          <a:r>
            <a:rPr lang="en-GB" altLang="de-DE" sz="1200" strike="noStrike">
              <a:solidFill>
                <a:srgbClr val="000000"/>
              </a:solidFill>
              <a:latin typeface="+mn-lt"/>
              <a:cs typeface="Arial"/>
            </a:rPr>
            <a:t> </a:t>
          </a:r>
          <a:r>
            <a:rPr lang="en-GB" altLang="de-DE" sz="1200" strike="noStrike" err="1">
              <a:solidFill>
                <a:srgbClr val="000000"/>
              </a:solidFill>
              <a:latin typeface="+mn-lt"/>
              <a:cs typeface="Arial"/>
            </a:rPr>
            <a:t>Unternehmen</a:t>
          </a:r>
          <a:endParaRPr lang="en-GB" altLang="de-DE" sz="1200" strike="noStrike">
            <a:solidFill>
              <a:srgbClr val="000000"/>
            </a:solidFill>
            <a:latin typeface="+mn-lt"/>
            <a:cs typeface="Arial"/>
          </a:endParaRPr>
        </a:p>
      </dgm:t>
    </dgm:pt>
    <dgm:pt modelId="{54675BED-98AD-47D3-B7E7-149A294E27B8}" type="sibTrans" cxnId="{39D9E0FD-F017-45EA-BAFB-FDC63B73E39A}">
      <dgm:prSet/>
      <dgm:spPr/>
      <dgm:t>
        <a:bodyPr/>
        <a:lstStyle/>
        <a:p>
          <a:endParaRPr lang="en-GB"/>
        </a:p>
      </dgm:t>
    </dgm:pt>
    <dgm:pt modelId="{78012BCF-69C4-449C-AEC3-B0589F8833DB}" type="parTrans" cxnId="{39D9E0FD-F017-45EA-BAFB-FDC63B73E39A}">
      <dgm:prSet/>
      <dgm:spPr/>
      <dgm:t>
        <a:bodyPr/>
        <a:lstStyle/>
        <a:p>
          <a:endParaRPr lang="en-GB"/>
        </a:p>
      </dgm:t>
    </dgm:pt>
    <dgm:pt modelId="{53D35704-AA77-43C7-93BA-C55D54BFD48F}">
      <dgm:prSet custT="1"/>
      <dgm:spPr/>
      <dgm:t>
        <a:bodyPr/>
        <a:lstStyle/>
        <a:p>
          <a:pPr>
            <a:buFont typeface="Arial" panose="020B0604020202020204" pitchFamily="34" charset="0"/>
            <a:buChar char="•"/>
          </a:pPr>
          <a:r>
            <a:rPr lang="en-GB" altLang="de-DE" sz="1200" err="1">
              <a:solidFill>
                <a:srgbClr val="000000"/>
              </a:solidFill>
              <a:latin typeface="+mn-lt"/>
              <a:cs typeface="Arial"/>
            </a:rPr>
            <a:t>Kommunale</a:t>
          </a:r>
          <a:r>
            <a:rPr lang="en-GB" altLang="de-DE" sz="1200">
              <a:solidFill>
                <a:srgbClr val="000000"/>
              </a:solidFill>
              <a:latin typeface="+mn-lt"/>
              <a:cs typeface="Arial"/>
            </a:rPr>
            <a:t> </a:t>
          </a:r>
          <a:r>
            <a:rPr lang="en-GB" altLang="de-DE" sz="1200" err="1">
              <a:solidFill>
                <a:srgbClr val="000000"/>
              </a:solidFill>
              <a:latin typeface="+mn-lt"/>
              <a:cs typeface="Arial"/>
            </a:rPr>
            <a:t>Unternehmen</a:t>
          </a:r>
          <a:r>
            <a:rPr lang="en-GB" altLang="de-DE" sz="1200">
              <a:solidFill>
                <a:srgbClr val="000000"/>
              </a:solidFill>
              <a:latin typeface="+mn-lt"/>
              <a:cs typeface="Arial"/>
            </a:rPr>
            <a:t>, </a:t>
          </a:r>
          <a:r>
            <a:rPr lang="en-GB" altLang="de-DE" sz="1200" err="1">
              <a:solidFill>
                <a:srgbClr val="000000"/>
              </a:solidFill>
              <a:latin typeface="+mn-lt"/>
              <a:cs typeface="Arial"/>
            </a:rPr>
            <a:t>Landesunternehmen</a:t>
          </a:r>
          <a:endParaRPr lang="en-GB" altLang="de-DE" sz="1200">
            <a:solidFill>
              <a:srgbClr val="000000"/>
            </a:solidFill>
            <a:latin typeface="+mn-lt"/>
            <a:cs typeface="Arial"/>
          </a:endParaRPr>
        </a:p>
      </dgm:t>
    </dgm:pt>
    <dgm:pt modelId="{8C790BC4-E7EC-4FA4-BCBD-B52E608EC6A6}" type="sibTrans" cxnId="{5B457D9E-C6C5-4F76-B2F2-AC610A549790}">
      <dgm:prSet/>
      <dgm:spPr/>
      <dgm:t>
        <a:bodyPr/>
        <a:lstStyle/>
        <a:p>
          <a:endParaRPr lang="en-GB"/>
        </a:p>
      </dgm:t>
    </dgm:pt>
    <dgm:pt modelId="{427C2995-2556-43AA-B0EF-512FE5FC5083}" type="parTrans" cxnId="{5B457D9E-C6C5-4F76-B2F2-AC610A549790}">
      <dgm:prSet/>
      <dgm:spPr/>
      <dgm:t>
        <a:bodyPr/>
        <a:lstStyle/>
        <a:p>
          <a:endParaRPr lang="en-GB"/>
        </a:p>
      </dgm:t>
    </dgm:pt>
    <dgm:pt modelId="{994FB6D0-412D-4523-A5F8-A61894B174BF}">
      <dgm:prSet custT="1"/>
      <dgm:spPr/>
      <dgm:t>
        <a:bodyPr/>
        <a:lstStyle/>
        <a:p>
          <a:pPr>
            <a:buFont typeface="Arial" panose="020B0604020202020204" pitchFamily="34" charset="0"/>
            <a:buChar char="•"/>
          </a:pPr>
          <a:r>
            <a:rPr lang="en-GB" altLang="de-DE" sz="1200" err="1">
              <a:solidFill>
                <a:srgbClr val="000000"/>
              </a:solidFill>
              <a:latin typeface="+mn-lt"/>
              <a:cs typeface="Arial"/>
            </a:rPr>
            <a:t>Freiberuflich</a:t>
          </a:r>
          <a:r>
            <a:rPr lang="en-GB" altLang="de-DE" sz="1200">
              <a:solidFill>
                <a:srgbClr val="000000"/>
              </a:solidFill>
              <a:latin typeface="+mn-lt"/>
              <a:cs typeface="Arial"/>
            </a:rPr>
            <a:t> </a:t>
          </a:r>
          <a:r>
            <a:rPr lang="en-GB" altLang="de-DE" sz="1200" err="1">
              <a:solidFill>
                <a:srgbClr val="000000"/>
              </a:solidFill>
              <a:latin typeface="+mn-lt"/>
              <a:cs typeface="Arial"/>
            </a:rPr>
            <a:t>Tätige</a:t>
          </a:r>
          <a:endParaRPr lang="en-GB" altLang="de-DE" sz="1200">
            <a:solidFill>
              <a:srgbClr val="000000"/>
            </a:solidFill>
            <a:latin typeface="+mn-lt"/>
            <a:cs typeface="Arial"/>
          </a:endParaRPr>
        </a:p>
      </dgm:t>
    </dgm:pt>
    <dgm:pt modelId="{538EE255-B60A-4CCA-AB1C-6E1F4F0D3DC4}" type="sibTrans" cxnId="{7A4F9AB6-5D3E-4574-8766-5BF9C3B98674}">
      <dgm:prSet/>
      <dgm:spPr/>
      <dgm:t>
        <a:bodyPr/>
        <a:lstStyle/>
        <a:p>
          <a:endParaRPr lang="en-GB"/>
        </a:p>
      </dgm:t>
    </dgm:pt>
    <dgm:pt modelId="{C2F928F1-34AA-4D50-91B7-E70F0C08199B}" type="parTrans" cxnId="{7A4F9AB6-5D3E-4574-8766-5BF9C3B98674}">
      <dgm:prSet/>
      <dgm:spPr/>
      <dgm:t>
        <a:bodyPr/>
        <a:lstStyle/>
        <a:p>
          <a:endParaRPr lang="en-GB"/>
        </a:p>
      </dgm:t>
    </dgm:pt>
    <dgm:pt modelId="{27648138-B716-41A0-A76C-626220E2874C}" type="pres">
      <dgm:prSet presAssocID="{FFCB392C-E190-4000-BC2B-8923E66F8E05}" presName="Name0" presStyleCnt="0">
        <dgm:presLayoutVars>
          <dgm:dir/>
          <dgm:animLvl val="lvl"/>
          <dgm:resizeHandles val="exact"/>
        </dgm:presLayoutVars>
      </dgm:prSet>
      <dgm:spPr/>
    </dgm:pt>
    <dgm:pt modelId="{1ADF6C26-1B25-4A78-B388-B1C46C817D76}" type="pres">
      <dgm:prSet presAssocID="{E6EFA897-0431-492F-B65F-D429EF9274CB}" presName="linNode" presStyleCnt="0"/>
      <dgm:spPr/>
    </dgm:pt>
    <dgm:pt modelId="{9C1950A7-783E-48B6-8E92-F40F44EBAD14}" type="pres">
      <dgm:prSet presAssocID="{E6EFA897-0431-492F-B65F-D429EF9274CB}" presName="parentText" presStyleLbl="node1" presStyleIdx="0" presStyleCnt="5" custScaleX="1418391" custScaleY="658568">
        <dgm:presLayoutVars>
          <dgm:chMax val="1"/>
          <dgm:bulletEnabled val="1"/>
        </dgm:presLayoutVars>
      </dgm:prSet>
      <dgm:spPr/>
    </dgm:pt>
    <dgm:pt modelId="{D4830C8F-A2AE-4990-90BF-6D9758F800E7}" type="pres">
      <dgm:prSet presAssocID="{E6EFA897-0431-492F-B65F-D429EF9274CB}" presName="descendantText" presStyleLbl="alignAccFollowNode1" presStyleIdx="0" presStyleCnt="5" custAng="0" custScaleX="2000000" custScaleY="827375">
        <dgm:presLayoutVars>
          <dgm:bulletEnabled val="1"/>
        </dgm:presLayoutVars>
      </dgm:prSet>
      <dgm:spPr>
        <a:prstGeom prst="roundRect">
          <a:avLst/>
        </a:prstGeom>
      </dgm:spPr>
    </dgm:pt>
    <dgm:pt modelId="{9203D1ED-D34A-4B16-8646-7FE2F50473D2}" type="pres">
      <dgm:prSet presAssocID="{7AEB0645-723A-40EF-ABFC-A5BB952678BD}" presName="sp" presStyleCnt="0"/>
      <dgm:spPr/>
    </dgm:pt>
    <dgm:pt modelId="{53851687-2ABD-4E48-9F25-DB16955D1D90}" type="pres">
      <dgm:prSet presAssocID="{03FEEBAF-B492-4AB8-89C6-4B4628CA1E26}" presName="linNode" presStyleCnt="0"/>
      <dgm:spPr/>
    </dgm:pt>
    <dgm:pt modelId="{6282B259-D810-400D-AF6A-A79E8F7BBC6B}" type="pres">
      <dgm:prSet presAssocID="{03FEEBAF-B492-4AB8-89C6-4B4628CA1E26}" presName="parentText" presStyleLbl="node1" presStyleIdx="1" presStyleCnt="5" custScaleX="1418391" custScaleY="498700">
        <dgm:presLayoutVars>
          <dgm:chMax val="1"/>
          <dgm:bulletEnabled val="1"/>
        </dgm:presLayoutVars>
      </dgm:prSet>
      <dgm:spPr>
        <a:prstGeom prst="roundRect">
          <a:avLst/>
        </a:prstGeom>
      </dgm:spPr>
    </dgm:pt>
    <dgm:pt modelId="{C3CA0957-EF4F-46A9-B14B-C34909532529}" type="pres">
      <dgm:prSet presAssocID="{03FEEBAF-B492-4AB8-89C6-4B4628CA1E26}" presName="descendantText" presStyleLbl="alignAccFollowNode1" presStyleIdx="1" presStyleCnt="5" custScaleX="2000000" custScaleY="621583">
        <dgm:presLayoutVars>
          <dgm:bulletEnabled val="1"/>
        </dgm:presLayoutVars>
      </dgm:prSet>
      <dgm:spPr>
        <a:prstGeom prst="roundRect">
          <a:avLst/>
        </a:prstGeom>
      </dgm:spPr>
    </dgm:pt>
    <dgm:pt modelId="{C9293F8E-C675-4E36-A65B-AAAC8006C733}" type="pres">
      <dgm:prSet presAssocID="{46A33D61-164A-49AF-AE7D-CEFC1DBAB295}" presName="sp" presStyleCnt="0"/>
      <dgm:spPr/>
    </dgm:pt>
    <dgm:pt modelId="{61D33F34-F888-4DD1-BA17-F953371D0B7A}" type="pres">
      <dgm:prSet presAssocID="{96260E3C-6263-485C-AAD5-4834D4569D00}" presName="linNode" presStyleCnt="0"/>
      <dgm:spPr/>
    </dgm:pt>
    <dgm:pt modelId="{E2E438A6-5F37-4E34-923A-0CA8673CDF3A}" type="pres">
      <dgm:prSet presAssocID="{96260E3C-6263-485C-AAD5-4834D4569D00}" presName="parentText" presStyleLbl="node1" presStyleIdx="2" presStyleCnt="5" custScaleX="86660" custScaleY="425078">
        <dgm:presLayoutVars>
          <dgm:chMax val="1"/>
          <dgm:bulletEnabled val="1"/>
        </dgm:presLayoutVars>
      </dgm:prSet>
      <dgm:spPr/>
    </dgm:pt>
    <dgm:pt modelId="{42205B36-F6FD-4A61-8A6C-F7C8A06C6790}" type="pres">
      <dgm:prSet presAssocID="{96260E3C-6263-485C-AAD5-4834D4569D00}" presName="descendantText" presStyleLbl="alignAccFollowNode1" presStyleIdx="2" presStyleCnt="5" custScaleX="122177" custScaleY="531762">
        <dgm:presLayoutVars>
          <dgm:bulletEnabled val="1"/>
        </dgm:presLayoutVars>
      </dgm:prSet>
      <dgm:spPr>
        <a:prstGeom prst="roundRect">
          <a:avLst/>
        </a:prstGeom>
      </dgm:spPr>
    </dgm:pt>
    <dgm:pt modelId="{CDDFDC90-580B-485A-9FC2-5DB7FE6F7287}" type="pres">
      <dgm:prSet presAssocID="{9118D841-7835-4425-89DF-5E2FF676BD2C}" presName="sp" presStyleCnt="0"/>
      <dgm:spPr/>
    </dgm:pt>
    <dgm:pt modelId="{73F3CA5A-E1C8-4A93-9B4D-EA5329F4F21A}" type="pres">
      <dgm:prSet presAssocID="{52BD68D0-EAE3-4487-ADC7-C30AD0C149E7}" presName="linNode" presStyleCnt="0"/>
      <dgm:spPr/>
    </dgm:pt>
    <dgm:pt modelId="{C8A9DE35-1CD6-4E88-9A7A-CD82966A87BF}" type="pres">
      <dgm:prSet presAssocID="{52BD68D0-EAE3-4487-ADC7-C30AD0C149E7}" presName="parentText" presStyleLbl="node1" presStyleIdx="3" presStyleCnt="5" custScaleX="114730" custScaleY="249807">
        <dgm:presLayoutVars>
          <dgm:chMax val="1"/>
          <dgm:bulletEnabled val="1"/>
        </dgm:presLayoutVars>
      </dgm:prSet>
      <dgm:spPr/>
    </dgm:pt>
    <dgm:pt modelId="{600B0FCE-F633-4F00-B20F-1253DB6B5E6E}" type="pres">
      <dgm:prSet presAssocID="{52BD68D0-EAE3-4487-ADC7-C30AD0C149E7}" presName="descendantText" presStyleLbl="alignAccFollowNode1" presStyleIdx="3" presStyleCnt="5" custScaleX="161690" custScaleY="311749">
        <dgm:presLayoutVars>
          <dgm:bulletEnabled val="1"/>
        </dgm:presLayoutVars>
      </dgm:prSet>
      <dgm:spPr>
        <a:prstGeom prst="roundRect">
          <a:avLst/>
        </a:prstGeom>
      </dgm:spPr>
    </dgm:pt>
    <dgm:pt modelId="{1A51CAE2-8F35-4B86-BC85-6FAB03C10C9B}" type="pres">
      <dgm:prSet presAssocID="{C8ED1CA2-595E-436E-B860-29E61D658492}" presName="sp" presStyleCnt="0"/>
      <dgm:spPr/>
    </dgm:pt>
    <dgm:pt modelId="{930F362C-C84D-4BD3-B965-79AFCF7BEE58}" type="pres">
      <dgm:prSet presAssocID="{52B98E0D-74B5-47F3-93A9-75219B6BCE70}" presName="linNode" presStyleCnt="0"/>
      <dgm:spPr/>
    </dgm:pt>
    <dgm:pt modelId="{36DCF81B-4ED1-4AD8-B27C-5FE0EF7F2B66}" type="pres">
      <dgm:prSet presAssocID="{52B98E0D-74B5-47F3-93A9-75219B6BCE70}" presName="parentText" presStyleLbl="node1" presStyleIdx="4" presStyleCnt="5" custScaleX="111007" custScaleY="175674">
        <dgm:presLayoutVars>
          <dgm:chMax val="1"/>
          <dgm:bulletEnabled val="1"/>
        </dgm:presLayoutVars>
      </dgm:prSet>
      <dgm:spPr/>
    </dgm:pt>
    <dgm:pt modelId="{BCBFAC89-216D-4DFF-897D-8C47A404ADDC}" type="pres">
      <dgm:prSet presAssocID="{52B98E0D-74B5-47F3-93A9-75219B6BCE70}" presName="descendantText" presStyleLbl="alignAccFollowNode1" presStyleIdx="4" presStyleCnt="5" custScaleX="156728" custScaleY="219096">
        <dgm:presLayoutVars>
          <dgm:bulletEnabled val="1"/>
        </dgm:presLayoutVars>
      </dgm:prSet>
      <dgm:spPr>
        <a:prstGeom prst="roundRect">
          <a:avLst/>
        </a:prstGeom>
      </dgm:spPr>
    </dgm:pt>
  </dgm:ptLst>
  <dgm:cxnLst>
    <dgm:cxn modelId="{9AA0FE0C-3498-4DEF-BAAA-9ECEAC181F28}" type="presOf" srcId="{FFCB392C-E190-4000-BC2B-8923E66F8E05}" destId="{27648138-B716-41A0-A76C-626220E2874C}" srcOrd="0" destOrd="0" presId="urn:microsoft.com/office/officeart/2005/8/layout/vList5"/>
    <dgm:cxn modelId="{8DB13611-D17D-4779-84EF-763DF9E3547C}" srcId="{E6EFA897-0431-492F-B65F-D429EF9274CB}" destId="{0B0E29F8-58DA-4B85-A037-33270222EDB5}" srcOrd="0" destOrd="0" parTransId="{6932F5EC-2FFE-483B-A29C-A66067ED0F62}" sibTransId="{B3303F4A-0797-479A-ADE6-B072AA2FE5D1}"/>
    <dgm:cxn modelId="{F95F9C27-E753-418D-AD5D-C296FAADD4BD}" type="presOf" srcId="{0A2167F3-4E3C-49E8-8F53-F429B724897B}" destId="{42205B36-F6FD-4A61-8A6C-F7C8A06C6790}" srcOrd="0" destOrd="0" presId="urn:microsoft.com/office/officeart/2005/8/layout/vList5"/>
    <dgm:cxn modelId="{A5523B2B-2528-40F6-A9F1-D7FD3059D53C}" type="presOf" srcId="{5B68FBBB-097B-4FC1-AC52-7BCB9A82E434}" destId="{C3CA0957-EF4F-46A9-B14B-C34909532529}" srcOrd="0" destOrd="0" presId="urn:microsoft.com/office/officeart/2005/8/layout/vList5"/>
    <dgm:cxn modelId="{92F75A5B-779F-4B6B-9DC9-466C31D92B4C}" srcId="{96260E3C-6263-485C-AAD5-4834D4569D00}" destId="{0A2167F3-4E3C-49E8-8F53-F429B724897B}" srcOrd="0" destOrd="0" parTransId="{C31FCFD9-9839-42B9-909B-53DFE97C6A9D}" sibTransId="{981FCCCA-D06E-451D-858E-6E6DE23A18B8}"/>
    <dgm:cxn modelId="{CED7E969-D16B-49AC-9025-0639DE7A44EA}" srcId="{03FEEBAF-B492-4AB8-89C6-4B4628CA1E26}" destId="{5B68FBBB-097B-4FC1-AC52-7BCB9A82E434}" srcOrd="0" destOrd="0" parTransId="{659E152D-55D2-44AD-AE67-588F8779BF6F}" sibTransId="{2DEC8DEC-3F82-4CCC-A411-7762AAC03FEB}"/>
    <dgm:cxn modelId="{2B5F364B-9F67-4EFD-A893-5ED40B6C87FC}" srcId="{52BD68D0-EAE3-4487-ADC7-C30AD0C149E7}" destId="{9769D350-8FE4-4236-B37A-51F281FB0440}" srcOrd="0" destOrd="0" parTransId="{B162A309-DDB3-4E45-92DD-CDBE1CC908D1}" sibTransId="{E3E4F325-38EC-4BAF-80AB-9E71F04CCABD}"/>
    <dgm:cxn modelId="{6FA78E6B-EDBB-4C88-A015-C78BBD6DF4A4}" type="presOf" srcId="{B535A52B-C258-44C1-9035-ADC79AAC6E22}" destId="{C3CA0957-EF4F-46A9-B14B-C34909532529}" srcOrd="0" destOrd="1" presId="urn:microsoft.com/office/officeart/2005/8/layout/vList5"/>
    <dgm:cxn modelId="{4C02BB6C-62E0-4B38-BABC-C6745075E7FB}" srcId="{52B98E0D-74B5-47F3-93A9-75219B6BCE70}" destId="{0304314D-5BF1-42A8-BE34-2A2F0E95F676}" srcOrd="0" destOrd="0" parTransId="{804FF43D-A32E-451E-A676-9BB53C66ECED}" sibTransId="{45B9690B-B485-4BD2-A80E-FBB267D431B6}"/>
    <dgm:cxn modelId="{C9682A4E-F57B-4634-8E51-44FAB228FA44}" type="presOf" srcId="{52B98E0D-74B5-47F3-93A9-75219B6BCE70}" destId="{36DCF81B-4ED1-4AD8-B27C-5FE0EF7F2B66}" srcOrd="0" destOrd="0" presId="urn:microsoft.com/office/officeart/2005/8/layout/vList5"/>
    <dgm:cxn modelId="{84E6D674-155B-4E0C-98FA-DD06EBDC25BA}" srcId="{FFCB392C-E190-4000-BC2B-8923E66F8E05}" destId="{03FEEBAF-B492-4AB8-89C6-4B4628CA1E26}" srcOrd="1" destOrd="0" parTransId="{36E648EC-D32B-449E-9167-67FC1B8DDF49}" sibTransId="{46A33D61-164A-49AF-AE7D-CEFC1DBAB295}"/>
    <dgm:cxn modelId="{B3906475-0394-4793-903C-F3FDE315986F}" type="presOf" srcId="{53D35704-AA77-43C7-93BA-C55D54BFD48F}" destId="{C3CA0957-EF4F-46A9-B14B-C34909532529}" srcOrd="0" destOrd="2" presId="urn:microsoft.com/office/officeart/2005/8/layout/vList5"/>
    <dgm:cxn modelId="{F4407357-DA74-4905-8D57-999A75C49954}" srcId="{FFCB392C-E190-4000-BC2B-8923E66F8E05}" destId="{96260E3C-6263-485C-AAD5-4834D4569D00}" srcOrd="2" destOrd="0" parTransId="{2B5F8176-600B-448A-BAC4-07CC9809E5E1}" sibTransId="{9118D841-7835-4425-89DF-5E2FF676BD2C}"/>
    <dgm:cxn modelId="{2E6C1579-6082-4E33-A723-E845F8FBA423}" srcId="{FFCB392C-E190-4000-BC2B-8923E66F8E05}" destId="{E6EFA897-0431-492F-B65F-D429EF9274CB}" srcOrd="0" destOrd="0" parTransId="{3F2A00E6-14CF-4B7B-83A8-308789775694}" sibTransId="{7AEB0645-723A-40EF-ABFC-A5BB952678BD}"/>
    <dgm:cxn modelId="{1261B27E-0369-4095-9661-BBC2129CF9E6}" type="presOf" srcId="{9769D350-8FE4-4236-B37A-51F281FB0440}" destId="{600B0FCE-F633-4F00-B20F-1253DB6B5E6E}" srcOrd="0" destOrd="0" presId="urn:microsoft.com/office/officeart/2005/8/layout/vList5"/>
    <dgm:cxn modelId="{F1270984-F461-4C12-ACC0-75C88A60C205}" srcId="{FFCB392C-E190-4000-BC2B-8923E66F8E05}" destId="{52BD68D0-EAE3-4487-ADC7-C30AD0C149E7}" srcOrd="3" destOrd="0" parTransId="{BB9FE834-9348-4C65-ABF7-D62613A39635}" sibTransId="{C8ED1CA2-595E-436E-B860-29E61D658492}"/>
    <dgm:cxn modelId="{F4AE0B8F-C03C-4B18-BFD0-82617CBBED97}" type="presOf" srcId="{0B0E29F8-58DA-4B85-A037-33270222EDB5}" destId="{D4830C8F-A2AE-4990-90BF-6D9758F800E7}" srcOrd="0" destOrd="0" presId="urn:microsoft.com/office/officeart/2005/8/layout/vList5"/>
    <dgm:cxn modelId="{B54C7F8F-72CC-4129-ACF9-B4B8C55724D6}" type="presOf" srcId="{1FE26578-9495-4A51-8FD1-AA722B8BCE69}" destId="{42205B36-F6FD-4A61-8A6C-F7C8A06C6790}" srcOrd="0" destOrd="1" presId="urn:microsoft.com/office/officeart/2005/8/layout/vList5"/>
    <dgm:cxn modelId="{5B457D9E-C6C5-4F76-B2F2-AC610A549790}" srcId="{03FEEBAF-B492-4AB8-89C6-4B4628CA1E26}" destId="{53D35704-AA77-43C7-93BA-C55D54BFD48F}" srcOrd="2" destOrd="0" parTransId="{427C2995-2556-43AA-B0EF-512FE5FC5083}" sibTransId="{8C790BC4-E7EC-4FA4-BCBD-B52E608EC6A6}"/>
    <dgm:cxn modelId="{6B1229A2-E5FE-444A-8EB6-B5D8420C7B14}" srcId="{96260E3C-6263-485C-AAD5-4834D4569D00}" destId="{1FE26578-9495-4A51-8FD1-AA722B8BCE69}" srcOrd="1" destOrd="0" parTransId="{1979E437-30F7-4668-8E52-EB2497E5895F}" sibTransId="{46ED2F55-0294-403A-9312-8F65C792BF1D}"/>
    <dgm:cxn modelId="{B6EACBB4-A375-443D-902C-3E742EA6A7AB}" type="presOf" srcId="{0304314D-5BF1-42A8-BE34-2A2F0E95F676}" destId="{BCBFAC89-216D-4DFF-897D-8C47A404ADDC}" srcOrd="0" destOrd="0" presId="urn:microsoft.com/office/officeart/2005/8/layout/vList5"/>
    <dgm:cxn modelId="{7A4F9AB6-5D3E-4574-8766-5BF9C3B98674}" srcId="{03FEEBAF-B492-4AB8-89C6-4B4628CA1E26}" destId="{994FB6D0-412D-4523-A5F8-A61894B174BF}" srcOrd="3" destOrd="0" parTransId="{C2F928F1-34AA-4D50-91B7-E70F0C08199B}" sibTransId="{538EE255-B60A-4CCA-AB1C-6E1F4F0D3DC4}"/>
    <dgm:cxn modelId="{63E0AEB6-5CA9-4601-B05E-15DA2DE71DE1}" type="presOf" srcId="{03FEEBAF-B492-4AB8-89C6-4B4628CA1E26}" destId="{6282B259-D810-400D-AF6A-A79E8F7BBC6B}" srcOrd="0" destOrd="0" presId="urn:microsoft.com/office/officeart/2005/8/layout/vList5"/>
    <dgm:cxn modelId="{5ACCCAC6-1566-486F-BF1B-124DBF5C4AA6}" type="presOf" srcId="{2B1D3C42-0A24-4480-A7CA-06B8BE4E0C7C}" destId="{42205B36-F6FD-4A61-8A6C-F7C8A06C6790}" srcOrd="0" destOrd="2" presId="urn:microsoft.com/office/officeart/2005/8/layout/vList5"/>
    <dgm:cxn modelId="{186ADDC8-E13B-497A-B8CC-268BA4BB6882}" type="presOf" srcId="{E6EFA897-0431-492F-B65F-D429EF9274CB}" destId="{9C1950A7-783E-48B6-8E92-F40F44EBAD14}" srcOrd="0" destOrd="0" presId="urn:microsoft.com/office/officeart/2005/8/layout/vList5"/>
    <dgm:cxn modelId="{3A754EC9-4700-4E62-8D18-497E27C681AD}" type="presOf" srcId="{96260E3C-6263-485C-AAD5-4834D4569D00}" destId="{E2E438A6-5F37-4E34-923A-0CA8673CDF3A}" srcOrd="0" destOrd="0" presId="urn:microsoft.com/office/officeart/2005/8/layout/vList5"/>
    <dgm:cxn modelId="{918701D6-55AF-47D6-ADCE-CCC727FFE3B3}" srcId="{96260E3C-6263-485C-AAD5-4834D4569D00}" destId="{2B1D3C42-0A24-4480-A7CA-06B8BE4E0C7C}" srcOrd="2" destOrd="0" parTransId="{9764BCF5-3F86-4800-B45D-3787862DEB66}" sibTransId="{69EFDCEB-DE6B-42DA-8089-07F697AF75B8}"/>
    <dgm:cxn modelId="{F531DFD7-07AA-48BC-97A3-BB6A36560940}" type="presOf" srcId="{994FB6D0-412D-4523-A5F8-A61894B174BF}" destId="{C3CA0957-EF4F-46A9-B14B-C34909532529}" srcOrd="0" destOrd="3" presId="urn:microsoft.com/office/officeart/2005/8/layout/vList5"/>
    <dgm:cxn modelId="{ABAFECDC-449D-4D07-9045-9B6BBF5D33E9}" type="presOf" srcId="{52BD68D0-EAE3-4487-ADC7-C30AD0C149E7}" destId="{C8A9DE35-1CD6-4E88-9A7A-CD82966A87BF}" srcOrd="0" destOrd="0" presId="urn:microsoft.com/office/officeart/2005/8/layout/vList5"/>
    <dgm:cxn modelId="{954AB5ED-19D8-4B9F-9274-A07D3F0B86DC}" srcId="{FFCB392C-E190-4000-BC2B-8923E66F8E05}" destId="{52B98E0D-74B5-47F3-93A9-75219B6BCE70}" srcOrd="4" destOrd="0" parTransId="{98C1EE2D-85CD-4DF7-BA31-B2037EADB0D7}" sibTransId="{CD1C99D8-452D-4FB0-BFC1-18CE9E5E8FC6}"/>
    <dgm:cxn modelId="{39D9E0FD-F017-45EA-BAFB-FDC63B73E39A}" srcId="{03FEEBAF-B492-4AB8-89C6-4B4628CA1E26}" destId="{B535A52B-C258-44C1-9035-ADC79AAC6E22}" srcOrd="1" destOrd="0" parTransId="{78012BCF-69C4-449C-AEC3-B0589F8833DB}" sibTransId="{54675BED-98AD-47D3-B7E7-149A294E27B8}"/>
    <dgm:cxn modelId="{36623C55-CE13-4AD6-BE4E-AD62A1CBA121}" type="presParOf" srcId="{27648138-B716-41A0-A76C-626220E2874C}" destId="{1ADF6C26-1B25-4A78-B388-B1C46C817D76}" srcOrd="0" destOrd="0" presId="urn:microsoft.com/office/officeart/2005/8/layout/vList5"/>
    <dgm:cxn modelId="{4DECFFBA-D269-4BF6-BE7C-8704F340A47C}" type="presParOf" srcId="{1ADF6C26-1B25-4A78-B388-B1C46C817D76}" destId="{9C1950A7-783E-48B6-8E92-F40F44EBAD14}" srcOrd="0" destOrd="0" presId="urn:microsoft.com/office/officeart/2005/8/layout/vList5"/>
    <dgm:cxn modelId="{49D490F8-05D0-4A47-83E7-1EE4A6BF73D4}" type="presParOf" srcId="{1ADF6C26-1B25-4A78-B388-B1C46C817D76}" destId="{D4830C8F-A2AE-4990-90BF-6D9758F800E7}" srcOrd="1" destOrd="0" presId="urn:microsoft.com/office/officeart/2005/8/layout/vList5"/>
    <dgm:cxn modelId="{5B9BC308-3876-4978-BF6D-848C851655F5}" type="presParOf" srcId="{27648138-B716-41A0-A76C-626220E2874C}" destId="{9203D1ED-D34A-4B16-8646-7FE2F50473D2}" srcOrd="1" destOrd="0" presId="urn:microsoft.com/office/officeart/2005/8/layout/vList5"/>
    <dgm:cxn modelId="{76438024-2C90-4EBC-ABBD-DF4056D36DDD}" type="presParOf" srcId="{27648138-B716-41A0-A76C-626220E2874C}" destId="{53851687-2ABD-4E48-9F25-DB16955D1D90}" srcOrd="2" destOrd="0" presId="urn:microsoft.com/office/officeart/2005/8/layout/vList5"/>
    <dgm:cxn modelId="{EDDEF264-1614-484B-B8FD-C8A0587F3E52}" type="presParOf" srcId="{53851687-2ABD-4E48-9F25-DB16955D1D90}" destId="{6282B259-D810-400D-AF6A-A79E8F7BBC6B}" srcOrd="0" destOrd="0" presId="urn:microsoft.com/office/officeart/2005/8/layout/vList5"/>
    <dgm:cxn modelId="{D30CBBBF-CA02-44E5-99C0-F6F65FB68257}" type="presParOf" srcId="{53851687-2ABD-4E48-9F25-DB16955D1D90}" destId="{C3CA0957-EF4F-46A9-B14B-C34909532529}" srcOrd="1" destOrd="0" presId="urn:microsoft.com/office/officeart/2005/8/layout/vList5"/>
    <dgm:cxn modelId="{BDFEC1CA-78BC-4DE1-9EB9-E38E7B8E9596}" type="presParOf" srcId="{27648138-B716-41A0-A76C-626220E2874C}" destId="{C9293F8E-C675-4E36-A65B-AAAC8006C733}" srcOrd="3" destOrd="0" presId="urn:microsoft.com/office/officeart/2005/8/layout/vList5"/>
    <dgm:cxn modelId="{C4B2619F-7DA6-4658-AA77-2FDF39975197}" type="presParOf" srcId="{27648138-B716-41A0-A76C-626220E2874C}" destId="{61D33F34-F888-4DD1-BA17-F953371D0B7A}" srcOrd="4" destOrd="0" presId="urn:microsoft.com/office/officeart/2005/8/layout/vList5"/>
    <dgm:cxn modelId="{2FD8CD44-C7F9-43AD-9B52-630B7CC91C5C}" type="presParOf" srcId="{61D33F34-F888-4DD1-BA17-F953371D0B7A}" destId="{E2E438A6-5F37-4E34-923A-0CA8673CDF3A}" srcOrd="0" destOrd="0" presId="urn:microsoft.com/office/officeart/2005/8/layout/vList5"/>
    <dgm:cxn modelId="{5F124C72-3FD6-4255-B876-8999C771D87C}" type="presParOf" srcId="{61D33F34-F888-4DD1-BA17-F953371D0B7A}" destId="{42205B36-F6FD-4A61-8A6C-F7C8A06C6790}" srcOrd="1" destOrd="0" presId="urn:microsoft.com/office/officeart/2005/8/layout/vList5"/>
    <dgm:cxn modelId="{5E0D6B70-5F2F-45A3-86AA-183C13C1A6AA}" type="presParOf" srcId="{27648138-B716-41A0-A76C-626220E2874C}" destId="{CDDFDC90-580B-485A-9FC2-5DB7FE6F7287}" srcOrd="5" destOrd="0" presId="urn:microsoft.com/office/officeart/2005/8/layout/vList5"/>
    <dgm:cxn modelId="{6F253042-D7C8-4B7D-9FEF-FB031CBF6CC5}" type="presParOf" srcId="{27648138-B716-41A0-A76C-626220E2874C}" destId="{73F3CA5A-E1C8-4A93-9B4D-EA5329F4F21A}" srcOrd="6" destOrd="0" presId="urn:microsoft.com/office/officeart/2005/8/layout/vList5"/>
    <dgm:cxn modelId="{4245BE60-5409-4B2F-AD96-F4F63CC1432C}" type="presParOf" srcId="{73F3CA5A-E1C8-4A93-9B4D-EA5329F4F21A}" destId="{C8A9DE35-1CD6-4E88-9A7A-CD82966A87BF}" srcOrd="0" destOrd="0" presId="urn:microsoft.com/office/officeart/2005/8/layout/vList5"/>
    <dgm:cxn modelId="{E8E8B4AE-4F7E-4AD5-8A15-D14916C48492}" type="presParOf" srcId="{73F3CA5A-E1C8-4A93-9B4D-EA5329F4F21A}" destId="{600B0FCE-F633-4F00-B20F-1253DB6B5E6E}" srcOrd="1" destOrd="0" presId="urn:microsoft.com/office/officeart/2005/8/layout/vList5"/>
    <dgm:cxn modelId="{BAD311A2-24F2-4CE9-8646-DFB9F5F6B5A3}" type="presParOf" srcId="{27648138-B716-41A0-A76C-626220E2874C}" destId="{1A51CAE2-8F35-4B86-BC85-6FAB03C10C9B}" srcOrd="7" destOrd="0" presId="urn:microsoft.com/office/officeart/2005/8/layout/vList5"/>
    <dgm:cxn modelId="{4A598431-260C-4E6E-83BF-52CFC9204234}" type="presParOf" srcId="{27648138-B716-41A0-A76C-626220E2874C}" destId="{930F362C-C84D-4BD3-B965-79AFCF7BEE58}" srcOrd="8" destOrd="0" presId="urn:microsoft.com/office/officeart/2005/8/layout/vList5"/>
    <dgm:cxn modelId="{6E3D6817-2E12-447E-B66E-93CED88B1220}" type="presParOf" srcId="{930F362C-C84D-4BD3-B965-79AFCF7BEE58}" destId="{36DCF81B-4ED1-4AD8-B27C-5FE0EF7F2B66}" srcOrd="0" destOrd="0" presId="urn:microsoft.com/office/officeart/2005/8/layout/vList5"/>
    <dgm:cxn modelId="{6C99B66F-E916-4FEB-B3E8-02761F76055D}" type="presParOf" srcId="{930F362C-C84D-4BD3-B965-79AFCF7BEE58}" destId="{BCBFAC89-216D-4DFF-897D-8C47A404ADDC}"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FFCB392C-E190-4000-BC2B-8923E66F8E05}"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GB"/>
        </a:p>
      </dgm:t>
    </dgm:pt>
    <dgm:pt modelId="{E6EFA897-0431-492F-B65F-D429EF9274CB}">
      <dgm:prSet phldrT="[Text]" custT="1"/>
      <dgm:spPr>
        <a:solidFill>
          <a:srgbClr val="FC5B2F"/>
        </a:solidFill>
        <a:ln w="63500">
          <a:solidFill>
            <a:schemeClr val="bg1"/>
          </a:solidFill>
        </a:ln>
      </dgm:spPr>
      <dgm:t>
        <a:bodyPr/>
        <a:lstStyle/>
        <a:p>
          <a:r>
            <a:rPr lang="de-DE" sz="2000" b="1"/>
            <a:t>WAS?</a:t>
          </a:r>
          <a:endParaRPr lang="en-GB" sz="2000" b="1"/>
        </a:p>
      </dgm:t>
    </dgm:pt>
    <dgm:pt modelId="{3F2A00E6-14CF-4B7B-83A8-308789775694}" type="parTrans" cxnId="{2E6C1579-6082-4E33-A723-E845F8FBA423}">
      <dgm:prSet/>
      <dgm:spPr/>
      <dgm:t>
        <a:bodyPr/>
        <a:lstStyle/>
        <a:p>
          <a:endParaRPr lang="en-GB"/>
        </a:p>
      </dgm:t>
    </dgm:pt>
    <dgm:pt modelId="{7AEB0645-723A-40EF-ABFC-A5BB952678BD}" type="sibTrans" cxnId="{2E6C1579-6082-4E33-A723-E845F8FBA423}">
      <dgm:prSet/>
      <dgm:spPr/>
      <dgm:t>
        <a:bodyPr/>
        <a:lstStyle/>
        <a:p>
          <a:endParaRPr lang="en-GB"/>
        </a:p>
      </dgm:t>
    </dgm:pt>
    <dgm:pt modelId="{03FEEBAF-B492-4AB8-89C6-4B4628CA1E26}">
      <dgm:prSet phldrT="[Text]" custT="1"/>
      <dgm:spPr>
        <a:solidFill>
          <a:srgbClr val="FC5B2F"/>
        </a:solidFill>
        <a:ln w="63500">
          <a:solidFill>
            <a:schemeClr val="bg1"/>
          </a:solidFill>
        </a:ln>
      </dgm:spPr>
      <dgm:t>
        <a:bodyPr/>
        <a:lstStyle/>
        <a:p>
          <a:r>
            <a:rPr lang="de-DE" sz="2000" b="1"/>
            <a:t>WER?</a:t>
          </a:r>
          <a:endParaRPr lang="en-GB" sz="2000" b="1"/>
        </a:p>
      </dgm:t>
    </dgm:pt>
    <dgm:pt modelId="{36E648EC-D32B-449E-9167-67FC1B8DDF49}" type="parTrans" cxnId="{84E6D674-155B-4E0C-98FA-DD06EBDC25BA}">
      <dgm:prSet/>
      <dgm:spPr/>
      <dgm:t>
        <a:bodyPr/>
        <a:lstStyle/>
        <a:p>
          <a:endParaRPr lang="en-GB"/>
        </a:p>
      </dgm:t>
    </dgm:pt>
    <dgm:pt modelId="{46A33D61-164A-49AF-AE7D-CEFC1DBAB295}" type="sibTrans" cxnId="{84E6D674-155B-4E0C-98FA-DD06EBDC25BA}">
      <dgm:prSet/>
      <dgm:spPr/>
      <dgm:t>
        <a:bodyPr/>
        <a:lstStyle/>
        <a:p>
          <a:endParaRPr lang="en-GB"/>
        </a:p>
      </dgm:t>
    </dgm:pt>
    <dgm:pt modelId="{96260E3C-6263-485C-AAD5-4834D4569D00}">
      <dgm:prSet phldrT="[Text]" custT="1"/>
      <dgm:spPr>
        <a:solidFill>
          <a:srgbClr val="FC5B2F"/>
        </a:solidFill>
        <a:ln w="63500">
          <a:solidFill>
            <a:schemeClr val="bg1"/>
          </a:solidFill>
        </a:ln>
      </dgm:spPr>
      <dgm:t>
        <a:bodyPr/>
        <a:lstStyle/>
        <a:p>
          <a:r>
            <a:rPr lang="de-DE" sz="2000" b="1"/>
            <a:t>WIE VIEL?</a:t>
          </a:r>
          <a:endParaRPr lang="en-GB" sz="2000" b="1"/>
        </a:p>
      </dgm:t>
    </dgm:pt>
    <dgm:pt modelId="{2B5F8176-600B-448A-BAC4-07CC9809E5E1}" type="parTrans" cxnId="{F4407357-DA74-4905-8D57-999A75C49954}">
      <dgm:prSet/>
      <dgm:spPr/>
      <dgm:t>
        <a:bodyPr/>
        <a:lstStyle/>
        <a:p>
          <a:endParaRPr lang="en-GB"/>
        </a:p>
      </dgm:t>
    </dgm:pt>
    <dgm:pt modelId="{9118D841-7835-4425-89DF-5E2FF676BD2C}" type="sibTrans" cxnId="{F4407357-DA74-4905-8D57-999A75C49954}">
      <dgm:prSet/>
      <dgm:spPr/>
      <dgm:t>
        <a:bodyPr/>
        <a:lstStyle/>
        <a:p>
          <a:endParaRPr lang="en-GB"/>
        </a:p>
      </dgm:t>
    </dgm:pt>
    <dgm:pt modelId="{0A2167F3-4E3C-49E8-8F53-F429B724897B}">
      <dgm:prSet phldrT="[Text]" custT="1"/>
      <dgm:spPr>
        <a:solidFill>
          <a:srgbClr val="FEEAE8">
            <a:alpha val="90000"/>
          </a:srgbClr>
        </a:solidFill>
        <a:ln w="63500" cap="rnd">
          <a:solidFill>
            <a:schemeClr val="bg1"/>
          </a:solidFill>
          <a:round/>
        </a:ln>
      </dgm:spPr>
      <dgm:t>
        <a:bodyPr/>
        <a:lstStyle/>
        <a:p>
          <a:pPr rtl="0"/>
          <a:r>
            <a:rPr lang="de-DE" altLang="de-DE" sz="1200">
              <a:latin typeface="+mn-lt"/>
            </a:rPr>
            <a:t>40 % der gesamten Investitionskosten, 50 % für mittlere Unternehmen und 60% für kleine Unternehmen; je 20% weniger für Biomasse;  Zinsverbilligung von max. 0,5 Prozentpunkte; Max. 20 Mio. € pro Vorhaben</a:t>
          </a:r>
          <a:endParaRPr lang="en-GB" sz="1200">
            <a:latin typeface="+mn-lt"/>
          </a:endParaRPr>
        </a:p>
      </dgm:t>
    </dgm:pt>
    <dgm:pt modelId="{C31FCFD9-9839-42B9-909B-53DFE97C6A9D}" type="parTrans" cxnId="{92F75A5B-779F-4B6B-9DC9-466C31D92B4C}">
      <dgm:prSet/>
      <dgm:spPr/>
      <dgm:t>
        <a:bodyPr/>
        <a:lstStyle/>
        <a:p>
          <a:endParaRPr lang="en-GB"/>
        </a:p>
      </dgm:t>
    </dgm:pt>
    <dgm:pt modelId="{981FCCCA-D06E-451D-858E-6E6DE23A18B8}" type="sibTrans" cxnId="{92F75A5B-779F-4B6B-9DC9-466C31D92B4C}">
      <dgm:prSet/>
      <dgm:spPr/>
      <dgm:t>
        <a:bodyPr/>
        <a:lstStyle/>
        <a:p>
          <a:endParaRPr lang="en-GB"/>
        </a:p>
      </dgm:t>
    </dgm:pt>
    <dgm:pt modelId="{52BD68D0-EAE3-4487-ADC7-C30AD0C149E7}">
      <dgm:prSet phldrT="[Text]" custT="1"/>
      <dgm:spPr>
        <a:solidFill>
          <a:srgbClr val="FC5B2F"/>
        </a:solidFill>
        <a:ln w="63500">
          <a:solidFill>
            <a:schemeClr val="bg1"/>
          </a:solidFill>
        </a:ln>
      </dgm:spPr>
      <dgm:t>
        <a:bodyPr/>
        <a:lstStyle/>
        <a:p>
          <a:r>
            <a:rPr lang="de-DE" sz="2000" b="1"/>
            <a:t>WO?</a:t>
          </a:r>
          <a:endParaRPr lang="en-GB" sz="2000" b="1"/>
        </a:p>
      </dgm:t>
    </dgm:pt>
    <dgm:pt modelId="{BB9FE834-9348-4C65-ABF7-D62613A39635}" type="parTrans" cxnId="{F1270984-F461-4C12-ACC0-75C88A60C205}">
      <dgm:prSet/>
      <dgm:spPr/>
      <dgm:t>
        <a:bodyPr/>
        <a:lstStyle/>
        <a:p>
          <a:endParaRPr lang="en-GB"/>
        </a:p>
      </dgm:t>
    </dgm:pt>
    <dgm:pt modelId="{C8ED1CA2-595E-436E-B860-29E61D658492}" type="sibTrans" cxnId="{F1270984-F461-4C12-ACC0-75C88A60C205}">
      <dgm:prSet/>
      <dgm:spPr/>
      <dgm:t>
        <a:bodyPr/>
        <a:lstStyle/>
        <a:p>
          <a:endParaRPr lang="en-GB"/>
        </a:p>
      </dgm:t>
    </dgm:pt>
    <dgm:pt modelId="{52B98E0D-74B5-47F3-93A9-75219B6BCE70}">
      <dgm:prSet phldrT="[Text]" custT="1"/>
      <dgm:spPr>
        <a:solidFill>
          <a:srgbClr val="FC5B2F"/>
        </a:solidFill>
        <a:ln w="63500">
          <a:solidFill>
            <a:schemeClr val="bg1"/>
          </a:solidFill>
        </a:ln>
      </dgm:spPr>
      <dgm:t>
        <a:bodyPr/>
        <a:lstStyle/>
        <a:p>
          <a:r>
            <a:rPr lang="de-DE" sz="2000" b="1"/>
            <a:t>BIS WANN?</a:t>
          </a:r>
          <a:endParaRPr lang="en-GB" sz="2000" b="1"/>
        </a:p>
      </dgm:t>
    </dgm:pt>
    <dgm:pt modelId="{98C1EE2D-85CD-4DF7-BA31-B2037EADB0D7}" type="parTrans" cxnId="{954AB5ED-19D8-4B9F-9274-A07D3F0B86DC}">
      <dgm:prSet/>
      <dgm:spPr/>
      <dgm:t>
        <a:bodyPr/>
        <a:lstStyle/>
        <a:p>
          <a:endParaRPr lang="en-GB"/>
        </a:p>
      </dgm:t>
    </dgm:pt>
    <dgm:pt modelId="{CD1C99D8-452D-4FB0-BFC1-18CE9E5E8FC6}" type="sibTrans" cxnId="{954AB5ED-19D8-4B9F-9274-A07D3F0B86DC}">
      <dgm:prSet/>
      <dgm:spPr/>
      <dgm:t>
        <a:bodyPr/>
        <a:lstStyle/>
        <a:p>
          <a:endParaRPr lang="en-GB"/>
        </a:p>
      </dgm:t>
    </dgm:pt>
    <dgm:pt modelId="{9769D350-8FE4-4236-B37A-51F281FB0440}">
      <dgm:prSet phldrT="[Text]" custT="1"/>
      <dgm:spPr>
        <a:solidFill>
          <a:srgbClr val="FEEAE8">
            <a:alpha val="90000"/>
          </a:srgbClr>
        </a:solidFill>
        <a:ln w="63500" cap="rnd">
          <a:solidFill>
            <a:schemeClr val="bg1">
              <a:alpha val="90000"/>
            </a:schemeClr>
          </a:solidFill>
          <a:round/>
        </a:ln>
      </dgm:spPr>
      <dgm:t>
        <a:bodyPr/>
        <a:lstStyle/>
        <a:p>
          <a:pPr marL="0" indent="0">
            <a:buNone/>
          </a:pPr>
          <a:r>
            <a:rPr lang="en-GB" altLang="de-DE" sz="1200">
              <a:solidFill>
                <a:schemeClr val="tx1"/>
              </a:solidFill>
              <a:latin typeface="+mn-lt"/>
              <a:hlinkClick xmlns:r="http://schemas.openxmlformats.org/officeDocument/2006/relationships" r:id="rId1">
                <a:extLst>
                  <a:ext uri="{A12FA001-AC4F-418D-AE19-62706E023703}">
                    <ahyp:hlinkClr xmlns:ahyp="http://schemas.microsoft.com/office/drawing/2018/hyperlinkcolor" val="tx"/>
                  </a:ext>
                </a:extLst>
              </a:hlinkClick>
            </a:rPr>
            <a:t>https://www.bafa.de/DE/Energie/Energieeffizienz/Energieeffizienz_und_Prozesswaerme/Modul2_Prozesswaerme/modul2_prozesswaerme_node.html</a:t>
          </a:r>
          <a:endParaRPr lang="en-GB" sz="1200">
            <a:solidFill>
              <a:schemeClr val="tx1"/>
            </a:solidFill>
            <a:latin typeface="+mn-lt"/>
          </a:endParaRPr>
        </a:p>
      </dgm:t>
    </dgm:pt>
    <dgm:pt modelId="{B162A309-DDB3-4E45-92DD-CDBE1CC908D1}" type="parTrans" cxnId="{2B5F364B-9F67-4EFD-A893-5ED40B6C87FC}">
      <dgm:prSet/>
      <dgm:spPr/>
      <dgm:t>
        <a:bodyPr/>
        <a:lstStyle/>
        <a:p>
          <a:endParaRPr lang="en-GB"/>
        </a:p>
      </dgm:t>
    </dgm:pt>
    <dgm:pt modelId="{E3E4F325-38EC-4BAF-80AB-9E71F04CCABD}" type="sibTrans" cxnId="{2B5F364B-9F67-4EFD-A893-5ED40B6C87FC}">
      <dgm:prSet/>
      <dgm:spPr/>
      <dgm:t>
        <a:bodyPr/>
        <a:lstStyle/>
        <a:p>
          <a:endParaRPr lang="en-GB"/>
        </a:p>
      </dgm:t>
    </dgm:pt>
    <dgm:pt modelId="{0304314D-5BF1-42A8-BE34-2A2F0E95F676}">
      <dgm:prSet phldrT="[Text]" custT="1"/>
      <dgm:spPr>
        <a:solidFill>
          <a:srgbClr val="FEEAE8">
            <a:alpha val="90000"/>
          </a:srgbClr>
        </a:solidFill>
        <a:ln w="63500" cap="rnd">
          <a:solidFill>
            <a:schemeClr val="bg1"/>
          </a:solidFill>
          <a:round/>
        </a:ln>
      </dgm:spPr>
      <dgm:t>
        <a:bodyPr/>
        <a:lstStyle/>
        <a:p>
          <a:pPr>
            <a:buNone/>
          </a:pPr>
          <a:r>
            <a:rPr lang="en-GB" sz="1200" strike="noStrike">
              <a:latin typeface="+mn-lt"/>
            </a:rPr>
            <a:t>31.12.2028</a:t>
          </a:r>
          <a:endParaRPr lang="en-GB" sz="1200" strike="sngStrike">
            <a:highlight>
              <a:srgbClr val="FFFF00"/>
            </a:highlight>
            <a:latin typeface="+mn-lt"/>
          </a:endParaRPr>
        </a:p>
      </dgm:t>
    </dgm:pt>
    <dgm:pt modelId="{804FF43D-A32E-451E-A676-9BB53C66ECED}" type="parTrans" cxnId="{4C02BB6C-62E0-4B38-BABC-C6745075E7FB}">
      <dgm:prSet/>
      <dgm:spPr/>
      <dgm:t>
        <a:bodyPr/>
        <a:lstStyle/>
        <a:p>
          <a:endParaRPr lang="en-GB"/>
        </a:p>
      </dgm:t>
    </dgm:pt>
    <dgm:pt modelId="{45B9690B-B485-4BD2-A80E-FBB267D431B6}" type="sibTrans" cxnId="{4C02BB6C-62E0-4B38-BABC-C6745075E7FB}">
      <dgm:prSet/>
      <dgm:spPr/>
      <dgm:t>
        <a:bodyPr/>
        <a:lstStyle/>
        <a:p>
          <a:endParaRPr lang="en-GB"/>
        </a:p>
      </dgm:t>
    </dgm:pt>
    <dgm:pt modelId="{5B68FBBB-097B-4FC1-AC52-7BCB9A82E434}">
      <dgm:prSet phldrT="[Text]" custT="1"/>
      <dgm:spPr>
        <a:solidFill>
          <a:srgbClr val="FEEAE8">
            <a:alpha val="90000"/>
          </a:srgbClr>
        </a:solidFill>
        <a:ln w="63500" cap="rnd">
          <a:solidFill>
            <a:schemeClr val="bg1"/>
          </a:solidFill>
          <a:round/>
        </a:ln>
      </dgm:spPr>
      <dgm:t>
        <a:bodyPr/>
        <a:lstStyle/>
        <a:p>
          <a:pPr>
            <a:buFont typeface="Arial" panose="020B0604020202020204" pitchFamily="34" charset="0"/>
            <a:buChar char="•"/>
          </a:pPr>
          <a:r>
            <a:rPr lang="en-GB" altLang="de-DE" sz="1200">
              <a:solidFill>
                <a:srgbClr val="000000"/>
              </a:solidFill>
              <a:latin typeface="+mn-lt"/>
              <a:cs typeface="Arial"/>
            </a:rPr>
            <a:t>Private </a:t>
          </a:r>
          <a:r>
            <a:rPr lang="en-GB" altLang="de-DE" sz="1200" err="1">
              <a:solidFill>
                <a:srgbClr val="000000"/>
              </a:solidFill>
              <a:latin typeface="+mn-lt"/>
              <a:cs typeface="Arial"/>
            </a:rPr>
            <a:t>Unternehmen</a:t>
          </a:r>
          <a:endParaRPr lang="en-GB" sz="1200">
            <a:latin typeface="+mn-lt"/>
            <a:cs typeface="Arial"/>
          </a:endParaRPr>
        </a:p>
      </dgm:t>
    </dgm:pt>
    <dgm:pt modelId="{659E152D-55D2-44AD-AE67-588F8779BF6F}" type="parTrans" cxnId="{CED7E969-D16B-49AC-9025-0639DE7A44EA}">
      <dgm:prSet/>
      <dgm:spPr/>
      <dgm:t>
        <a:bodyPr/>
        <a:lstStyle/>
        <a:p>
          <a:endParaRPr lang="en-GB"/>
        </a:p>
      </dgm:t>
    </dgm:pt>
    <dgm:pt modelId="{2DEC8DEC-3F82-4CCC-A411-7762AAC03FEB}" type="sibTrans" cxnId="{CED7E969-D16B-49AC-9025-0639DE7A44EA}">
      <dgm:prSet/>
      <dgm:spPr/>
      <dgm:t>
        <a:bodyPr/>
        <a:lstStyle/>
        <a:p>
          <a:endParaRPr lang="en-GB"/>
        </a:p>
      </dgm:t>
    </dgm:pt>
    <dgm:pt modelId="{0B0E29F8-58DA-4B85-A037-33270222EDB5}">
      <dgm:prSet phldrT="[Text]" custT="1"/>
      <dgm:spPr>
        <a:solidFill>
          <a:srgbClr val="FEEAE8">
            <a:alpha val="90000"/>
          </a:srgbClr>
        </a:solidFill>
        <a:ln w="63500" cap="rnd" cmpd="sng">
          <a:solidFill>
            <a:schemeClr val="bg1"/>
          </a:solidFill>
          <a:round/>
        </a:ln>
      </dgm:spPr>
      <dgm:t>
        <a:bodyPr/>
        <a:lstStyle/>
        <a:p>
          <a:r>
            <a:rPr lang="en-GB" altLang="de-DE" sz="1200" b="0" err="1">
              <a:solidFill>
                <a:srgbClr val="000000"/>
              </a:solidFill>
              <a:cs typeface="Arial" panose="020B0604020202020204" pitchFamily="34" charset="0"/>
            </a:rPr>
            <a:t>Solarkollektoranlagen</a:t>
          </a:r>
          <a:endParaRPr lang="en-GB" sz="1200" b="0">
            <a:ln>
              <a:noFill/>
            </a:ln>
            <a:latin typeface="+mn-lt"/>
          </a:endParaRPr>
        </a:p>
      </dgm:t>
    </dgm:pt>
    <dgm:pt modelId="{B3303F4A-0797-479A-ADE6-B072AA2FE5D1}" type="sibTrans" cxnId="{8DB13611-D17D-4779-84EF-763DF9E3547C}">
      <dgm:prSet/>
      <dgm:spPr/>
      <dgm:t>
        <a:bodyPr/>
        <a:lstStyle/>
        <a:p>
          <a:endParaRPr lang="en-GB"/>
        </a:p>
      </dgm:t>
    </dgm:pt>
    <dgm:pt modelId="{6932F5EC-2FFE-483B-A29C-A66067ED0F62}" type="parTrans" cxnId="{8DB13611-D17D-4779-84EF-763DF9E3547C}">
      <dgm:prSet/>
      <dgm:spPr/>
      <dgm:t>
        <a:bodyPr/>
        <a:lstStyle/>
        <a:p>
          <a:endParaRPr lang="en-GB"/>
        </a:p>
      </dgm:t>
    </dgm:pt>
    <dgm:pt modelId="{B535A52B-C258-44C1-9035-ADC79AAC6E22}">
      <dgm:prSet custT="1"/>
      <dgm:spPr/>
      <dgm:t>
        <a:bodyPr/>
        <a:lstStyle/>
        <a:p>
          <a:pPr>
            <a:buFont typeface="Arial" panose="020B0604020202020204" pitchFamily="34" charset="0"/>
            <a:buChar char="•"/>
          </a:pPr>
          <a:r>
            <a:rPr lang="en-GB" altLang="de-DE" sz="1200" err="1">
              <a:solidFill>
                <a:srgbClr val="000000"/>
              </a:solidFill>
              <a:latin typeface="+mn-lt"/>
              <a:cs typeface="Arial"/>
            </a:rPr>
            <a:t>Contractoren</a:t>
          </a:r>
          <a:r>
            <a:rPr lang="en-GB" altLang="de-DE" sz="1200">
              <a:solidFill>
                <a:srgbClr val="000000"/>
              </a:solidFill>
              <a:latin typeface="+mn-lt"/>
              <a:cs typeface="Arial"/>
            </a:rPr>
            <a:t> </a:t>
          </a:r>
          <a:r>
            <a:rPr lang="en-GB" altLang="de-DE" sz="1200" strike="noStrike" err="1">
              <a:solidFill>
                <a:srgbClr val="000000"/>
              </a:solidFill>
              <a:latin typeface="+mn-lt"/>
              <a:cs typeface="Arial"/>
            </a:rPr>
            <a:t>im</a:t>
          </a:r>
          <a:r>
            <a:rPr lang="en-GB" altLang="de-DE" sz="1200" strike="noStrike">
              <a:solidFill>
                <a:srgbClr val="000000"/>
              </a:solidFill>
              <a:latin typeface="+mn-lt"/>
              <a:cs typeface="Arial"/>
            </a:rPr>
            <a:t> </a:t>
          </a:r>
          <a:r>
            <a:rPr lang="en-GB" altLang="de-DE" sz="1200" strike="noStrike" err="1">
              <a:solidFill>
                <a:srgbClr val="000000"/>
              </a:solidFill>
              <a:latin typeface="+mn-lt"/>
              <a:cs typeface="Arial"/>
            </a:rPr>
            <a:t>Auftrag</a:t>
          </a:r>
          <a:r>
            <a:rPr lang="en-GB" altLang="de-DE" sz="1200" strike="noStrike">
              <a:solidFill>
                <a:srgbClr val="000000"/>
              </a:solidFill>
              <a:latin typeface="+mn-lt"/>
              <a:cs typeface="Arial"/>
            </a:rPr>
            <a:t> von </a:t>
          </a:r>
          <a:r>
            <a:rPr lang="en-GB" altLang="de-DE" sz="1200" strike="noStrike" err="1">
              <a:solidFill>
                <a:srgbClr val="000000"/>
              </a:solidFill>
              <a:latin typeface="+mn-lt"/>
              <a:cs typeface="Arial"/>
            </a:rPr>
            <a:t>antragsberechtigten</a:t>
          </a:r>
          <a:r>
            <a:rPr lang="en-GB" altLang="de-DE" sz="1200" strike="noStrike">
              <a:solidFill>
                <a:srgbClr val="000000"/>
              </a:solidFill>
              <a:latin typeface="+mn-lt"/>
              <a:cs typeface="Arial"/>
            </a:rPr>
            <a:t> </a:t>
          </a:r>
          <a:r>
            <a:rPr lang="en-GB" altLang="de-DE" sz="1200" strike="noStrike" err="1">
              <a:solidFill>
                <a:srgbClr val="000000"/>
              </a:solidFill>
              <a:latin typeface="+mn-lt"/>
              <a:cs typeface="Arial"/>
            </a:rPr>
            <a:t>Unternehmen</a:t>
          </a:r>
          <a:endParaRPr lang="en-GB" altLang="de-DE" sz="1200">
            <a:solidFill>
              <a:srgbClr val="000000"/>
            </a:solidFill>
            <a:latin typeface="+mn-lt"/>
            <a:cs typeface="Arial"/>
          </a:endParaRPr>
        </a:p>
      </dgm:t>
    </dgm:pt>
    <dgm:pt modelId="{78012BCF-69C4-449C-AEC3-B0589F8833DB}" type="parTrans" cxnId="{39D9E0FD-F017-45EA-BAFB-FDC63B73E39A}">
      <dgm:prSet/>
      <dgm:spPr/>
      <dgm:t>
        <a:bodyPr/>
        <a:lstStyle/>
        <a:p>
          <a:endParaRPr lang="en-GB"/>
        </a:p>
      </dgm:t>
    </dgm:pt>
    <dgm:pt modelId="{54675BED-98AD-47D3-B7E7-149A294E27B8}" type="sibTrans" cxnId="{39D9E0FD-F017-45EA-BAFB-FDC63B73E39A}">
      <dgm:prSet/>
      <dgm:spPr/>
      <dgm:t>
        <a:bodyPr/>
        <a:lstStyle/>
        <a:p>
          <a:endParaRPr lang="en-GB"/>
        </a:p>
      </dgm:t>
    </dgm:pt>
    <dgm:pt modelId="{53D35704-AA77-43C7-93BA-C55D54BFD48F}">
      <dgm:prSet custT="1"/>
      <dgm:spPr/>
      <dgm:t>
        <a:bodyPr/>
        <a:lstStyle/>
        <a:p>
          <a:pPr>
            <a:buFont typeface="Arial" panose="020B0604020202020204" pitchFamily="34" charset="0"/>
            <a:buChar char="•"/>
          </a:pPr>
          <a:r>
            <a:rPr lang="en-GB" altLang="de-DE" sz="1200" err="1">
              <a:solidFill>
                <a:srgbClr val="000000"/>
              </a:solidFill>
              <a:latin typeface="+mn-lt"/>
              <a:cs typeface="Arial"/>
            </a:rPr>
            <a:t>Kommunale</a:t>
          </a:r>
          <a:r>
            <a:rPr lang="en-GB" altLang="de-DE" sz="1200">
              <a:solidFill>
                <a:srgbClr val="000000"/>
              </a:solidFill>
              <a:latin typeface="+mn-lt"/>
              <a:cs typeface="Arial"/>
            </a:rPr>
            <a:t> </a:t>
          </a:r>
          <a:r>
            <a:rPr lang="en-GB" altLang="de-DE" sz="1200" err="1">
              <a:solidFill>
                <a:srgbClr val="000000"/>
              </a:solidFill>
              <a:latin typeface="+mn-lt"/>
              <a:cs typeface="Arial"/>
            </a:rPr>
            <a:t>Unternehmen</a:t>
          </a:r>
          <a:r>
            <a:rPr lang="en-GB" altLang="de-DE" sz="1200">
              <a:solidFill>
                <a:srgbClr val="000000"/>
              </a:solidFill>
              <a:latin typeface="+mn-lt"/>
              <a:cs typeface="Arial"/>
            </a:rPr>
            <a:t>, </a:t>
          </a:r>
          <a:r>
            <a:rPr lang="en-GB" altLang="de-DE" sz="1200" err="1">
              <a:solidFill>
                <a:srgbClr val="000000"/>
              </a:solidFill>
              <a:latin typeface="+mn-lt"/>
              <a:cs typeface="Arial"/>
            </a:rPr>
            <a:t>Landesunternehmen</a:t>
          </a:r>
          <a:endParaRPr lang="en-GB" altLang="de-DE" sz="1200">
            <a:solidFill>
              <a:srgbClr val="000000"/>
            </a:solidFill>
            <a:latin typeface="+mn-lt"/>
            <a:cs typeface="Arial"/>
          </a:endParaRPr>
        </a:p>
      </dgm:t>
    </dgm:pt>
    <dgm:pt modelId="{427C2995-2556-43AA-B0EF-512FE5FC5083}" type="parTrans" cxnId="{5B457D9E-C6C5-4F76-B2F2-AC610A549790}">
      <dgm:prSet/>
      <dgm:spPr/>
      <dgm:t>
        <a:bodyPr/>
        <a:lstStyle/>
        <a:p>
          <a:endParaRPr lang="en-GB"/>
        </a:p>
      </dgm:t>
    </dgm:pt>
    <dgm:pt modelId="{8C790BC4-E7EC-4FA4-BCBD-B52E608EC6A6}" type="sibTrans" cxnId="{5B457D9E-C6C5-4F76-B2F2-AC610A549790}">
      <dgm:prSet/>
      <dgm:spPr/>
      <dgm:t>
        <a:bodyPr/>
        <a:lstStyle/>
        <a:p>
          <a:endParaRPr lang="en-GB"/>
        </a:p>
      </dgm:t>
    </dgm:pt>
    <dgm:pt modelId="{994FB6D0-412D-4523-A5F8-A61894B174BF}">
      <dgm:prSet custT="1"/>
      <dgm:spPr/>
      <dgm:t>
        <a:bodyPr/>
        <a:lstStyle/>
        <a:p>
          <a:pPr>
            <a:buFont typeface="Arial" panose="020B0604020202020204" pitchFamily="34" charset="0"/>
            <a:buChar char="•"/>
          </a:pPr>
          <a:r>
            <a:rPr lang="en-GB" altLang="de-DE" sz="1200" err="1">
              <a:solidFill>
                <a:srgbClr val="000000"/>
              </a:solidFill>
              <a:latin typeface="+mn-lt"/>
              <a:cs typeface="Arial"/>
            </a:rPr>
            <a:t>Freiberuflich</a:t>
          </a:r>
          <a:r>
            <a:rPr lang="en-GB" altLang="de-DE" sz="1200">
              <a:solidFill>
                <a:srgbClr val="000000"/>
              </a:solidFill>
              <a:latin typeface="+mn-lt"/>
              <a:cs typeface="Arial"/>
            </a:rPr>
            <a:t> Tätige</a:t>
          </a:r>
        </a:p>
      </dgm:t>
    </dgm:pt>
    <dgm:pt modelId="{C2F928F1-34AA-4D50-91B7-E70F0C08199B}" type="parTrans" cxnId="{7A4F9AB6-5D3E-4574-8766-5BF9C3B98674}">
      <dgm:prSet/>
      <dgm:spPr/>
      <dgm:t>
        <a:bodyPr/>
        <a:lstStyle/>
        <a:p>
          <a:endParaRPr lang="en-GB"/>
        </a:p>
      </dgm:t>
    </dgm:pt>
    <dgm:pt modelId="{538EE255-B60A-4CCA-AB1C-6E1F4F0D3DC4}" type="sibTrans" cxnId="{7A4F9AB6-5D3E-4574-8766-5BF9C3B98674}">
      <dgm:prSet/>
      <dgm:spPr/>
      <dgm:t>
        <a:bodyPr/>
        <a:lstStyle/>
        <a:p>
          <a:endParaRPr lang="en-GB"/>
        </a:p>
      </dgm:t>
    </dgm:pt>
    <dgm:pt modelId="{347D681E-3A8B-4170-8587-6CE9B61EFF06}">
      <dgm:prSet custT="1"/>
      <dgm:spPr/>
      <dgm:t>
        <a:bodyPr/>
        <a:lstStyle/>
        <a:p>
          <a:r>
            <a:rPr lang="de-DE" altLang="de-DE" sz="1200" b="0">
              <a:solidFill>
                <a:srgbClr val="000000"/>
              </a:solidFill>
              <a:cs typeface="Arial"/>
            </a:rPr>
            <a:t>Biomasse-Anlagen (Einschränkungen bei den zulässigen Brennstoffen beachten; Förderquoten 20/30/40%)</a:t>
          </a:r>
          <a:endParaRPr lang="en-GB" altLang="de-DE" sz="1200" b="0">
            <a:solidFill>
              <a:srgbClr val="000000"/>
            </a:solidFill>
            <a:cs typeface="Arial"/>
          </a:endParaRPr>
        </a:p>
      </dgm:t>
    </dgm:pt>
    <dgm:pt modelId="{002405A3-7104-430C-A7D7-E68A39BFCC7B}" type="parTrans" cxnId="{D9141175-77AA-47BE-A6EF-C8B66D4D79AD}">
      <dgm:prSet/>
      <dgm:spPr/>
      <dgm:t>
        <a:bodyPr/>
        <a:lstStyle/>
        <a:p>
          <a:endParaRPr lang="en-GB"/>
        </a:p>
      </dgm:t>
    </dgm:pt>
    <dgm:pt modelId="{CB49F6F1-CC53-48F2-9A59-EB9D49DA8AA8}" type="sibTrans" cxnId="{D9141175-77AA-47BE-A6EF-C8B66D4D79AD}">
      <dgm:prSet/>
      <dgm:spPr/>
      <dgm:t>
        <a:bodyPr/>
        <a:lstStyle/>
        <a:p>
          <a:endParaRPr lang="en-GB"/>
        </a:p>
      </dgm:t>
    </dgm:pt>
    <dgm:pt modelId="{1CFCC421-550F-4AFE-906D-BB5ADFC56999}">
      <dgm:prSet custT="1"/>
      <dgm:spPr/>
      <dgm:t>
        <a:bodyPr/>
        <a:lstStyle/>
        <a:p>
          <a:pPr rtl="0"/>
          <a:r>
            <a:rPr lang="en-GB" altLang="de-DE" sz="1200" b="0" strike="noStrike" err="1">
              <a:solidFill>
                <a:srgbClr val="000000"/>
              </a:solidFill>
              <a:cs typeface="Arial"/>
            </a:rPr>
            <a:t>Wärmepumpen</a:t>
          </a:r>
          <a:r>
            <a:rPr lang="en-GB" altLang="de-DE" sz="1200" b="0" strike="noStrike">
              <a:solidFill>
                <a:srgbClr val="000000"/>
              </a:solidFill>
              <a:cs typeface="Arial"/>
            </a:rPr>
            <a:t> (</a:t>
          </a:r>
          <a:r>
            <a:rPr lang="en-GB" altLang="de-DE" sz="1200" b="0" strike="noStrike" err="1">
              <a:solidFill>
                <a:srgbClr val="000000"/>
              </a:solidFill>
              <a:cs typeface="Arial"/>
            </a:rPr>
            <a:t>ausschließlich</a:t>
          </a:r>
          <a:r>
            <a:rPr lang="en-GB" altLang="de-DE" sz="1200" b="0" strike="noStrike">
              <a:solidFill>
                <a:srgbClr val="000000"/>
              </a:solidFill>
              <a:cs typeface="Arial"/>
            </a:rPr>
            <a:t> </a:t>
          </a:r>
          <a:r>
            <a:rPr lang="en-GB" altLang="de-DE" sz="1200" b="0" strike="noStrike" err="1">
              <a:solidFill>
                <a:srgbClr val="000000"/>
              </a:solidFill>
              <a:cs typeface="Arial"/>
            </a:rPr>
            <a:t>mit</a:t>
          </a:r>
          <a:r>
            <a:rPr lang="en-GB" altLang="de-DE" sz="1200" b="0" strike="noStrike">
              <a:solidFill>
                <a:srgbClr val="000000"/>
              </a:solidFill>
              <a:cs typeface="Arial"/>
            </a:rPr>
            <a:t> EE-Strom </a:t>
          </a:r>
          <a:r>
            <a:rPr lang="en-GB" altLang="de-DE" sz="1200" b="0" strike="noStrike" err="1">
              <a:solidFill>
                <a:srgbClr val="000000"/>
              </a:solidFill>
              <a:cs typeface="Arial"/>
            </a:rPr>
            <a:t>betrieben</a:t>
          </a:r>
          <a:r>
            <a:rPr lang="en-GB" altLang="de-DE" sz="1200" b="0" strike="noStrike">
              <a:solidFill>
                <a:srgbClr val="000000"/>
              </a:solidFill>
              <a:cs typeface="Arial"/>
            </a:rPr>
            <a:t>, </a:t>
          </a:r>
          <a:r>
            <a:rPr lang="en-GB" altLang="de-DE" sz="1200" b="0" strike="noStrike" err="1">
              <a:solidFill>
                <a:srgbClr val="000000"/>
              </a:solidFill>
              <a:cs typeface="Arial"/>
            </a:rPr>
            <a:t>nur</a:t>
          </a:r>
          <a:r>
            <a:rPr lang="en-GB" altLang="de-DE" sz="1200" b="0" strike="noStrike">
              <a:solidFill>
                <a:srgbClr val="000000"/>
              </a:solidFill>
              <a:cs typeface="Arial"/>
            </a:rPr>
            <a:t> bis </a:t>
          </a:r>
          <a:r>
            <a:rPr lang="en-GB" altLang="de-DE" sz="1200" b="0" strike="noStrike" err="1">
              <a:solidFill>
                <a:srgbClr val="000000"/>
              </a:solidFill>
              <a:cs typeface="Arial"/>
            </a:rPr>
            <a:t>zu</a:t>
          </a:r>
          <a:r>
            <a:rPr lang="en-GB" altLang="de-DE" sz="1200" b="0" strike="noStrike">
              <a:solidFill>
                <a:srgbClr val="000000"/>
              </a:solidFill>
              <a:cs typeface="Arial"/>
            </a:rPr>
            <a:t> 50% </a:t>
          </a:r>
          <a:r>
            <a:rPr lang="en-GB" altLang="de-DE" sz="1200" b="0" strike="noStrike" err="1">
              <a:solidFill>
                <a:srgbClr val="000000"/>
              </a:solidFill>
              <a:cs typeface="Arial"/>
            </a:rPr>
            <a:t>Abwärme</a:t>
          </a:r>
          <a:r>
            <a:rPr lang="en-GB" altLang="de-DE" sz="1200" b="0" strike="noStrike">
              <a:solidFill>
                <a:srgbClr val="000000"/>
              </a:solidFill>
              <a:cs typeface="Arial"/>
            </a:rPr>
            <a:t> </a:t>
          </a:r>
          <a:r>
            <a:rPr lang="en-GB" altLang="de-DE" sz="1200" b="0" strike="noStrike" err="1">
              <a:solidFill>
                <a:srgbClr val="000000"/>
              </a:solidFill>
              <a:cs typeface="Arial"/>
            </a:rPr>
            <a:t>als</a:t>
          </a:r>
          <a:r>
            <a:rPr lang="en-GB" altLang="de-DE" sz="1200" b="0" strike="noStrike">
              <a:solidFill>
                <a:srgbClr val="000000"/>
              </a:solidFill>
              <a:cs typeface="Arial"/>
            </a:rPr>
            <a:t> </a:t>
          </a:r>
          <a:r>
            <a:rPr lang="en-GB" altLang="de-DE" sz="1200" b="0" strike="noStrike" err="1">
              <a:solidFill>
                <a:srgbClr val="000000"/>
              </a:solidFill>
              <a:cs typeface="Arial"/>
            </a:rPr>
            <a:t>Prozesswärme</a:t>
          </a:r>
          <a:r>
            <a:rPr lang="en-GB" altLang="de-DE" sz="1200" b="0" strike="noStrike">
              <a:solidFill>
                <a:srgbClr val="000000"/>
              </a:solidFill>
              <a:cs typeface="Arial"/>
            </a:rPr>
            <a:t> </a:t>
          </a:r>
          <a:r>
            <a:rPr lang="en-GB" altLang="de-DE" sz="1200" b="0" strike="noStrike" err="1">
              <a:solidFill>
                <a:srgbClr val="000000"/>
              </a:solidFill>
              <a:cs typeface="Arial"/>
            </a:rPr>
            <a:t>nutzbar</a:t>
          </a:r>
          <a:r>
            <a:rPr lang="en-GB" altLang="de-DE" sz="1200" b="0" strike="noStrike">
              <a:solidFill>
                <a:srgbClr val="000000"/>
              </a:solidFill>
              <a:latin typeface="Segoe UI"/>
              <a:cs typeface="Arial"/>
            </a:rPr>
            <a:t>) </a:t>
          </a:r>
        </a:p>
      </dgm:t>
    </dgm:pt>
    <dgm:pt modelId="{7E99B9DC-2BF5-4EC9-954A-17C827AEDF11}" type="parTrans" cxnId="{14DF5139-4E73-47B0-A0D4-3A12ACFAA470}">
      <dgm:prSet/>
      <dgm:spPr/>
      <dgm:t>
        <a:bodyPr/>
        <a:lstStyle/>
        <a:p>
          <a:endParaRPr lang="en-GB"/>
        </a:p>
      </dgm:t>
    </dgm:pt>
    <dgm:pt modelId="{B3673173-12F3-4BD3-B5DD-0F96ECFAC2EA}" type="sibTrans" cxnId="{14DF5139-4E73-47B0-A0D4-3A12ACFAA470}">
      <dgm:prSet/>
      <dgm:spPr/>
      <dgm:t>
        <a:bodyPr/>
        <a:lstStyle/>
        <a:p>
          <a:endParaRPr lang="en-GB"/>
        </a:p>
      </dgm:t>
    </dgm:pt>
    <dgm:pt modelId="{2F66780B-2C14-4C8E-8BE0-2F7DB956054B}">
      <dgm:prSet custT="1"/>
      <dgm:spPr/>
      <dgm:t>
        <a:bodyPr/>
        <a:lstStyle/>
        <a:p>
          <a:r>
            <a:rPr lang="en-GB" altLang="de-DE" sz="1200" b="0" err="1">
              <a:solidFill>
                <a:srgbClr val="000000"/>
              </a:solidFill>
              <a:cs typeface="Arial"/>
            </a:rPr>
            <a:t>Einbindungs</a:t>
          </a:r>
          <a:r>
            <a:rPr lang="en-GB" altLang="de-DE" sz="1200" b="0">
              <a:solidFill>
                <a:srgbClr val="000000"/>
              </a:solidFill>
              <a:cs typeface="Arial"/>
            </a:rPr>
            <a:t>-, </a:t>
          </a:r>
          <a:r>
            <a:rPr lang="en-GB" altLang="de-DE" sz="1200" b="0" err="1">
              <a:solidFill>
                <a:srgbClr val="000000"/>
              </a:solidFill>
              <a:cs typeface="Arial"/>
            </a:rPr>
            <a:t>Ertragsüberwachungs</a:t>
          </a:r>
          <a:r>
            <a:rPr lang="en-GB" altLang="de-DE" sz="1200" b="0">
              <a:solidFill>
                <a:srgbClr val="000000"/>
              </a:solidFill>
              <a:cs typeface="Arial"/>
            </a:rPr>
            <a:t>- und </a:t>
          </a:r>
          <a:r>
            <a:rPr lang="en-GB" altLang="de-DE" sz="1200" b="0" err="1">
              <a:solidFill>
                <a:srgbClr val="000000"/>
              </a:solidFill>
              <a:cs typeface="Arial"/>
            </a:rPr>
            <a:t>Fehlererkennungskosten</a:t>
          </a:r>
          <a:endParaRPr lang="en-GB" altLang="de-DE" sz="1200" b="0">
            <a:solidFill>
              <a:srgbClr val="000000"/>
            </a:solidFill>
            <a:cs typeface="Arial"/>
          </a:endParaRPr>
        </a:p>
      </dgm:t>
    </dgm:pt>
    <dgm:pt modelId="{3A63D119-6F05-4039-BF5E-5C480328763B}" type="parTrans" cxnId="{AADDC393-6CC9-4BAC-AF9F-E5434773093B}">
      <dgm:prSet/>
      <dgm:spPr/>
      <dgm:t>
        <a:bodyPr/>
        <a:lstStyle/>
        <a:p>
          <a:endParaRPr lang="en-GB"/>
        </a:p>
      </dgm:t>
    </dgm:pt>
    <dgm:pt modelId="{9C5B8FC5-2070-4994-A8B5-8AC363900C30}" type="sibTrans" cxnId="{AADDC393-6CC9-4BAC-AF9F-E5434773093B}">
      <dgm:prSet/>
      <dgm:spPr/>
      <dgm:t>
        <a:bodyPr/>
        <a:lstStyle/>
        <a:p>
          <a:endParaRPr lang="en-GB"/>
        </a:p>
      </dgm:t>
    </dgm:pt>
    <dgm:pt modelId="{3418FF94-22B3-4690-A1BC-0FA73AECD0AF}">
      <dgm:prSet custT="1"/>
      <dgm:spPr/>
      <dgm:t>
        <a:bodyPr/>
        <a:lstStyle/>
        <a:p>
          <a:r>
            <a:rPr lang="de-DE" altLang="de-DE" sz="1200">
              <a:latin typeface="+mn-lt"/>
            </a:rPr>
            <a:t>Beihilferechtliche Vorgaben: Art. 41 AGVO</a:t>
          </a:r>
          <a:endParaRPr lang="en-GB" altLang="de-DE" sz="1200">
            <a:latin typeface="+mn-lt"/>
          </a:endParaRPr>
        </a:p>
      </dgm:t>
    </dgm:pt>
    <dgm:pt modelId="{5641E373-371A-4614-A328-0FB167F347E6}" type="parTrans" cxnId="{BAA9AB0D-8B35-4C4D-9BAE-54904B7CD23E}">
      <dgm:prSet/>
      <dgm:spPr/>
      <dgm:t>
        <a:bodyPr/>
        <a:lstStyle/>
        <a:p>
          <a:endParaRPr lang="en-GB"/>
        </a:p>
      </dgm:t>
    </dgm:pt>
    <dgm:pt modelId="{A7B1B7E0-E0EF-445F-A6E2-CAC0CF59D1CD}" type="sibTrans" cxnId="{BAA9AB0D-8B35-4C4D-9BAE-54904B7CD23E}">
      <dgm:prSet/>
      <dgm:spPr/>
      <dgm:t>
        <a:bodyPr/>
        <a:lstStyle/>
        <a:p>
          <a:endParaRPr lang="en-GB"/>
        </a:p>
      </dgm:t>
    </dgm:pt>
    <dgm:pt modelId="{E48DCFC4-2F3F-4C44-BBBD-9B2D5AE1556E}">
      <dgm:prSet custT="1"/>
      <dgm:spPr/>
      <dgm:t>
        <a:bodyPr/>
        <a:lstStyle/>
        <a:p>
          <a:r>
            <a:rPr lang="en-GB" altLang="de-DE" sz="1200" b="0" err="1">
              <a:solidFill>
                <a:srgbClr val="000000"/>
              </a:solidFill>
              <a:cs typeface="Arial"/>
            </a:rPr>
            <a:t>Oberflächennahe</a:t>
          </a:r>
          <a:r>
            <a:rPr lang="en-GB" altLang="de-DE" sz="1200" b="0">
              <a:solidFill>
                <a:srgbClr val="000000"/>
              </a:solidFill>
              <a:cs typeface="Arial"/>
            </a:rPr>
            <a:t> und </a:t>
          </a:r>
          <a:r>
            <a:rPr lang="en-GB" altLang="de-DE" sz="1200" b="0" err="1">
              <a:solidFill>
                <a:srgbClr val="000000"/>
              </a:solidFill>
              <a:cs typeface="Arial"/>
            </a:rPr>
            <a:t>tiefe</a:t>
          </a:r>
          <a:r>
            <a:rPr lang="en-GB" altLang="de-DE" sz="1200" b="0">
              <a:solidFill>
                <a:srgbClr val="000000"/>
              </a:solidFill>
              <a:cs typeface="Arial"/>
            </a:rPr>
            <a:t> </a:t>
          </a:r>
          <a:r>
            <a:rPr lang="en-GB" altLang="de-DE" sz="1200" b="0" err="1">
              <a:solidFill>
                <a:srgbClr val="000000"/>
              </a:solidFill>
              <a:cs typeface="Arial"/>
            </a:rPr>
            <a:t>Geothermie</a:t>
          </a:r>
          <a:r>
            <a:rPr lang="en-GB" altLang="de-DE" sz="1200" b="0">
              <a:solidFill>
                <a:srgbClr val="000000"/>
              </a:solidFill>
              <a:cs typeface="Arial"/>
            </a:rPr>
            <a:t> (</a:t>
          </a:r>
          <a:r>
            <a:rPr lang="en-GB" altLang="de-DE" sz="1200" b="0" err="1">
              <a:solidFill>
                <a:srgbClr val="000000"/>
              </a:solidFill>
              <a:cs typeface="Arial"/>
            </a:rPr>
            <a:t>auch</a:t>
          </a:r>
          <a:r>
            <a:rPr lang="en-GB" altLang="de-DE" sz="1200" b="0">
              <a:solidFill>
                <a:srgbClr val="000000"/>
              </a:solidFill>
              <a:cs typeface="Arial"/>
            </a:rPr>
            <a:t> </a:t>
          </a:r>
          <a:r>
            <a:rPr lang="en-GB" altLang="de-DE" sz="1200" b="0" err="1">
              <a:solidFill>
                <a:srgbClr val="000000"/>
              </a:solidFill>
              <a:cs typeface="Arial"/>
            </a:rPr>
            <a:t>Machbarkeitsstudien</a:t>
          </a:r>
          <a:r>
            <a:rPr lang="en-GB" altLang="de-DE" sz="1200" b="0">
              <a:solidFill>
                <a:srgbClr val="000000"/>
              </a:solidFill>
              <a:cs typeface="Arial"/>
            </a:rPr>
            <a:t>)</a:t>
          </a:r>
          <a:endParaRPr lang="en-GB" altLang="de-DE" sz="1200" b="0" strike="sngStrike">
            <a:solidFill>
              <a:srgbClr val="000000"/>
            </a:solidFill>
            <a:cs typeface="Arial"/>
          </a:endParaRPr>
        </a:p>
      </dgm:t>
    </dgm:pt>
    <dgm:pt modelId="{8471BAA0-B16E-4027-A8DB-54EF7ADC85F2}" type="parTrans" cxnId="{5ECE00B7-C080-40A9-86EB-CA1EA2215E4F}">
      <dgm:prSet/>
      <dgm:spPr/>
      <dgm:t>
        <a:bodyPr/>
        <a:lstStyle/>
        <a:p>
          <a:endParaRPr lang="de-DE"/>
        </a:p>
      </dgm:t>
    </dgm:pt>
    <dgm:pt modelId="{31E8F696-B287-4893-AE85-D93F857EBC80}" type="sibTrans" cxnId="{5ECE00B7-C080-40A9-86EB-CA1EA2215E4F}">
      <dgm:prSet/>
      <dgm:spPr/>
      <dgm:t>
        <a:bodyPr/>
        <a:lstStyle/>
        <a:p>
          <a:endParaRPr lang="de-DE"/>
        </a:p>
      </dgm:t>
    </dgm:pt>
    <dgm:pt modelId="{FCC66E29-BD69-4C95-9D89-D60113F25BCA}">
      <dgm:prSet phldr="0"/>
      <dgm:spPr/>
      <dgm:t>
        <a:bodyPr/>
        <a:lstStyle/>
        <a:p>
          <a:r>
            <a:rPr lang="en-GB" altLang="de-DE" sz="1200" b="0">
              <a:solidFill>
                <a:srgbClr val="000000"/>
              </a:solidFill>
              <a:latin typeface="Segoe UI"/>
              <a:cs typeface="Arial"/>
            </a:rPr>
            <a:t>Kraft-</a:t>
          </a:r>
          <a:r>
            <a:rPr lang="en-GB" altLang="de-DE" sz="1200" b="0" err="1">
              <a:solidFill>
                <a:srgbClr val="000000"/>
              </a:solidFill>
              <a:latin typeface="Segoe UI"/>
              <a:cs typeface="Arial"/>
            </a:rPr>
            <a:t>Wärme</a:t>
          </a:r>
          <a:r>
            <a:rPr lang="en-GB" altLang="de-DE" sz="1200" b="0">
              <a:solidFill>
                <a:srgbClr val="000000"/>
              </a:solidFill>
              <a:latin typeface="Segoe UI"/>
              <a:cs typeface="Arial"/>
            </a:rPr>
            <a:t>-</a:t>
          </a:r>
          <a:r>
            <a:rPr lang="en-GB" altLang="de-DE" sz="1200" b="0" err="1">
              <a:solidFill>
                <a:srgbClr val="000000"/>
              </a:solidFill>
              <a:latin typeface="Segoe UI"/>
              <a:cs typeface="Arial"/>
            </a:rPr>
            <a:t>Kopplungsanlagen</a:t>
          </a:r>
          <a:r>
            <a:rPr lang="en-GB" altLang="de-DE" sz="1200" b="0">
              <a:solidFill>
                <a:srgbClr val="000000"/>
              </a:solidFill>
              <a:latin typeface="Segoe UI"/>
              <a:cs typeface="Arial"/>
            </a:rPr>
            <a:t> (KWK-Anlagen) </a:t>
          </a:r>
          <a:r>
            <a:rPr lang="de-DE" sz="1200"/>
            <a:t>nur auf Basis von fester pflanzlicher Biomasse, Sonnen-strahlung oder Geothermie</a:t>
          </a:r>
          <a:endParaRPr lang="de-DE"/>
        </a:p>
      </dgm:t>
    </dgm:pt>
    <dgm:pt modelId="{76DA9877-734B-41D3-B9C6-A532E4363253}" type="parTrans" cxnId="{2803B3EE-737F-4ADE-9351-3677FD84EF6E}">
      <dgm:prSet/>
      <dgm:spPr/>
      <dgm:t>
        <a:bodyPr/>
        <a:lstStyle/>
        <a:p>
          <a:endParaRPr lang="de-DE"/>
        </a:p>
      </dgm:t>
    </dgm:pt>
    <dgm:pt modelId="{35DDC636-1840-4DDC-8553-CBE8C8B1568A}" type="sibTrans" cxnId="{2803B3EE-737F-4ADE-9351-3677FD84EF6E}">
      <dgm:prSet/>
      <dgm:spPr/>
      <dgm:t>
        <a:bodyPr/>
        <a:lstStyle/>
        <a:p>
          <a:endParaRPr lang="de-DE"/>
        </a:p>
      </dgm:t>
    </dgm:pt>
    <dgm:pt modelId="{27648138-B716-41A0-A76C-626220E2874C}" type="pres">
      <dgm:prSet presAssocID="{FFCB392C-E190-4000-BC2B-8923E66F8E05}" presName="Name0" presStyleCnt="0">
        <dgm:presLayoutVars>
          <dgm:dir/>
          <dgm:animLvl val="lvl"/>
          <dgm:resizeHandles val="exact"/>
        </dgm:presLayoutVars>
      </dgm:prSet>
      <dgm:spPr/>
    </dgm:pt>
    <dgm:pt modelId="{1ADF6C26-1B25-4A78-B388-B1C46C817D76}" type="pres">
      <dgm:prSet presAssocID="{E6EFA897-0431-492F-B65F-D429EF9274CB}" presName="linNode" presStyleCnt="0"/>
      <dgm:spPr/>
    </dgm:pt>
    <dgm:pt modelId="{9C1950A7-783E-48B6-8E92-F40F44EBAD14}" type="pres">
      <dgm:prSet presAssocID="{E6EFA897-0431-492F-B65F-D429EF9274CB}" presName="parentText" presStyleLbl="node1" presStyleIdx="0" presStyleCnt="5" custScaleX="1418391" custScaleY="781345">
        <dgm:presLayoutVars>
          <dgm:chMax val="1"/>
          <dgm:bulletEnabled val="1"/>
        </dgm:presLayoutVars>
      </dgm:prSet>
      <dgm:spPr/>
    </dgm:pt>
    <dgm:pt modelId="{D4830C8F-A2AE-4990-90BF-6D9758F800E7}" type="pres">
      <dgm:prSet presAssocID="{E6EFA897-0431-492F-B65F-D429EF9274CB}" presName="descendantText" presStyleLbl="alignAccFollowNode1" presStyleIdx="0" presStyleCnt="5" custAng="0" custScaleX="2000000" custScaleY="981622">
        <dgm:presLayoutVars>
          <dgm:bulletEnabled val="1"/>
        </dgm:presLayoutVars>
      </dgm:prSet>
      <dgm:spPr>
        <a:prstGeom prst="roundRect">
          <a:avLst/>
        </a:prstGeom>
      </dgm:spPr>
    </dgm:pt>
    <dgm:pt modelId="{9203D1ED-D34A-4B16-8646-7FE2F50473D2}" type="pres">
      <dgm:prSet presAssocID="{7AEB0645-723A-40EF-ABFC-A5BB952678BD}" presName="sp" presStyleCnt="0"/>
      <dgm:spPr/>
    </dgm:pt>
    <dgm:pt modelId="{53851687-2ABD-4E48-9F25-DB16955D1D90}" type="pres">
      <dgm:prSet presAssocID="{03FEEBAF-B492-4AB8-89C6-4B4628CA1E26}" presName="linNode" presStyleCnt="0"/>
      <dgm:spPr/>
    </dgm:pt>
    <dgm:pt modelId="{6282B259-D810-400D-AF6A-A79E8F7BBC6B}" type="pres">
      <dgm:prSet presAssocID="{03FEEBAF-B492-4AB8-89C6-4B4628CA1E26}" presName="parentText" presStyleLbl="node1" presStyleIdx="1" presStyleCnt="5" custScaleX="1418391" custScaleY="498700">
        <dgm:presLayoutVars>
          <dgm:chMax val="1"/>
          <dgm:bulletEnabled val="1"/>
        </dgm:presLayoutVars>
      </dgm:prSet>
      <dgm:spPr>
        <a:prstGeom prst="roundRect">
          <a:avLst/>
        </a:prstGeom>
      </dgm:spPr>
    </dgm:pt>
    <dgm:pt modelId="{C3CA0957-EF4F-46A9-B14B-C34909532529}" type="pres">
      <dgm:prSet presAssocID="{03FEEBAF-B492-4AB8-89C6-4B4628CA1E26}" presName="descendantText" presStyleLbl="alignAccFollowNode1" presStyleIdx="1" presStyleCnt="5" custScaleX="2000000" custScaleY="621583">
        <dgm:presLayoutVars>
          <dgm:bulletEnabled val="1"/>
        </dgm:presLayoutVars>
      </dgm:prSet>
      <dgm:spPr>
        <a:prstGeom prst="roundRect">
          <a:avLst/>
        </a:prstGeom>
      </dgm:spPr>
    </dgm:pt>
    <dgm:pt modelId="{C9293F8E-C675-4E36-A65B-AAAC8006C733}" type="pres">
      <dgm:prSet presAssocID="{46A33D61-164A-49AF-AE7D-CEFC1DBAB295}" presName="sp" presStyleCnt="0"/>
      <dgm:spPr/>
    </dgm:pt>
    <dgm:pt modelId="{61D33F34-F888-4DD1-BA17-F953371D0B7A}" type="pres">
      <dgm:prSet presAssocID="{96260E3C-6263-485C-AAD5-4834D4569D00}" presName="linNode" presStyleCnt="0"/>
      <dgm:spPr/>
    </dgm:pt>
    <dgm:pt modelId="{E2E438A6-5F37-4E34-923A-0CA8673CDF3A}" type="pres">
      <dgm:prSet presAssocID="{96260E3C-6263-485C-AAD5-4834D4569D00}" presName="parentText" presStyleLbl="node1" presStyleIdx="2" presStyleCnt="5" custScaleX="86660" custScaleY="383534">
        <dgm:presLayoutVars>
          <dgm:chMax val="1"/>
          <dgm:bulletEnabled val="1"/>
        </dgm:presLayoutVars>
      </dgm:prSet>
      <dgm:spPr/>
    </dgm:pt>
    <dgm:pt modelId="{42205B36-F6FD-4A61-8A6C-F7C8A06C6790}" type="pres">
      <dgm:prSet presAssocID="{96260E3C-6263-485C-AAD5-4834D4569D00}" presName="descendantText" presStyleLbl="alignAccFollowNode1" presStyleIdx="2" presStyleCnt="5" custScaleX="122177" custScaleY="479792">
        <dgm:presLayoutVars>
          <dgm:bulletEnabled val="1"/>
        </dgm:presLayoutVars>
      </dgm:prSet>
      <dgm:spPr>
        <a:prstGeom prst="roundRect">
          <a:avLst/>
        </a:prstGeom>
      </dgm:spPr>
    </dgm:pt>
    <dgm:pt modelId="{CDDFDC90-580B-485A-9FC2-5DB7FE6F7287}" type="pres">
      <dgm:prSet presAssocID="{9118D841-7835-4425-89DF-5E2FF676BD2C}" presName="sp" presStyleCnt="0"/>
      <dgm:spPr/>
    </dgm:pt>
    <dgm:pt modelId="{73F3CA5A-E1C8-4A93-9B4D-EA5329F4F21A}" type="pres">
      <dgm:prSet presAssocID="{52BD68D0-EAE3-4487-ADC7-C30AD0C149E7}" presName="linNode" presStyleCnt="0"/>
      <dgm:spPr/>
    </dgm:pt>
    <dgm:pt modelId="{C8A9DE35-1CD6-4E88-9A7A-CD82966A87BF}" type="pres">
      <dgm:prSet presAssocID="{52BD68D0-EAE3-4487-ADC7-C30AD0C149E7}" presName="parentText" presStyleLbl="node1" presStyleIdx="3" presStyleCnt="5" custScaleX="114730" custScaleY="249807">
        <dgm:presLayoutVars>
          <dgm:chMax val="1"/>
          <dgm:bulletEnabled val="1"/>
        </dgm:presLayoutVars>
      </dgm:prSet>
      <dgm:spPr/>
    </dgm:pt>
    <dgm:pt modelId="{600B0FCE-F633-4F00-B20F-1253DB6B5E6E}" type="pres">
      <dgm:prSet presAssocID="{52BD68D0-EAE3-4487-ADC7-C30AD0C149E7}" presName="descendantText" presStyleLbl="alignAccFollowNode1" presStyleIdx="3" presStyleCnt="5" custScaleX="161690" custScaleY="311749">
        <dgm:presLayoutVars>
          <dgm:bulletEnabled val="1"/>
        </dgm:presLayoutVars>
      </dgm:prSet>
      <dgm:spPr>
        <a:prstGeom prst="roundRect">
          <a:avLst/>
        </a:prstGeom>
      </dgm:spPr>
    </dgm:pt>
    <dgm:pt modelId="{1A51CAE2-8F35-4B86-BC85-6FAB03C10C9B}" type="pres">
      <dgm:prSet presAssocID="{C8ED1CA2-595E-436E-B860-29E61D658492}" presName="sp" presStyleCnt="0"/>
      <dgm:spPr/>
    </dgm:pt>
    <dgm:pt modelId="{930F362C-C84D-4BD3-B965-79AFCF7BEE58}" type="pres">
      <dgm:prSet presAssocID="{52B98E0D-74B5-47F3-93A9-75219B6BCE70}" presName="linNode" presStyleCnt="0"/>
      <dgm:spPr/>
    </dgm:pt>
    <dgm:pt modelId="{36DCF81B-4ED1-4AD8-B27C-5FE0EF7F2B66}" type="pres">
      <dgm:prSet presAssocID="{52B98E0D-74B5-47F3-93A9-75219B6BCE70}" presName="parentText" presStyleLbl="node1" presStyleIdx="4" presStyleCnt="5" custScaleX="111007" custScaleY="175674">
        <dgm:presLayoutVars>
          <dgm:chMax val="1"/>
          <dgm:bulletEnabled val="1"/>
        </dgm:presLayoutVars>
      </dgm:prSet>
      <dgm:spPr/>
    </dgm:pt>
    <dgm:pt modelId="{BCBFAC89-216D-4DFF-897D-8C47A404ADDC}" type="pres">
      <dgm:prSet presAssocID="{52B98E0D-74B5-47F3-93A9-75219B6BCE70}" presName="descendantText" presStyleLbl="alignAccFollowNode1" presStyleIdx="4" presStyleCnt="5" custScaleX="156728" custScaleY="219096">
        <dgm:presLayoutVars>
          <dgm:bulletEnabled val="1"/>
        </dgm:presLayoutVars>
      </dgm:prSet>
      <dgm:spPr>
        <a:prstGeom prst="roundRect">
          <a:avLst/>
        </a:prstGeom>
      </dgm:spPr>
    </dgm:pt>
  </dgm:ptLst>
  <dgm:cxnLst>
    <dgm:cxn modelId="{9AA0FE0C-3498-4DEF-BAAA-9ECEAC181F28}" type="presOf" srcId="{FFCB392C-E190-4000-BC2B-8923E66F8E05}" destId="{27648138-B716-41A0-A76C-626220E2874C}" srcOrd="0" destOrd="0" presId="urn:microsoft.com/office/officeart/2005/8/layout/vList5"/>
    <dgm:cxn modelId="{BAA9AB0D-8B35-4C4D-9BAE-54904B7CD23E}" srcId="{96260E3C-6263-485C-AAD5-4834D4569D00}" destId="{3418FF94-22B3-4690-A1BC-0FA73AECD0AF}" srcOrd="1" destOrd="0" parTransId="{5641E373-371A-4614-A328-0FB167F347E6}" sibTransId="{A7B1B7E0-E0EF-445F-A6E2-CAC0CF59D1CD}"/>
    <dgm:cxn modelId="{B1AB0810-E233-4308-B400-83A4C5FBE78B}" type="presOf" srcId="{3418FF94-22B3-4690-A1BC-0FA73AECD0AF}" destId="{42205B36-F6FD-4A61-8A6C-F7C8A06C6790}" srcOrd="0" destOrd="1" presId="urn:microsoft.com/office/officeart/2005/8/layout/vList5"/>
    <dgm:cxn modelId="{8DB13611-D17D-4779-84EF-763DF9E3547C}" srcId="{E6EFA897-0431-492F-B65F-D429EF9274CB}" destId="{0B0E29F8-58DA-4B85-A037-33270222EDB5}" srcOrd="0" destOrd="0" parTransId="{6932F5EC-2FFE-483B-A29C-A66067ED0F62}" sibTransId="{B3303F4A-0797-479A-ADE6-B072AA2FE5D1}"/>
    <dgm:cxn modelId="{9302D417-461E-4E94-AADC-18B23BDF6681}" type="presOf" srcId="{5B68FBBB-097B-4FC1-AC52-7BCB9A82E434}" destId="{C3CA0957-EF4F-46A9-B14B-C34909532529}" srcOrd="0" destOrd="0" presId="urn:microsoft.com/office/officeart/2005/8/layout/vList5"/>
    <dgm:cxn modelId="{50131930-0499-41FC-A651-9C7E96C9390F}" type="presOf" srcId="{1CFCC421-550F-4AFE-906D-BB5ADFC56999}" destId="{D4830C8F-A2AE-4990-90BF-6D9758F800E7}" srcOrd="0" destOrd="3" presId="urn:microsoft.com/office/officeart/2005/8/layout/vList5"/>
    <dgm:cxn modelId="{DD76F136-6F2D-4279-A98D-87D8ABE0E355}" type="presOf" srcId="{E6EFA897-0431-492F-B65F-D429EF9274CB}" destId="{9C1950A7-783E-48B6-8E92-F40F44EBAD14}" srcOrd="0" destOrd="0" presId="urn:microsoft.com/office/officeart/2005/8/layout/vList5"/>
    <dgm:cxn modelId="{14DF5139-4E73-47B0-A0D4-3A12ACFAA470}" srcId="{E6EFA897-0431-492F-B65F-D429EF9274CB}" destId="{1CFCC421-550F-4AFE-906D-BB5ADFC56999}" srcOrd="3" destOrd="0" parTransId="{7E99B9DC-2BF5-4EC9-954A-17C827AEDF11}" sibTransId="{B3673173-12F3-4BD3-B5DD-0F96ECFAC2EA}"/>
    <dgm:cxn modelId="{92F75A5B-779F-4B6B-9DC9-466C31D92B4C}" srcId="{96260E3C-6263-485C-AAD5-4834D4569D00}" destId="{0A2167F3-4E3C-49E8-8F53-F429B724897B}" srcOrd="0" destOrd="0" parTransId="{C31FCFD9-9839-42B9-909B-53DFE97C6A9D}" sibTransId="{981FCCCA-D06E-451D-858E-6E6DE23A18B8}"/>
    <dgm:cxn modelId="{3CEA5065-493E-4647-9683-B4D5AEA26F44}" type="presOf" srcId="{53D35704-AA77-43C7-93BA-C55D54BFD48F}" destId="{C3CA0957-EF4F-46A9-B14B-C34909532529}" srcOrd="0" destOrd="2" presId="urn:microsoft.com/office/officeart/2005/8/layout/vList5"/>
    <dgm:cxn modelId="{76C6A948-6AAB-407D-BC23-55019A91F62C}" type="presOf" srcId="{0B0E29F8-58DA-4B85-A037-33270222EDB5}" destId="{D4830C8F-A2AE-4990-90BF-6D9758F800E7}" srcOrd="0" destOrd="0" presId="urn:microsoft.com/office/officeart/2005/8/layout/vList5"/>
    <dgm:cxn modelId="{CED7E969-D16B-49AC-9025-0639DE7A44EA}" srcId="{03FEEBAF-B492-4AB8-89C6-4B4628CA1E26}" destId="{5B68FBBB-097B-4FC1-AC52-7BCB9A82E434}" srcOrd="0" destOrd="0" parTransId="{659E152D-55D2-44AD-AE67-588F8779BF6F}" sibTransId="{2DEC8DEC-3F82-4CCC-A411-7762AAC03FEB}"/>
    <dgm:cxn modelId="{2B5F364B-9F67-4EFD-A893-5ED40B6C87FC}" srcId="{52BD68D0-EAE3-4487-ADC7-C30AD0C149E7}" destId="{9769D350-8FE4-4236-B37A-51F281FB0440}" srcOrd="0" destOrd="0" parTransId="{B162A309-DDB3-4E45-92DD-CDBE1CC908D1}" sibTransId="{E3E4F325-38EC-4BAF-80AB-9E71F04CCABD}"/>
    <dgm:cxn modelId="{4C02BB6C-62E0-4B38-BABC-C6745075E7FB}" srcId="{52B98E0D-74B5-47F3-93A9-75219B6BCE70}" destId="{0304314D-5BF1-42A8-BE34-2A2F0E95F676}" srcOrd="0" destOrd="0" parTransId="{804FF43D-A32E-451E-A676-9BB53C66ECED}" sibTransId="{45B9690B-B485-4BD2-A80E-FBB267D431B6}"/>
    <dgm:cxn modelId="{54F04E6F-947D-4EC5-99E3-ACE966243227}" type="presOf" srcId="{0304314D-5BF1-42A8-BE34-2A2F0E95F676}" destId="{BCBFAC89-216D-4DFF-897D-8C47A404ADDC}" srcOrd="0" destOrd="0" presId="urn:microsoft.com/office/officeart/2005/8/layout/vList5"/>
    <dgm:cxn modelId="{84E6D674-155B-4E0C-98FA-DD06EBDC25BA}" srcId="{FFCB392C-E190-4000-BC2B-8923E66F8E05}" destId="{03FEEBAF-B492-4AB8-89C6-4B4628CA1E26}" srcOrd="1" destOrd="0" parTransId="{36E648EC-D32B-449E-9167-67FC1B8DDF49}" sibTransId="{46A33D61-164A-49AF-AE7D-CEFC1DBAB295}"/>
    <dgm:cxn modelId="{D9141175-77AA-47BE-A6EF-C8B66D4D79AD}" srcId="{E6EFA897-0431-492F-B65F-D429EF9274CB}" destId="{347D681E-3A8B-4170-8587-6CE9B61EFF06}" srcOrd="1" destOrd="0" parTransId="{002405A3-7104-430C-A7D7-E68A39BFCC7B}" sibTransId="{CB49F6F1-CC53-48F2-9A59-EB9D49DA8AA8}"/>
    <dgm:cxn modelId="{D5A24876-C908-4B35-A567-EF2699305266}" type="presOf" srcId="{994FB6D0-412D-4523-A5F8-A61894B174BF}" destId="{C3CA0957-EF4F-46A9-B14B-C34909532529}" srcOrd="0" destOrd="3" presId="urn:microsoft.com/office/officeart/2005/8/layout/vList5"/>
    <dgm:cxn modelId="{F4407357-DA74-4905-8D57-999A75C49954}" srcId="{FFCB392C-E190-4000-BC2B-8923E66F8E05}" destId="{96260E3C-6263-485C-AAD5-4834D4569D00}" srcOrd="2" destOrd="0" parTransId="{2B5F8176-600B-448A-BAC4-07CC9809E5E1}" sibTransId="{9118D841-7835-4425-89DF-5E2FF676BD2C}"/>
    <dgm:cxn modelId="{2E6C1579-6082-4E33-A723-E845F8FBA423}" srcId="{FFCB392C-E190-4000-BC2B-8923E66F8E05}" destId="{E6EFA897-0431-492F-B65F-D429EF9274CB}" srcOrd="0" destOrd="0" parTransId="{3F2A00E6-14CF-4B7B-83A8-308789775694}" sibTransId="{7AEB0645-723A-40EF-ABFC-A5BB952678BD}"/>
    <dgm:cxn modelId="{C4C2337B-838A-4E23-9AD9-7C7D521089EB}" type="presOf" srcId="{FCC66E29-BD69-4C95-9D89-D60113F25BCA}" destId="{D4830C8F-A2AE-4990-90BF-6D9758F800E7}" srcOrd="0" destOrd="4" presId="urn:microsoft.com/office/officeart/2005/8/layout/vList5"/>
    <dgm:cxn modelId="{6A76F37E-FD2F-484D-94EF-628132FB1365}" type="presOf" srcId="{52BD68D0-EAE3-4487-ADC7-C30AD0C149E7}" destId="{C8A9DE35-1CD6-4E88-9A7A-CD82966A87BF}" srcOrd="0" destOrd="0" presId="urn:microsoft.com/office/officeart/2005/8/layout/vList5"/>
    <dgm:cxn modelId="{A915D37F-0AE3-4420-BFB5-7414567F00E7}" type="presOf" srcId="{9769D350-8FE4-4236-B37A-51F281FB0440}" destId="{600B0FCE-F633-4F00-B20F-1253DB6B5E6E}" srcOrd="0" destOrd="0" presId="urn:microsoft.com/office/officeart/2005/8/layout/vList5"/>
    <dgm:cxn modelId="{F1270984-F461-4C12-ACC0-75C88A60C205}" srcId="{FFCB392C-E190-4000-BC2B-8923E66F8E05}" destId="{52BD68D0-EAE3-4487-ADC7-C30AD0C149E7}" srcOrd="3" destOrd="0" parTransId="{BB9FE834-9348-4C65-ABF7-D62613A39635}" sibTransId="{C8ED1CA2-595E-436E-B860-29E61D658492}"/>
    <dgm:cxn modelId="{AADDC393-6CC9-4BAC-AF9F-E5434773093B}" srcId="{E6EFA897-0431-492F-B65F-D429EF9274CB}" destId="{2F66780B-2C14-4C8E-8BE0-2F7DB956054B}" srcOrd="5" destOrd="0" parTransId="{3A63D119-6F05-4039-BF5E-5C480328763B}" sibTransId="{9C5B8FC5-2070-4994-A8B5-8AC363900C30}"/>
    <dgm:cxn modelId="{5B457D9E-C6C5-4F76-B2F2-AC610A549790}" srcId="{03FEEBAF-B492-4AB8-89C6-4B4628CA1E26}" destId="{53D35704-AA77-43C7-93BA-C55D54BFD48F}" srcOrd="2" destOrd="0" parTransId="{427C2995-2556-43AA-B0EF-512FE5FC5083}" sibTransId="{8C790BC4-E7EC-4FA4-BCBD-B52E608EC6A6}"/>
    <dgm:cxn modelId="{B57D45AD-F3D5-4396-9CBD-086728713DD8}" type="presOf" srcId="{0A2167F3-4E3C-49E8-8F53-F429B724897B}" destId="{42205B36-F6FD-4A61-8A6C-F7C8A06C6790}" srcOrd="0" destOrd="0" presId="urn:microsoft.com/office/officeart/2005/8/layout/vList5"/>
    <dgm:cxn modelId="{4DCC9DB1-DCC7-4242-A380-D84240327561}" type="presOf" srcId="{96260E3C-6263-485C-AAD5-4834D4569D00}" destId="{E2E438A6-5F37-4E34-923A-0CA8673CDF3A}" srcOrd="0" destOrd="0" presId="urn:microsoft.com/office/officeart/2005/8/layout/vList5"/>
    <dgm:cxn modelId="{7A4F9AB6-5D3E-4574-8766-5BF9C3B98674}" srcId="{03FEEBAF-B492-4AB8-89C6-4B4628CA1E26}" destId="{994FB6D0-412D-4523-A5F8-A61894B174BF}" srcOrd="3" destOrd="0" parTransId="{C2F928F1-34AA-4D50-91B7-E70F0C08199B}" sibTransId="{538EE255-B60A-4CCA-AB1C-6E1F4F0D3DC4}"/>
    <dgm:cxn modelId="{5ECE00B7-C080-40A9-86EB-CA1EA2215E4F}" srcId="{E6EFA897-0431-492F-B65F-D429EF9274CB}" destId="{E48DCFC4-2F3F-4C44-BBBD-9B2D5AE1556E}" srcOrd="2" destOrd="0" parTransId="{8471BAA0-B16E-4027-A8DB-54EF7ADC85F2}" sibTransId="{31E8F696-B287-4893-AE85-D93F857EBC80}"/>
    <dgm:cxn modelId="{8470FFCA-6166-4A1F-8113-27A6076D8E26}" type="presOf" srcId="{E48DCFC4-2F3F-4C44-BBBD-9B2D5AE1556E}" destId="{D4830C8F-A2AE-4990-90BF-6D9758F800E7}" srcOrd="0" destOrd="2" presId="urn:microsoft.com/office/officeart/2005/8/layout/vList5"/>
    <dgm:cxn modelId="{03C867CC-0B10-4362-B2B8-73D2B5298EF4}" type="presOf" srcId="{B535A52B-C258-44C1-9035-ADC79AAC6E22}" destId="{C3CA0957-EF4F-46A9-B14B-C34909532529}" srcOrd="0" destOrd="1" presId="urn:microsoft.com/office/officeart/2005/8/layout/vList5"/>
    <dgm:cxn modelId="{0686A9CE-2247-4D4C-9038-812C333BA42C}" type="presOf" srcId="{2F66780B-2C14-4C8E-8BE0-2F7DB956054B}" destId="{D4830C8F-A2AE-4990-90BF-6D9758F800E7}" srcOrd="0" destOrd="5" presId="urn:microsoft.com/office/officeart/2005/8/layout/vList5"/>
    <dgm:cxn modelId="{EBF136DD-A1F9-4AD1-ABA3-92B1737A96D0}" type="presOf" srcId="{03FEEBAF-B492-4AB8-89C6-4B4628CA1E26}" destId="{6282B259-D810-400D-AF6A-A79E8F7BBC6B}" srcOrd="0" destOrd="0" presId="urn:microsoft.com/office/officeart/2005/8/layout/vList5"/>
    <dgm:cxn modelId="{CBE2D2DD-66C8-4970-862B-BDCD6F3F3B46}" type="presOf" srcId="{347D681E-3A8B-4170-8587-6CE9B61EFF06}" destId="{D4830C8F-A2AE-4990-90BF-6D9758F800E7}" srcOrd="0" destOrd="1" presId="urn:microsoft.com/office/officeart/2005/8/layout/vList5"/>
    <dgm:cxn modelId="{B38E42E4-907E-4922-BA95-CEC34B618A6E}" type="presOf" srcId="{52B98E0D-74B5-47F3-93A9-75219B6BCE70}" destId="{36DCF81B-4ED1-4AD8-B27C-5FE0EF7F2B66}" srcOrd="0" destOrd="0" presId="urn:microsoft.com/office/officeart/2005/8/layout/vList5"/>
    <dgm:cxn modelId="{954AB5ED-19D8-4B9F-9274-A07D3F0B86DC}" srcId="{FFCB392C-E190-4000-BC2B-8923E66F8E05}" destId="{52B98E0D-74B5-47F3-93A9-75219B6BCE70}" srcOrd="4" destOrd="0" parTransId="{98C1EE2D-85CD-4DF7-BA31-B2037EADB0D7}" sibTransId="{CD1C99D8-452D-4FB0-BFC1-18CE9E5E8FC6}"/>
    <dgm:cxn modelId="{2803B3EE-737F-4ADE-9351-3677FD84EF6E}" srcId="{E6EFA897-0431-492F-B65F-D429EF9274CB}" destId="{FCC66E29-BD69-4C95-9D89-D60113F25BCA}" srcOrd="4" destOrd="0" parTransId="{76DA9877-734B-41D3-B9C6-A532E4363253}" sibTransId="{35DDC636-1840-4DDC-8553-CBE8C8B1568A}"/>
    <dgm:cxn modelId="{39D9E0FD-F017-45EA-BAFB-FDC63B73E39A}" srcId="{03FEEBAF-B492-4AB8-89C6-4B4628CA1E26}" destId="{B535A52B-C258-44C1-9035-ADC79AAC6E22}" srcOrd="1" destOrd="0" parTransId="{78012BCF-69C4-449C-AEC3-B0589F8833DB}" sibTransId="{54675BED-98AD-47D3-B7E7-149A294E27B8}"/>
    <dgm:cxn modelId="{FAED9794-5780-428E-A9FA-22EBB1C77589}" type="presParOf" srcId="{27648138-B716-41A0-A76C-626220E2874C}" destId="{1ADF6C26-1B25-4A78-B388-B1C46C817D76}" srcOrd="0" destOrd="0" presId="urn:microsoft.com/office/officeart/2005/8/layout/vList5"/>
    <dgm:cxn modelId="{E67A828D-9FA7-4C86-9285-DA12F816099E}" type="presParOf" srcId="{1ADF6C26-1B25-4A78-B388-B1C46C817D76}" destId="{9C1950A7-783E-48B6-8E92-F40F44EBAD14}" srcOrd="0" destOrd="0" presId="urn:microsoft.com/office/officeart/2005/8/layout/vList5"/>
    <dgm:cxn modelId="{81338986-889B-4E5D-84EC-39F6E4B96071}" type="presParOf" srcId="{1ADF6C26-1B25-4A78-B388-B1C46C817D76}" destId="{D4830C8F-A2AE-4990-90BF-6D9758F800E7}" srcOrd="1" destOrd="0" presId="urn:microsoft.com/office/officeart/2005/8/layout/vList5"/>
    <dgm:cxn modelId="{F4608102-9F11-4C15-A1C0-374363C89F23}" type="presParOf" srcId="{27648138-B716-41A0-A76C-626220E2874C}" destId="{9203D1ED-D34A-4B16-8646-7FE2F50473D2}" srcOrd="1" destOrd="0" presId="urn:microsoft.com/office/officeart/2005/8/layout/vList5"/>
    <dgm:cxn modelId="{D7A73E80-70F1-4606-9DFF-DE8E850A8D2C}" type="presParOf" srcId="{27648138-B716-41A0-A76C-626220E2874C}" destId="{53851687-2ABD-4E48-9F25-DB16955D1D90}" srcOrd="2" destOrd="0" presId="urn:microsoft.com/office/officeart/2005/8/layout/vList5"/>
    <dgm:cxn modelId="{739083D1-CF6C-4B25-BB1B-DC0BBD14F994}" type="presParOf" srcId="{53851687-2ABD-4E48-9F25-DB16955D1D90}" destId="{6282B259-D810-400D-AF6A-A79E8F7BBC6B}" srcOrd="0" destOrd="0" presId="urn:microsoft.com/office/officeart/2005/8/layout/vList5"/>
    <dgm:cxn modelId="{E69EF209-96C5-481E-8485-0AF84845E63D}" type="presParOf" srcId="{53851687-2ABD-4E48-9F25-DB16955D1D90}" destId="{C3CA0957-EF4F-46A9-B14B-C34909532529}" srcOrd="1" destOrd="0" presId="urn:microsoft.com/office/officeart/2005/8/layout/vList5"/>
    <dgm:cxn modelId="{EE2152EF-BF41-4111-86F9-19067C49DBB6}" type="presParOf" srcId="{27648138-B716-41A0-A76C-626220E2874C}" destId="{C9293F8E-C675-4E36-A65B-AAAC8006C733}" srcOrd="3" destOrd="0" presId="urn:microsoft.com/office/officeart/2005/8/layout/vList5"/>
    <dgm:cxn modelId="{F97BFCF3-2B98-42B5-A9E0-D4BBBB153611}" type="presParOf" srcId="{27648138-B716-41A0-A76C-626220E2874C}" destId="{61D33F34-F888-4DD1-BA17-F953371D0B7A}" srcOrd="4" destOrd="0" presId="urn:microsoft.com/office/officeart/2005/8/layout/vList5"/>
    <dgm:cxn modelId="{D2D68B3F-3617-4120-85D9-5E4BDE3692F6}" type="presParOf" srcId="{61D33F34-F888-4DD1-BA17-F953371D0B7A}" destId="{E2E438A6-5F37-4E34-923A-0CA8673CDF3A}" srcOrd="0" destOrd="0" presId="urn:microsoft.com/office/officeart/2005/8/layout/vList5"/>
    <dgm:cxn modelId="{8F762DF7-A4BE-4809-946E-BAD3A16044FB}" type="presParOf" srcId="{61D33F34-F888-4DD1-BA17-F953371D0B7A}" destId="{42205B36-F6FD-4A61-8A6C-F7C8A06C6790}" srcOrd="1" destOrd="0" presId="urn:microsoft.com/office/officeart/2005/8/layout/vList5"/>
    <dgm:cxn modelId="{88E810BA-E4D0-4CE3-BAD8-8128C846CEB2}" type="presParOf" srcId="{27648138-B716-41A0-A76C-626220E2874C}" destId="{CDDFDC90-580B-485A-9FC2-5DB7FE6F7287}" srcOrd="5" destOrd="0" presId="urn:microsoft.com/office/officeart/2005/8/layout/vList5"/>
    <dgm:cxn modelId="{0F3657BD-F4F7-4501-B2F6-2BED6C78C249}" type="presParOf" srcId="{27648138-B716-41A0-A76C-626220E2874C}" destId="{73F3CA5A-E1C8-4A93-9B4D-EA5329F4F21A}" srcOrd="6" destOrd="0" presId="urn:microsoft.com/office/officeart/2005/8/layout/vList5"/>
    <dgm:cxn modelId="{F7CE5C74-83AA-4CA6-9171-A042959C0FCC}" type="presParOf" srcId="{73F3CA5A-E1C8-4A93-9B4D-EA5329F4F21A}" destId="{C8A9DE35-1CD6-4E88-9A7A-CD82966A87BF}" srcOrd="0" destOrd="0" presId="urn:microsoft.com/office/officeart/2005/8/layout/vList5"/>
    <dgm:cxn modelId="{FA6D506F-AEE9-49CD-A96C-933374895B4A}" type="presParOf" srcId="{73F3CA5A-E1C8-4A93-9B4D-EA5329F4F21A}" destId="{600B0FCE-F633-4F00-B20F-1253DB6B5E6E}" srcOrd="1" destOrd="0" presId="urn:microsoft.com/office/officeart/2005/8/layout/vList5"/>
    <dgm:cxn modelId="{EBA87D55-7C6B-4B2C-B8FD-8FF73E5D837C}" type="presParOf" srcId="{27648138-B716-41A0-A76C-626220E2874C}" destId="{1A51CAE2-8F35-4B86-BC85-6FAB03C10C9B}" srcOrd="7" destOrd="0" presId="urn:microsoft.com/office/officeart/2005/8/layout/vList5"/>
    <dgm:cxn modelId="{B6EFF491-DE92-40E0-AC5D-A65385595559}" type="presParOf" srcId="{27648138-B716-41A0-A76C-626220E2874C}" destId="{930F362C-C84D-4BD3-B965-79AFCF7BEE58}" srcOrd="8" destOrd="0" presId="urn:microsoft.com/office/officeart/2005/8/layout/vList5"/>
    <dgm:cxn modelId="{52076C41-0E57-468A-A013-000970FE640B}" type="presParOf" srcId="{930F362C-C84D-4BD3-B965-79AFCF7BEE58}" destId="{36DCF81B-4ED1-4AD8-B27C-5FE0EF7F2B66}" srcOrd="0" destOrd="0" presId="urn:microsoft.com/office/officeart/2005/8/layout/vList5"/>
    <dgm:cxn modelId="{5D4C44E2-22DE-408C-BABB-155917498274}" type="presParOf" srcId="{930F362C-C84D-4BD3-B965-79AFCF7BEE58}" destId="{BCBFAC89-216D-4DFF-897D-8C47A404ADDC}"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FFCB392C-E190-4000-BC2B-8923E66F8E05}"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GB"/>
        </a:p>
      </dgm:t>
    </dgm:pt>
    <dgm:pt modelId="{E6EFA897-0431-492F-B65F-D429EF9274CB}">
      <dgm:prSet phldrT="[Text]" custT="1"/>
      <dgm:spPr>
        <a:solidFill>
          <a:srgbClr val="FC5B2F"/>
        </a:solidFill>
        <a:ln w="63500">
          <a:solidFill>
            <a:schemeClr val="bg1"/>
          </a:solidFill>
        </a:ln>
      </dgm:spPr>
      <dgm:t>
        <a:bodyPr/>
        <a:lstStyle/>
        <a:p>
          <a:r>
            <a:rPr lang="de-DE" sz="2000" b="1"/>
            <a:t>WAS?</a:t>
          </a:r>
          <a:endParaRPr lang="en-GB" sz="2000" b="1"/>
        </a:p>
      </dgm:t>
    </dgm:pt>
    <dgm:pt modelId="{3F2A00E6-14CF-4B7B-83A8-308789775694}" type="parTrans" cxnId="{2E6C1579-6082-4E33-A723-E845F8FBA423}">
      <dgm:prSet/>
      <dgm:spPr/>
      <dgm:t>
        <a:bodyPr/>
        <a:lstStyle/>
        <a:p>
          <a:endParaRPr lang="en-GB"/>
        </a:p>
      </dgm:t>
    </dgm:pt>
    <dgm:pt modelId="{7AEB0645-723A-40EF-ABFC-A5BB952678BD}" type="sibTrans" cxnId="{2E6C1579-6082-4E33-A723-E845F8FBA423}">
      <dgm:prSet/>
      <dgm:spPr/>
      <dgm:t>
        <a:bodyPr/>
        <a:lstStyle/>
        <a:p>
          <a:endParaRPr lang="en-GB"/>
        </a:p>
      </dgm:t>
    </dgm:pt>
    <dgm:pt modelId="{03FEEBAF-B492-4AB8-89C6-4B4628CA1E26}">
      <dgm:prSet phldrT="[Text]" custT="1"/>
      <dgm:spPr>
        <a:solidFill>
          <a:srgbClr val="FC5B2F"/>
        </a:solidFill>
        <a:ln w="63500">
          <a:solidFill>
            <a:schemeClr val="bg1"/>
          </a:solidFill>
        </a:ln>
      </dgm:spPr>
      <dgm:t>
        <a:bodyPr/>
        <a:lstStyle/>
        <a:p>
          <a:r>
            <a:rPr lang="de-DE" sz="2000" b="1"/>
            <a:t>WER?</a:t>
          </a:r>
          <a:endParaRPr lang="en-GB" sz="2000" b="1"/>
        </a:p>
      </dgm:t>
    </dgm:pt>
    <dgm:pt modelId="{36E648EC-D32B-449E-9167-67FC1B8DDF49}" type="parTrans" cxnId="{84E6D674-155B-4E0C-98FA-DD06EBDC25BA}">
      <dgm:prSet/>
      <dgm:spPr/>
      <dgm:t>
        <a:bodyPr/>
        <a:lstStyle/>
        <a:p>
          <a:endParaRPr lang="en-GB"/>
        </a:p>
      </dgm:t>
    </dgm:pt>
    <dgm:pt modelId="{46A33D61-164A-49AF-AE7D-CEFC1DBAB295}" type="sibTrans" cxnId="{84E6D674-155B-4E0C-98FA-DD06EBDC25BA}">
      <dgm:prSet/>
      <dgm:spPr/>
      <dgm:t>
        <a:bodyPr/>
        <a:lstStyle/>
        <a:p>
          <a:endParaRPr lang="en-GB"/>
        </a:p>
      </dgm:t>
    </dgm:pt>
    <dgm:pt modelId="{96260E3C-6263-485C-AAD5-4834D4569D00}">
      <dgm:prSet phldrT="[Text]" custT="1"/>
      <dgm:spPr>
        <a:solidFill>
          <a:srgbClr val="FC5B2F"/>
        </a:solidFill>
        <a:ln w="63500">
          <a:solidFill>
            <a:schemeClr val="bg1"/>
          </a:solidFill>
        </a:ln>
      </dgm:spPr>
      <dgm:t>
        <a:bodyPr/>
        <a:lstStyle/>
        <a:p>
          <a:r>
            <a:rPr lang="de-DE" sz="2000" b="1"/>
            <a:t>WIE VIEL?</a:t>
          </a:r>
          <a:endParaRPr lang="en-GB" sz="2000" b="1"/>
        </a:p>
      </dgm:t>
    </dgm:pt>
    <dgm:pt modelId="{2B5F8176-600B-448A-BAC4-07CC9809E5E1}" type="parTrans" cxnId="{F4407357-DA74-4905-8D57-999A75C49954}">
      <dgm:prSet/>
      <dgm:spPr/>
      <dgm:t>
        <a:bodyPr/>
        <a:lstStyle/>
        <a:p>
          <a:endParaRPr lang="en-GB"/>
        </a:p>
      </dgm:t>
    </dgm:pt>
    <dgm:pt modelId="{9118D841-7835-4425-89DF-5E2FF676BD2C}" type="sibTrans" cxnId="{F4407357-DA74-4905-8D57-999A75C49954}">
      <dgm:prSet/>
      <dgm:spPr/>
      <dgm:t>
        <a:bodyPr/>
        <a:lstStyle/>
        <a:p>
          <a:endParaRPr lang="en-GB"/>
        </a:p>
      </dgm:t>
    </dgm:pt>
    <dgm:pt modelId="{0A2167F3-4E3C-49E8-8F53-F429B724897B}">
      <dgm:prSet phldrT="[Text]" custT="1"/>
      <dgm:spPr>
        <a:solidFill>
          <a:srgbClr val="FEEAE8">
            <a:alpha val="90000"/>
          </a:srgbClr>
        </a:solidFill>
        <a:ln w="63500" cap="rnd">
          <a:solidFill>
            <a:schemeClr val="bg1"/>
          </a:solidFill>
          <a:round/>
        </a:ln>
      </dgm:spPr>
      <dgm:t>
        <a:bodyPr/>
        <a:lstStyle/>
        <a:p>
          <a:r>
            <a:rPr lang="de-DE" altLang="de-DE" sz="1200">
              <a:latin typeface="+mn-lt"/>
            </a:rPr>
            <a:t>25 % der gesamten Investitionskosten, 35 % für mittlere Unternehmen und 45 % für kleine Unternehmen; Zinsverbilligung von max. 0,5 Prozentpunkten; Max. 20 Mio. € pro Vorhaben</a:t>
          </a:r>
          <a:endParaRPr lang="en-GB" sz="1200">
            <a:latin typeface="+mn-lt"/>
          </a:endParaRPr>
        </a:p>
      </dgm:t>
    </dgm:pt>
    <dgm:pt modelId="{C31FCFD9-9839-42B9-909B-53DFE97C6A9D}" type="parTrans" cxnId="{92F75A5B-779F-4B6B-9DC9-466C31D92B4C}">
      <dgm:prSet/>
      <dgm:spPr/>
      <dgm:t>
        <a:bodyPr/>
        <a:lstStyle/>
        <a:p>
          <a:endParaRPr lang="en-GB"/>
        </a:p>
      </dgm:t>
    </dgm:pt>
    <dgm:pt modelId="{981FCCCA-D06E-451D-858E-6E6DE23A18B8}" type="sibTrans" cxnId="{92F75A5B-779F-4B6B-9DC9-466C31D92B4C}">
      <dgm:prSet/>
      <dgm:spPr/>
      <dgm:t>
        <a:bodyPr/>
        <a:lstStyle/>
        <a:p>
          <a:endParaRPr lang="en-GB"/>
        </a:p>
      </dgm:t>
    </dgm:pt>
    <dgm:pt modelId="{52BD68D0-EAE3-4487-ADC7-C30AD0C149E7}">
      <dgm:prSet phldrT="[Text]" custT="1"/>
      <dgm:spPr>
        <a:solidFill>
          <a:srgbClr val="FC5B2F"/>
        </a:solidFill>
        <a:ln w="63500">
          <a:solidFill>
            <a:schemeClr val="bg1"/>
          </a:solidFill>
        </a:ln>
      </dgm:spPr>
      <dgm:t>
        <a:bodyPr/>
        <a:lstStyle/>
        <a:p>
          <a:r>
            <a:rPr lang="de-DE" sz="2000" b="1"/>
            <a:t>WO?</a:t>
          </a:r>
          <a:endParaRPr lang="en-GB" sz="2000" b="1"/>
        </a:p>
      </dgm:t>
    </dgm:pt>
    <dgm:pt modelId="{BB9FE834-9348-4C65-ABF7-D62613A39635}" type="parTrans" cxnId="{F1270984-F461-4C12-ACC0-75C88A60C205}">
      <dgm:prSet/>
      <dgm:spPr/>
      <dgm:t>
        <a:bodyPr/>
        <a:lstStyle/>
        <a:p>
          <a:endParaRPr lang="en-GB"/>
        </a:p>
      </dgm:t>
    </dgm:pt>
    <dgm:pt modelId="{C8ED1CA2-595E-436E-B860-29E61D658492}" type="sibTrans" cxnId="{F1270984-F461-4C12-ACC0-75C88A60C205}">
      <dgm:prSet/>
      <dgm:spPr/>
      <dgm:t>
        <a:bodyPr/>
        <a:lstStyle/>
        <a:p>
          <a:endParaRPr lang="en-GB"/>
        </a:p>
      </dgm:t>
    </dgm:pt>
    <dgm:pt modelId="{52B98E0D-74B5-47F3-93A9-75219B6BCE70}">
      <dgm:prSet phldrT="[Text]" custT="1"/>
      <dgm:spPr>
        <a:solidFill>
          <a:srgbClr val="FC5B2F"/>
        </a:solidFill>
        <a:ln w="63500">
          <a:solidFill>
            <a:schemeClr val="bg1"/>
          </a:solidFill>
        </a:ln>
      </dgm:spPr>
      <dgm:t>
        <a:bodyPr/>
        <a:lstStyle/>
        <a:p>
          <a:r>
            <a:rPr lang="de-DE" sz="2000" b="1"/>
            <a:t>BIS WANN?</a:t>
          </a:r>
          <a:endParaRPr lang="en-GB" sz="2000" b="1"/>
        </a:p>
      </dgm:t>
    </dgm:pt>
    <dgm:pt modelId="{98C1EE2D-85CD-4DF7-BA31-B2037EADB0D7}" type="parTrans" cxnId="{954AB5ED-19D8-4B9F-9274-A07D3F0B86DC}">
      <dgm:prSet/>
      <dgm:spPr/>
      <dgm:t>
        <a:bodyPr/>
        <a:lstStyle/>
        <a:p>
          <a:endParaRPr lang="en-GB"/>
        </a:p>
      </dgm:t>
    </dgm:pt>
    <dgm:pt modelId="{CD1C99D8-452D-4FB0-BFC1-18CE9E5E8FC6}" type="sibTrans" cxnId="{954AB5ED-19D8-4B9F-9274-A07D3F0B86DC}">
      <dgm:prSet/>
      <dgm:spPr/>
      <dgm:t>
        <a:bodyPr/>
        <a:lstStyle/>
        <a:p>
          <a:endParaRPr lang="en-GB"/>
        </a:p>
      </dgm:t>
    </dgm:pt>
    <dgm:pt modelId="{9769D350-8FE4-4236-B37A-51F281FB0440}">
      <dgm:prSet phldrT="[Text]" custT="1"/>
      <dgm:spPr>
        <a:solidFill>
          <a:srgbClr val="FEEAE8">
            <a:alpha val="90000"/>
          </a:srgbClr>
        </a:solidFill>
        <a:ln w="63500" cap="rnd">
          <a:solidFill>
            <a:schemeClr val="bg1">
              <a:alpha val="90000"/>
            </a:schemeClr>
          </a:solidFill>
          <a:round/>
        </a:ln>
      </dgm:spPr>
      <dgm:t>
        <a:bodyPr/>
        <a:lstStyle/>
        <a:p>
          <a:pPr marL="0" indent="0">
            <a:buNone/>
          </a:pPr>
          <a:r>
            <a:rPr lang="en-GB" altLang="de-DE" sz="1200">
              <a:solidFill>
                <a:schemeClr val="tx1"/>
              </a:solidFill>
              <a:latin typeface="+mn-lt"/>
              <a:hlinkClick xmlns:r="http://schemas.openxmlformats.org/officeDocument/2006/relationships" r:id="rId1">
                <a:extLst>
                  <a:ext uri="{A12FA001-AC4F-418D-AE19-62706E023703}">
                    <ahyp:hlinkClr xmlns:ahyp="http://schemas.microsoft.com/office/drawing/2018/hyperlinkcolor" val="tx"/>
                  </a:ext>
                </a:extLst>
              </a:hlinkClick>
            </a:rPr>
            <a:t>https://www.bafa.de/DE/Energie/Energieeffizienz/Energieeffizienz_und_Prozesswaerme/Modul3_Energiemanagementsysteme/modul3_energiemanagementsysteme_node.html</a:t>
          </a:r>
          <a:endParaRPr lang="en-GB" sz="1200">
            <a:solidFill>
              <a:schemeClr val="tx1"/>
            </a:solidFill>
            <a:latin typeface="+mn-lt"/>
          </a:endParaRPr>
        </a:p>
      </dgm:t>
    </dgm:pt>
    <dgm:pt modelId="{B162A309-DDB3-4E45-92DD-CDBE1CC908D1}" type="parTrans" cxnId="{2B5F364B-9F67-4EFD-A893-5ED40B6C87FC}">
      <dgm:prSet/>
      <dgm:spPr/>
      <dgm:t>
        <a:bodyPr/>
        <a:lstStyle/>
        <a:p>
          <a:endParaRPr lang="en-GB"/>
        </a:p>
      </dgm:t>
    </dgm:pt>
    <dgm:pt modelId="{E3E4F325-38EC-4BAF-80AB-9E71F04CCABD}" type="sibTrans" cxnId="{2B5F364B-9F67-4EFD-A893-5ED40B6C87FC}">
      <dgm:prSet/>
      <dgm:spPr/>
      <dgm:t>
        <a:bodyPr/>
        <a:lstStyle/>
        <a:p>
          <a:endParaRPr lang="en-GB"/>
        </a:p>
      </dgm:t>
    </dgm:pt>
    <dgm:pt modelId="{0304314D-5BF1-42A8-BE34-2A2F0E95F676}">
      <dgm:prSet phldrT="[Text]" custT="1"/>
      <dgm:spPr>
        <a:solidFill>
          <a:srgbClr val="FEEAE8">
            <a:alpha val="90000"/>
          </a:srgbClr>
        </a:solidFill>
        <a:ln w="63500" cap="rnd">
          <a:solidFill>
            <a:schemeClr val="bg1"/>
          </a:solidFill>
          <a:round/>
        </a:ln>
      </dgm:spPr>
      <dgm:t>
        <a:bodyPr/>
        <a:lstStyle/>
        <a:p>
          <a:pPr>
            <a:buNone/>
          </a:pPr>
          <a:r>
            <a:rPr lang="en-GB" sz="1200" strike="noStrike">
              <a:latin typeface="+mn-lt"/>
            </a:rPr>
            <a:t>31.12.2028</a:t>
          </a:r>
          <a:endParaRPr lang="en-GB" sz="1200" strike="sngStrike">
            <a:highlight>
              <a:srgbClr val="FFFF00"/>
            </a:highlight>
            <a:latin typeface="+mn-lt"/>
          </a:endParaRPr>
        </a:p>
      </dgm:t>
    </dgm:pt>
    <dgm:pt modelId="{804FF43D-A32E-451E-A676-9BB53C66ECED}" type="parTrans" cxnId="{4C02BB6C-62E0-4B38-BABC-C6745075E7FB}">
      <dgm:prSet/>
      <dgm:spPr/>
      <dgm:t>
        <a:bodyPr/>
        <a:lstStyle/>
        <a:p>
          <a:endParaRPr lang="en-GB"/>
        </a:p>
      </dgm:t>
    </dgm:pt>
    <dgm:pt modelId="{45B9690B-B485-4BD2-A80E-FBB267D431B6}" type="sibTrans" cxnId="{4C02BB6C-62E0-4B38-BABC-C6745075E7FB}">
      <dgm:prSet/>
      <dgm:spPr/>
      <dgm:t>
        <a:bodyPr/>
        <a:lstStyle/>
        <a:p>
          <a:endParaRPr lang="en-GB"/>
        </a:p>
      </dgm:t>
    </dgm:pt>
    <dgm:pt modelId="{5B68FBBB-097B-4FC1-AC52-7BCB9A82E434}">
      <dgm:prSet phldrT="[Text]" custT="1"/>
      <dgm:spPr>
        <a:solidFill>
          <a:srgbClr val="FEEAE8">
            <a:alpha val="90000"/>
          </a:srgbClr>
        </a:solidFill>
        <a:ln w="63500" cap="rnd">
          <a:solidFill>
            <a:schemeClr val="bg1"/>
          </a:solidFill>
          <a:round/>
        </a:ln>
      </dgm:spPr>
      <dgm:t>
        <a:bodyPr/>
        <a:lstStyle/>
        <a:p>
          <a:pPr>
            <a:buFont typeface="Arial" panose="020B0604020202020204" pitchFamily="34" charset="0"/>
            <a:buChar char="•"/>
          </a:pPr>
          <a:r>
            <a:rPr lang="en-GB" altLang="de-DE" sz="1200">
              <a:solidFill>
                <a:srgbClr val="000000"/>
              </a:solidFill>
              <a:latin typeface="+mn-lt"/>
              <a:cs typeface="Arial"/>
            </a:rPr>
            <a:t>Private </a:t>
          </a:r>
          <a:r>
            <a:rPr lang="en-GB" altLang="de-DE" sz="1200" err="1">
              <a:solidFill>
                <a:srgbClr val="000000"/>
              </a:solidFill>
              <a:latin typeface="+mn-lt"/>
              <a:cs typeface="Arial"/>
            </a:rPr>
            <a:t>Unternehmen</a:t>
          </a:r>
          <a:endParaRPr lang="en-GB" sz="1200">
            <a:latin typeface="+mn-lt"/>
            <a:cs typeface="Arial"/>
          </a:endParaRPr>
        </a:p>
      </dgm:t>
    </dgm:pt>
    <dgm:pt modelId="{659E152D-55D2-44AD-AE67-588F8779BF6F}" type="parTrans" cxnId="{CED7E969-D16B-49AC-9025-0639DE7A44EA}">
      <dgm:prSet/>
      <dgm:spPr/>
      <dgm:t>
        <a:bodyPr/>
        <a:lstStyle/>
        <a:p>
          <a:endParaRPr lang="en-GB"/>
        </a:p>
      </dgm:t>
    </dgm:pt>
    <dgm:pt modelId="{2DEC8DEC-3F82-4CCC-A411-7762AAC03FEB}" type="sibTrans" cxnId="{CED7E969-D16B-49AC-9025-0639DE7A44EA}">
      <dgm:prSet/>
      <dgm:spPr/>
      <dgm:t>
        <a:bodyPr/>
        <a:lstStyle/>
        <a:p>
          <a:endParaRPr lang="en-GB"/>
        </a:p>
      </dgm:t>
    </dgm:pt>
    <dgm:pt modelId="{0B0E29F8-58DA-4B85-A037-33270222EDB5}">
      <dgm:prSet phldrT="[Text]" custT="1"/>
      <dgm:spPr>
        <a:solidFill>
          <a:srgbClr val="FEEAE8">
            <a:alpha val="90000"/>
          </a:srgbClr>
        </a:solidFill>
        <a:ln w="63500" cap="rnd" cmpd="sng">
          <a:solidFill>
            <a:schemeClr val="bg1"/>
          </a:solidFill>
          <a:round/>
        </a:ln>
      </dgm:spPr>
      <dgm:t>
        <a:bodyPr/>
        <a:lstStyle/>
        <a:p>
          <a:pPr rtl="0"/>
          <a:r>
            <a:rPr lang="de-DE" altLang="de-DE" sz="1200" b="0">
              <a:solidFill>
                <a:srgbClr val="000000"/>
              </a:solidFill>
              <a:cs typeface="Arial"/>
            </a:rPr>
            <a:t>Erwerb</a:t>
          </a:r>
          <a:r>
            <a:rPr lang="de-DE" altLang="de-DE" sz="1200" b="0">
              <a:solidFill>
                <a:srgbClr val="000000"/>
              </a:solidFill>
              <a:latin typeface="Segoe UI"/>
              <a:cs typeface="Arial"/>
            </a:rPr>
            <a:t>,</a:t>
          </a:r>
          <a:r>
            <a:rPr lang="de-DE" altLang="de-DE" sz="1200" b="0">
              <a:solidFill>
                <a:srgbClr val="000000"/>
              </a:solidFill>
              <a:cs typeface="Arial"/>
            </a:rPr>
            <a:t> Installation </a:t>
          </a:r>
          <a:r>
            <a:rPr lang="de-DE" altLang="de-DE" sz="1200" b="0">
              <a:solidFill>
                <a:srgbClr val="000000"/>
              </a:solidFill>
              <a:latin typeface="Segoe UI"/>
              <a:cs typeface="Arial"/>
            </a:rPr>
            <a:t>und Inbetriebnahme </a:t>
          </a:r>
          <a:r>
            <a:rPr lang="de-DE" altLang="de-DE" sz="1200" b="0">
              <a:solidFill>
                <a:srgbClr val="000000"/>
              </a:solidFill>
              <a:cs typeface="Arial"/>
            </a:rPr>
            <a:t>von Mess-, Steuer- und Regelungstechnik (MSR) und Sensorik zum Monitoring und der effizienten Regelung von Energieströmen zur Einbindung in ein Energie- oder Umweltmanagementsystem </a:t>
          </a:r>
          <a:endParaRPr lang="en-GB" sz="1200" b="0">
            <a:ln>
              <a:noFill/>
            </a:ln>
            <a:latin typeface="+mn-lt"/>
            <a:cs typeface="Arial"/>
          </a:endParaRPr>
        </a:p>
      </dgm:t>
    </dgm:pt>
    <dgm:pt modelId="{B3303F4A-0797-479A-ADE6-B072AA2FE5D1}" type="sibTrans" cxnId="{8DB13611-D17D-4779-84EF-763DF9E3547C}">
      <dgm:prSet/>
      <dgm:spPr/>
      <dgm:t>
        <a:bodyPr/>
        <a:lstStyle/>
        <a:p>
          <a:endParaRPr lang="en-GB"/>
        </a:p>
      </dgm:t>
    </dgm:pt>
    <dgm:pt modelId="{6932F5EC-2FFE-483B-A29C-A66067ED0F62}" type="parTrans" cxnId="{8DB13611-D17D-4779-84EF-763DF9E3547C}">
      <dgm:prSet/>
      <dgm:spPr/>
      <dgm:t>
        <a:bodyPr/>
        <a:lstStyle/>
        <a:p>
          <a:endParaRPr lang="en-GB"/>
        </a:p>
      </dgm:t>
    </dgm:pt>
    <dgm:pt modelId="{B535A52B-C258-44C1-9035-ADC79AAC6E22}">
      <dgm:prSet custT="1"/>
      <dgm:spPr/>
      <dgm:t>
        <a:bodyPr/>
        <a:lstStyle/>
        <a:p>
          <a:pPr>
            <a:buFont typeface="Arial" panose="020B0604020202020204" pitchFamily="34" charset="0"/>
            <a:buChar char="•"/>
          </a:pPr>
          <a:r>
            <a:rPr lang="en-GB" altLang="de-DE" sz="1200" err="1">
              <a:solidFill>
                <a:srgbClr val="000000"/>
              </a:solidFill>
              <a:latin typeface="+mn-lt"/>
              <a:cs typeface="Arial"/>
            </a:rPr>
            <a:t>Contractoren</a:t>
          </a:r>
          <a:r>
            <a:rPr lang="en-GB" altLang="de-DE" sz="1200">
              <a:solidFill>
                <a:srgbClr val="000000"/>
              </a:solidFill>
              <a:latin typeface="+mn-lt"/>
              <a:cs typeface="Arial"/>
            </a:rPr>
            <a:t> </a:t>
          </a:r>
          <a:r>
            <a:rPr lang="en-GB" altLang="de-DE" sz="1200" strike="noStrike" err="1">
              <a:solidFill>
                <a:srgbClr val="000000"/>
              </a:solidFill>
              <a:latin typeface="+mn-lt"/>
              <a:cs typeface="Arial"/>
            </a:rPr>
            <a:t>im</a:t>
          </a:r>
          <a:r>
            <a:rPr lang="en-GB" altLang="de-DE" sz="1200" strike="noStrike">
              <a:solidFill>
                <a:srgbClr val="000000"/>
              </a:solidFill>
              <a:latin typeface="+mn-lt"/>
              <a:cs typeface="Arial"/>
            </a:rPr>
            <a:t> </a:t>
          </a:r>
          <a:r>
            <a:rPr lang="en-GB" altLang="de-DE" sz="1200" strike="noStrike" err="1">
              <a:solidFill>
                <a:srgbClr val="000000"/>
              </a:solidFill>
              <a:latin typeface="+mn-lt"/>
              <a:cs typeface="Arial"/>
            </a:rPr>
            <a:t>Auftrag</a:t>
          </a:r>
          <a:r>
            <a:rPr lang="en-GB" altLang="de-DE" sz="1200" strike="noStrike">
              <a:solidFill>
                <a:srgbClr val="000000"/>
              </a:solidFill>
              <a:latin typeface="+mn-lt"/>
              <a:cs typeface="Arial"/>
            </a:rPr>
            <a:t> von </a:t>
          </a:r>
          <a:r>
            <a:rPr lang="en-GB" altLang="de-DE" sz="1200" strike="noStrike" err="1">
              <a:solidFill>
                <a:srgbClr val="000000"/>
              </a:solidFill>
              <a:latin typeface="+mn-lt"/>
              <a:cs typeface="Arial"/>
            </a:rPr>
            <a:t>antragsberechtigten</a:t>
          </a:r>
          <a:r>
            <a:rPr lang="en-GB" altLang="de-DE" sz="1200" strike="noStrike">
              <a:solidFill>
                <a:srgbClr val="000000"/>
              </a:solidFill>
              <a:latin typeface="+mn-lt"/>
              <a:cs typeface="Arial"/>
            </a:rPr>
            <a:t> </a:t>
          </a:r>
          <a:r>
            <a:rPr lang="en-GB" altLang="de-DE" sz="1200" strike="noStrike" err="1">
              <a:solidFill>
                <a:srgbClr val="000000"/>
              </a:solidFill>
              <a:latin typeface="+mn-lt"/>
              <a:cs typeface="Arial"/>
            </a:rPr>
            <a:t>Unternehmen</a:t>
          </a:r>
          <a:endParaRPr lang="en-GB" altLang="de-DE" sz="1200">
            <a:solidFill>
              <a:srgbClr val="000000"/>
            </a:solidFill>
            <a:latin typeface="+mn-lt"/>
            <a:cs typeface="Arial"/>
          </a:endParaRPr>
        </a:p>
      </dgm:t>
    </dgm:pt>
    <dgm:pt modelId="{78012BCF-69C4-449C-AEC3-B0589F8833DB}" type="parTrans" cxnId="{39D9E0FD-F017-45EA-BAFB-FDC63B73E39A}">
      <dgm:prSet/>
      <dgm:spPr/>
      <dgm:t>
        <a:bodyPr/>
        <a:lstStyle/>
        <a:p>
          <a:endParaRPr lang="en-GB"/>
        </a:p>
      </dgm:t>
    </dgm:pt>
    <dgm:pt modelId="{54675BED-98AD-47D3-B7E7-149A294E27B8}" type="sibTrans" cxnId="{39D9E0FD-F017-45EA-BAFB-FDC63B73E39A}">
      <dgm:prSet/>
      <dgm:spPr/>
      <dgm:t>
        <a:bodyPr/>
        <a:lstStyle/>
        <a:p>
          <a:endParaRPr lang="en-GB"/>
        </a:p>
      </dgm:t>
    </dgm:pt>
    <dgm:pt modelId="{53D35704-AA77-43C7-93BA-C55D54BFD48F}">
      <dgm:prSet custT="1"/>
      <dgm:spPr/>
      <dgm:t>
        <a:bodyPr/>
        <a:lstStyle/>
        <a:p>
          <a:pPr>
            <a:buFont typeface="Arial" panose="020B0604020202020204" pitchFamily="34" charset="0"/>
            <a:buChar char="•"/>
          </a:pPr>
          <a:r>
            <a:rPr lang="en-GB" altLang="de-DE" sz="1200" err="1">
              <a:solidFill>
                <a:srgbClr val="000000"/>
              </a:solidFill>
              <a:latin typeface="+mn-lt"/>
              <a:cs typeface="Arial"/>
            </a:rPr>
            <a:t>Kommunale</a:t>
          </a:r>
          <a:r>
            <a:rPr lang="en-GB" altLang="de-DE" sz="1200">
              <a:solidFill>
                <a:srgbClr val="000000"/>
              </a:solidFill>
              <a:latin typeface="+mn-lt"/>
              <a:cs typeface="Arial"/>
            </a:rPr>
            <a:t> </a:t>
          </a:r>
          <a:r>
            <a:rPr lang="en-GB" altLang="de-DE" sz="1200" err="1">
              <a:solidFill>
                <a:srgbClr val="000000"/>
              </a:solidFill>
              <a:latin typeface="+mn-lt"/>
              <a:cs typeface="Arial"/>
            </a:rPr>
            <a:t>Unternehmen</a:t>
          </a:r>
          <a:r>
            <a:rPr lang="en-GB" altLang="de-DE" sz="1200">
              <a:solidFill>
                <a:srgbClr val="000000"/>
              </a:solidFill>
              <a:latin typeface="+mn-lt"/>
              <a:cs typeface="Arial"/>
            </a:rPr>
            <a:t>, </a:t>
          </a:r>
          <a:r>
            <a:rPr lang="en-GB" altLang="de-DE" sz="1200" err="1">
              <a:solidFill>
                <a:srgbClr val="000000"/>
              </a:solidFill>
              <a:latin typeface="+mn-lt"/>
              <a:cs typeface="Arial"/>
            </a:rPr>
            <a:t>Landesunternehmen</a:t>
          </a:r>
          <a:endParaRPr lang="en-GB" altLang="de-DE" sz="1200">
            <a:solidFill>
              <a:srgbClr val="000000"/>
            </a:solidFill>
            <a:latin typeface="+mn-lt"/>
            <a:cs typeface="Arial"/>
          </a:endParaRPr>
        </a:p>
      </dgm:t>
    </dgm:pt>
    <dgm:pt modelId="{427C2995-2556-43AA-B0EF-512FE5FC5083}" type="parTrans" cxnId="{5B457D9E-C6C5-4F76-B2F2-AC610A549790}">
      <dgm:prSet/>
      <dgm:spPr/>
      <dgm:t>
        <a:bodyPr/>
        <a:lstStyle/>
        <a:p>
          <a:endParaRPr lang="en-GB"/>
        </a:p>
      </dgm:t>
    </dgm:pt>
    <dgm:pt modelId="{8C790BC4-E7EC-4FA4-BCBD-B52E608EC6A6}" type="sibTrans" cxnId="{5B457D9E-C6C5-4F76-B2F2-AC610A549790}">
      <dgm:prSet/>
      <dgm:spPr/>
      <dgm:t>
        <a:bodyPr/>
        <a:lstStyle/>
        <a:p>
          <a:endParaRPr lang="en-GB"/>
        </a:p>
      </dgm:t>
    </dgm:pt>
    <dgm:pt modelId="{994FB6D0-412D-4523-A5F8-A61894B174BF}">
      <dgm:prSet custT="1"/>
      <dgm:spPr/>
      <dgm:t>
        <a:bodyPr/>
        <a:lstStyle/>
        <a:p>
          <a:pPr>
            <a:buFont typeface="Arial" panose="020B0604020202020204" pitchFamily="34" charset="0"/>
            <a:buChar char="•"/>
          </a:pPr>
          <a:r>
            <a:rPr lang="en-GB" altLang="de-DE" sz="1200" err="1">
              <a:solidFill>
                <a:srgbClr val="000000"/>
              </a:solidFill>
              <a:latin typeface="+mn-lt"/>
              <a:cs typeface="Arial"/>
            </a:rPr>
            <a:t>Freiberuflich</a:t>
          </a:r>
          <a:r>
            <a:rPr lang="en-GB" altLang="de-DE" sz="1200">
              <a:solidFill>
                <a:srgbClr val="000000"/>
              </a:solidFill>
              <a:latin typeface="+mn-lt"/>
              <a:cs typeface="Arial"/>
            </a:rPr>
            <a:t> Tätige</a:t>
          </a:r>
        </a:p>
      </dgm:t>
    </dgm:pt>
    <dgm:pt modelId="{C2F928F1-34AA-4D50-91B7-E70F0C08199B}" type="parTrans" cxnId="{7A4F9AB6-5D3E-4574-8766-5BF9C3B98674}">
      <dgm:prSet/>
      <dgm:spPr/>
      <dgm:t>
        <a:bodyPr/>
        <a:lstStyle/>
        <a:p>
          <a:endParaRPr lang="en-GB"/>
        </a:p>
      </dgm:t>
    </dgm:pt>
    <dgm:pt modelId="{538EE255-B60A-4CCA-AB1C-6E1F4F0D3DC4}" type="sibTrans" cxnId="{7A4F9AB6-5D3E-4574-8766-5BF9C3B98674}">
      <dgm:prSet/>
      <dgm:spPr/>
      <dgm:t>
        <a:bodyPr/>
        <a:lstStyle/>
        <a:p>
          <a:endParaRPr lang="en-GB"/>
        </a:p>
      </dgm:t>
    </dgm:pt>
    <dgm:pt modelId="{6DE7613D-E925-4A12-AE58-327D0F3C9789}">
      <dgm:prSet custT="1"/>
      <dgm:spPr/>
      <dgm:t>
        <a:bodyPr/>
        <a:lstStyle/>
        <a:p>
          <a:pPr rtl="0"/>
          <a:r>
            <a:rPr lang="de-DE" altLang="de-DE" sz="1200" b="0">
              <a:solidFill>
                <a:srgbClr val="000000"/>
              </a:solidFill>
              <a:cs typeface="Arial"/>
            </a:rPr>
            <a:t>Erwerb</a:t>
          </a:r>
          <a:r>
            <a:rPr lang="de-DE" altLang="de-DE" sz="1200" b="0">
              <a:solidFill>
                <a:srgbClr val="000000"/>
              </a:solidFill>
              <a:latin typeface="Segoe UI"/>
              <a:cs typeface="Arial"/>
            </a:rPr>
            <a:t>,</a:t>
          </a:r>
          <a:r>
            <a:rPr lang="de-DE" altLang="de-DE" sz="1200" b="0">
              <a:solidFill>
                <a:srgbClr val="000000"/>
              </a:solidFill>
              <a:cs typeface="Arial"/>
            </a:rPr>
            <a:t> Installation </a:t>
          </a:r>
          <a:r>
            <a:rPr lang="de-DE" altLang="de-DE" sz="1200" b="0">
              <a:solidFill>
                <a:srgbClr val="000000"/>
              </a:solidFill>
              <a:latin typeface="Segoe UI"/>
              <a:cs typeface="Arial"/>
            </a:rPr>
            <a:t>und Inbetriebnahme </a:t>
          </a:r>
          <a:r>
            <a:rPr lang="de-DE" altLang="de-DE" sz="1200" b="0">
              <a:solidFill>
                <a:srgbClr val="000000"/>
              </a:solidFill>
              <a:cs typeface="Arial"/>
            </a:rPr>
            <a:t>von sowie Schulung des Personals durch Dritte in Energiemanagement-Software</a:t>
          </a:r>
          <a:endParaRPr lang="en-GB" altLang="de-DE" sz="1200" b="0">
            <a:solidFill>
              <a:srgbClr val="000000"/>
            </a:solidFill>
            <a:cs typeface="Arial"/>
          </a:endParaRPr>
        </a:p>
      </dgm:t>
    </dgm:pt>
    <dgm:pt modelId="{A28E9610-2A04-4B16-9782-74E108F0BE69}" type="parTrans" cxnId="{D83C502D-12DC-4EB8-AE94-41AE2698ECBE}">
      <dgm:prSet/>
      <dgm:spPr/>
      <dgm:t>
        <a:bodyPr/>
        <a:lstStyle/>
        <a:p>
          <a:endParaRPr lang="en-GB"/>
        </a:p>
      </dgm:t>
    </dgm:pt>
    <dgm:pt modelId="{AAE82E07-22DB-4C87-9C07-9C4236FC4F0C}" type="sibTrans" cxnId="{D83C502D-12DC-4EB8-AE94-41AE2698ECBE}">
      <dgm:prSet/>
      <dgm:spPr/>
      <dgm:t>
        <a:bodyPr/>
        <a:lstStyle/>
        <a:p>
          <a:endParaRPr lang="en-GB"/>
        </a:p>
      </dgm:t>
    </dgm:pt>
    <dgm:pt modelId="{EE2E4AB0-604D-4EA7-890D-F2486CC1A4B4}">
      <dgm:prSet custT="1"/>
      <dgm:spPr/>
      <dgm:t>
        <a:bodyPr/>
        <a:lstStyle/>
        <a:p>
          <a:r>
            <a:rPr lang="de-DE" altLang="de-DE" sz="1200">
              <a:latin typeface="+mn-lt"/>
            </a:rPr>
            <a:t>Beihilferechtliche Vorgaben: Art. 38 AGVO</a:t>
          </a:r>
          <a:endParaRPr lang="en-GB" altLang="de-DE" sz="1200">
            <a:latin typeface="+mn-lt"/>
          </a:endParaRPr>
        </a:p>
      </dgm:t>
    </dgm:pt>
    <dgm:pt modelId="{058679B0-F6C2-4152-B8A4-D9660A5CF2FA}" type="parTrans" cxnId="{CD9821DB-0BBB-467E-B245-9C355A5BD155}">
      <dgm:prSet/>
      <dgm:spPr/>
      <dgm:t>
        <a:bodyPr/>
        <a:lstStyle/>
        <a:p>
          <a:endParaRPr lang="en-GB"/>
        </a:p>
      </dgm:t>
    </dgm:pt>
    <dgm:pt modelId="{BF592F47-8E11-42CF-87B7-CE4695C89D71}" type="sibTrans" cxnId="{CD9821DB-0BBB-467E-B245-9C355A5BD155}">
      <dgm:prSet/>
      <dgm:spPr/>
      <dgm:t>
        <a:bodyPr/>
        <a:lstStyle/>
        <a:p>
          <a:endParaRPr lang="en-GB"/>
        </a:p>
      </dgm:t>
    </dgm:pt>
    <dgm:pt modelId="{27648138-B716-41A0-A76C-626220E2874C}" type="pres">
      <dgm:prSet presAssocID="{FFCB392C-E190-4000-BC2B-8923E66F8E05}" presName="Name0" presStyleCnt="0">
        <dgm:presLayoutVars>
          <dgm:dir/>
          <dgm:animLvl val="lvl"/>
          <dgm:resizeHandles val="exact"/>
        </dgm:presLayoutVars>
      </dgm:prSet>
      <dgm:spPr/>
    </dgm:pt>
    <dgm:pt modelId="{1ADF6C26-1B25-4A78-B388-B1C46C817D76}" type="pres">
      <dgm:prSet presAssocID="{E6EFA897-0431-492F-B65F-D429EF9274CB}" presName="linNode" presStyleCnt="0"/>
      <dgm:spPr/>
    </dgm:pt>
    <dgm:pt modelId="{9C1950A7-783E-48B6-8E92-F40F44EBAD14}" type="pres">
      <dgm:prSet presAssocID="{E6EFA897-0431-492F-B65F-D429EF9274CB}" presName="parentText" presStyleLbl="node1" presStyleIdx="0" presStyleCnt="5" custScaleX="1418391" custScaleY="558981">
        <dgm:presLayoutVars>
          <dgm:chMax val="1"/>
          <dgm:bulletEnabled val="1"/>
        </dgm:presLayoutVars>
      </dgm:prSet>
      <dgm:spPr/>
    </dgm:pt>
    <dgm:pt modelId="{D4830C8F-A2AE-4990-90BF-6D9758F800E7}" type="pres">
      <dgm:prSet presAssocID="{E6EFA897-0431-492F-B65F-D429EF9274CB}" presName="descendantText" presStyleLbl="alignAccFollowNode1" presStyleIdx="0" presStyleCnt="5" custAng="0" custScaleX="2000000" custScaleY="702261">
        <dgm:presLayoutVars>
          <dgm:bulletEnabled val="1"/>
        </dgm:presLayoutVars>
      </dgm:prSet>
      <dgm:spPr>
        <a:prstGeom prst="roundRect">
          <a:avLst/>
        </a:prstGeom>
      </dgm:spPr>
    </dgm:pt>
    <dgm:pt modelId="{9203D1ED-D34A-4B16-8646-7FE2F50473D2}" type="pres">
      <dgm:prSet presAssocID="{7AEB0645-723A-40EF-ABFC-A5BB952678BD}" presName="sp" presStyleCnt="0"/>
      <dgm:spPr/>
    </dgm:pt>
    <dgm:pt modelId="{53851687-2ABD-4E48-9F25-DB16955D1D90}" type="pres">
      <dgm:prSet presAssocID="{03FEEBAF-B492-4AB8-89C6-4B4628CA1E26}" presName="linNode" presStyleCnt="0"/>
      <dgm:spPr/>
    </dgm:pt>
    <dgm:pt modelId="{6282B259-D810-400D-AF6A-A79E8F7BBC6B}" type="pres">
      <dgm:prSet presAssocID="{03FEEBAF-B492-4AB8-89C6-4B4628CA1E26}" presName="parentText" presStyleLbl="node1" presStyleIdx="1" presStyleCnt="5" custScaleX="1418391" custScaleY="498700">
        <dgm:presLayoutVars>
          <dgm:chMax val="1"/>
          <dgm:bulletEnabled val="1"/>
        </dgm:presLayoutVars>
      </dgm:prSet>
      <dgm:spPr>
        <a:prstGeom prst="roundRect">
          <a:avLst/>
        </a:prstGeom>
      </dgm:spPr>
    </dgm:pt>
    <dgm:pt modelId="{C3CA0957-EF4F-46A9-B14B-C34909532529}" type="pres">
      <dgm:prSet presAssocID="{03FEEBAF-B492-4AB8-89C6-4B4628CA1E26}" presName="descendantText" presStyleLbl="alignAccFollowNode1" presStyleIdx="1" presStyleCnt="5" custScaleX="2000000" custScaleY="621583">
        <dgm:presLayoutVars>
          <dgm:bulletEnabled val="1"/>
        </dgm:presLayoutVars>
      </dgm:prSet>
      <dgm:spPr>
        <a:prstGeom prst="roundRect">
          <a:avLst/>
        </a:prstGeom>
      </dgm:spPr>
    </dgm:pt>
    <dgm:pt modelId="{C9293F8E-C675-4E36-A65B-AAAC8006C733}" type="pres">
      <dgm:prSet presAssocID="{46A33D61-164A-49AF-AE7D-CEFC1DBAB295}" presName="sp" presStyleCnt="0"/>
      <dgm:spPr/>
    </dgm:pt>
    <dgm:pt modelId="{61D33F34-F888-4DD1-BA17-F953371D0B7A}" type="pres">
      <dgm:prSet presAssocID="{96260E3C-6263-485C-AAD5-4834D4569D00}" presName="linNode" presStyleCnt="0"/>
      <dgm:spPr/>
    </dgm:pt>
    <dgm:pt modelId="{E2E438A6-5F37-4E34-923A-0CA8673CDF3A}" type="pres">
      <dgm:prSet presAssocID="{96260E3C-6263-485C-AAD5-4834D4569D00}" presName="parentText" presStyleLbl="node1" presStyleIdx="2" presStyleCnt="5" custScaleX="86660" custScaleY="322204">
        <dgm:presLayoutVars>
          <dgm:chMax val="1"/>
          <dgm:bulletEnabled val="1"/>
        </dgm:presLayoutVars>
      </dgm:prSet>
      <dgm:spPr/>
    </dgm:pt>
    <dgm:pt modelId="{42205B36-F6FD-4A61-8A6C-F7C8A06C6790}" type="pres">
      <dgm:prSet presAssocID="{96260E3C-6263-485C-AAD5-4834D4569D00}" presName="descendantText" presStyleLbl="alignAccFollowNode1" presStyleIdx="2" presStyleCnt="5" custScaleX="122177" custScaleY="403070">
        <dgm:presLayoutVars>
          <dgm:bulletEnabled val="1"/>
        </dgm:presLayoutVars>
      </dgm:prSet>
      <dgm:spPr>
        <a:prstGeom prst="roundRect">
          <a:avLst/>
        </a:prstGeom>
      </dgm:spPr>
    </dgm:pt>
    <dgm:pt modelId="{CDDFDC90-580B-485A-9FC2-5DB7FE6F7287}" type="pres">
      <dgm:prSet presAssocID="{9118D841-7835-4425-89DF-5E2FF676BD2C}" presName="sp" presStyleCnt="0"/>
      <dgm:spPr/>
    </dgm:pt>
    <dgm:pt modelId="{73F3CA5A-E1C8-4A93-9B4D-EA5329F4F21A}" type="pres">
      <dgm:prSet presAssocID="{52BD68D0-EAE3-4487-ADC7-C30AD0C149E7}" presName="linNode" presStyleCnt="0"/>
      <dgm:spPr/>
    </dgm:pt>
    <dgm:pt modelId="{C8A9DE35-1CD6-4E88-9A7A-CD82966A87BF}" type="pres">
      <dgm:prSet presAssocID="{52BD68D0-EAE3-4487-ADC7-C30AD0C149E7}" presName="parentText" presStyleLbl="node1" presStyleIdx="3" presStyleCnt="5" custScaleX="114730" custScaleY="249807">
        <dgm:presLayoutVars>
          <dgm:chMax val="1"/>
          <dgm:bulletEnabled val="1"/>
        </dgm:presLayoutVars>
      </dgm:prSet>
      <dgm:spPr/>
    </dgm:pt>
    <dgm:pt modelId="{600B0FCE-F633-4F00-B20F-1253DB6B5E6E}" type="pres">
      <dgm:prSet presAssocID="{52BD68D0-EAE3-4487-ADC7-C30AD0C149E7}" presName="descendantText" presStyleLbl="alignAccFollowNode1" presStyleIdx="3" presStyleCnt="5" custScaleX="161690" custScaleY="311749">
        <dgm:presLayoutVars>
          <dgm:bulletEnabled val="1"/>
        </dgm:presLayoutVars>
      </dgm:prSet>
      <dgm:spPr>
        <a:prstGeom prst="roundRect">
          <a:avLst/>
        </a:prstGeom>
      </dgm:spPr>
    </dgm:pt>
    <dgm:pt modelId="{1A51CAE2-8F35-4B86-BC85-6FAB03C10C9B}" type="pres">
      <dgm:prSet presAssocID="{C8ED1CA2-595E-436E-B860-29E61D658492}" presName="sp" presStyleCnt="0"/>
      <dgm:spPr/>
    </dgm:pt>
    <dgm:pt modelId="{930F362C-C84D-4BD3-B965-79AFCF7BEE58}" type="pres">
      <dgm:prSet presAssocID="{52B98E0D-74B5-47F3-93A9-75219B6BCE70}" presName="linNode" presStyleCnt="0"/>
      <dgm:spPr/>
    </dgm:pt>
    <dgm:pt modelId="{36DCF81B-4ED1-4AD8-B27C-5FE0EF7F2B66}" type="pres">
      <dgm:prSet presAssocID="{52B98E0D-74B5-47F3-93A9-75219B6BCE70}" presName="parentText" presStyleLbl="node1" presStyleIdx="4" presStyleCnt="5" custScaleX="111007" custScaleY="175674">
        <dgm:presLayoutVars>
          <dgm:chMax val="1"/>
          <dgm:bulletEnabled val="1"/>
        </dgm:presLayoutVars>
      </dgm:prSet>
      <dgm:spPr/>
    </dgm:pt>
    <dgm:pt modelId="{BCBFAC89-216D-4DFF-897D-8C47A404ADDC}" type="pres">
      <dgm:prSet presAssocID="{52B98E0D-74B5-47F3-93A9-75219B6BCE70}" presName="descendantText" presStyleLbl="alignAccFollowNode1" presStyleIdx="4" presStyleCnt="5" custScaleX="156728" custScaleY="219096">
        <dgm:presLayoutVars>
          <dgm:bulletEnabled val="1"/>
        </dgm:presLayoutVars>
      </dgm:prSet>
      <dgm:spPr>
        <a:prstGeom prst="roundRect">
          <a:avLst/>
        </a:prstGeom>
      </dgm:spPr>
    </dgm:pt>
  </dgm:ptLst>
  <dgm:cxnLst>
    <dgm:cxn modelId="{9AA0FE0C-3498-4DEF-BAAA-9ECEAC181F28}" type="presOf" srcId="{FFCB392C-E190-4000-BC2B-8923E66F8E05}" destId="{27648138-B716-41A0-A76C-626220E2874C}" srcOrd="0" destOrd="0" presId="urn:microsoft.com/office/officeart/2005/8/layout/vList5"/>
    <dgm:cxn modelId="{8DB13611-D17D-4779-84EF-763DF9E3547C}" srcId="{E6EFA897-0431-492F-B65F-D429EF9274CB}" destId="{0B0E29F8-58DA-4B85-A037-33270222EDB5}" srcOrd="0" destOrd="0" parTransId="{6932F5EC-2FFE-483B-A29C-A66067ED0F62}" sibTransId="{B3303F4A-0797-479A-ADE6-B072AA2FE5D1}"/>
    <dgm:cxn modelId="{43BFD416-97C1-4479-9632-F33D116D1B1C}" type="presOf" srcId="{6DE7613D-E925-4A12-AE58-327D0F3C9789}" destId="{D4830C8F-A2AE-4990-90BF-6D9758F800E7}" srcOrd="0" destOrd="1" presId="urn:microsoft.com/office/officeart/2005/8/layout/vList5"/>
    <dgm:cxn modelId="{F95F9C27-E753-418D-AD5D-C296FAADD4BD}" type="presOf" srcId="{0A2167F3-4E3C-49E8-8F53-F429B724897B}" destId="{42205B36-F6FD-4A61-8A6C-F7C8A06C6790}" srcOrd="0" destOrd="0" presId="urn:microsoft.com/office/officeart/2005/8/layout/vList5"/>
    <dgm:cxn modelId="{A5523B2B-2528-40F6-A9F1-D7FD3059D53C}" type="presOf" srcId="{5B68FBBB-097B-4FC1-AC52-7BCB9A82E434}" destId="{C3CA0957-EF4F-46A9-B14B-C34909532529}" srcOrd="0" destOrd="0" presId="urn:microsoft.com/office/officeart/2005/8/layout/vList5"/>
    <dgm:cxn modelId="{D83C502D-12DC-4EB8-AE94-41AE2698ECBE}" srcId="{E6EFA897-0431-492F-B65F-D429EF9274CB}" destId="{6DE7613D-E925-4A12-AE58-327D0F3C9789}" srcOrd="1" destOrd="0" parTransId="{A28E9610-2A04-4B16-9782-74E108F0BE69}" sibTransId="{AAE82E07-22DB-4C87-9C07-9C4236FC4F0C}"/>
    <dgm:cxn modelId="{92F75A5B-779F-4B6B-9DC9-466C31D92B4C}" srcId="{96260E3C-6263-485C-AAD5-4834D4569D00}" destId="{0A2167F3-4E3C-49E8-8F53-F429B724897B}" srcOrd="0" destOrd="0" parTransId="{C31FCFD9-9839-42B9-909B-53DFE97C6A9D}" sibTransId="{981FCCCA-D06E-451D-858E-6E6DE23A18B8}"/>
    <dgm:cxn modelId="{CED7E969-D16B-49AC-9025-0639DE7A44EA}" srcId="{03FEEBAF-B492-4AB8-89C6-4B4628CA1E26}" destId="{5B68FBBB-097B-4FC1-AC52-7BCB9A82E434}" srcOrd="0" destOrd="0" parTransId="{659E152D-55D2-44AD-AE67-588F8779BF6F}" sibTransId="{2DEC8DEC-3F82-4CCC-A411-7762AAC03FEB}"/>
    <dgm:cxn modelId="{2B5F364B-9F67-4EFD-A893-5ED40B6C87FC}" srcId="{52BD68D0-EAE3-4487-ADC7-C30AD0C149E7}" destId="{9769D350-8FE4-4236-B37A-51F281FB0440}" srcOrd="0" destOrd="0" parTransId="{B162A309-DDB3-4E45-92DD-CDBE1CC908D1}" sibTransId="{E3E4F325-38EC-4BAF-80AB-9E71F04CCABD}"/>
    <dgm:cxn modelId="{6FA78E6B-EDBB-4C88-A015-C78BBD6DF4A4}" type="presOf" srcId="{B535A52B-C258-44C1-9035-ADC79AAC6E22}" destId="{C3CA0957-EF4F-46A9-B14B-C34909532529}" srcOrd="0" destOrd="1" presId="urn:microsoft.com/office/officeart/2005/8/layout/vList5"/>
    <dgm:cxn modelId="{4C02BB6C-62E0-4B38-BABC-C6745075E7FB}" srcId="{52B98E0D-74B5-47F3-93A9-75219B6BCE70}" destId="{0304314D-5BF1-42A8-BE34-2A2F0E95F676}" srcOrd="0" destOrd="0" parTransId="{804FF43D-A32E-451E-A676-9BB53C66ECED}" sibTransId="{45B9690B-B485-4BD2-A80E-FBB267D431B6}"/>
    <dgm:cxn modelId="{C9682A4E-F57B-4634-8E51-44FAB228FA44}" type="presOf" srcId="{52B98E0D-74B5-47F3-93A9-75219B6BCE70}" destId="{36DCF81B-4ED1-4AD8-B27C-5FE0EF7F2B66}" srcOrd="0" destOrd="0" presId="urn:microsoft.com/office/officeart/2005/8/layout/vList5"/>
    <dgm:cxn modelId="{84E6D674-155B-4E0C-98FA-DD06EBDC25BA}" srcId="{FFCB392C-E190-4000-BC2B-8923E66F8E05}" destId="{03FEEBAF-B492-4AB8-89C6-4B4628CA1E26}" srcOrd="1" destOrd="0" parTransId="{36E648EC-D32B-449E-9167-67FC1B8DDF49}" sibTransId="{46A33D61-164A-49AF-AE7D-CEFC1DBAB295}"/>
    <dgm:cxn modelId="{B3906475-0394-4793-903C-F3FDE315986F}" type="presOf" srcId="{53D35704-AA77-43C7-93BA-C55D54BFD48F}" destId="{C3CA0957-EF4F-46A9-B14B-C34909532529}" srcOrd="0" destOrd="2" presId="urn:microsoft.com/office/officeart/2005/8/layout/vList5"/>
    <dgm:cxn modelId="{F4407357-DA74-4905-8D57-999A75C49954}" srcId="{FFCB392C-E190-4000-BC2B-8923E66F8E05}" destId="{96260E3C-6263-485C-AAD5-4834D4569D00}" srcOrd="2" destOrd="0" parTransId="{2B5F8176-600B-448A-BAC4-07CC9809E5E1}" sibTransId="{9118D841-7835-4425-89DF-5E2FF676BD2C}"/>
    <dgm:cxn modelId="{2E6C1579-6082-4E33-A723-E845F8FBA423}" srcId="{FFCB392C-E190-4000-BC2B-8923E66F8E05}" destId="{E6EFA897-0431-492F-B65F-D429EF9274CB}" srcOrd="0" destOrd="0" parTransId="{3F2A00E6-14CF-4B7B-83A8-308789775694}" sibTransId="{7AEB0645-723A-40EF-ABFC-A5BB952678BD}"/>
    <dgm:cxn modelId="{1261B27E-0369-4095-9661-BBC2129CF9E6}" type="presOf" srcId="{9769D350-8FE4-4236-B37A-51F281FB0440}" destId="{600B0FCE-F633-4F00-B20F-1253DB6B5E6E}" srcOrd="0" destOrd="0" presId="urn:microsoft.com/office/officeart/2005/8/layout/vList5"/>
    <dgm:cxn modelId="{F1270984-F461-4C12-ACC0-75C88A60C205}" srcId="{FFCB392C-E190-4000-BC2B-8923E66F8E05}" destId="{52BD68D0-EAE3-4487-ADC7-C30AD0C149E7}" srcOrd="3" destOrd="0" parTransId="{BB9FE834-9348-4C65-ABF7-D62613A39635}" sibTransId="{C8ED1CA2-595E-436E-B860-29E61D658492}"/>
    <dgm:cxn modelId="{F4AE0B8F-C03C-4B18-BFD0-82617CBBED97}" type="presOf" srcId="{0B0E29F8-58DA-4B85-A037-33270222EDB5}" destId="{D4830C8F-A2AE-4990-90BF-6D9758F800E7}" srcOrd="0" destOrd="0" presId="urn:microsoft.com/office/officeart/2005/8/layout/vList5"/>
    <dgm:cxn modelId="{5B457D9E-C6C5-4F76-B2F2-AC610A549790}" srcId="{03FEEBAF-B492-4AB8-89C6-4B4628CA1E26}" destId="{53D35704-AA77-43C7-93BA-C55D54BFD48F}" srcOrd="2" destOrd="0" parTransId="{427C2995-2556-43AA-B0EF-512FE5FC5083}" sibTransId="{8C790BC4-E7EC-4FA4-BCBD-B52E608EC6A6}"/>
    <dgm:cxn modelId="{3E55F69F-6918-4B83-A532-D17F8009FCD1}" type="presOf" srcId="{EE2E4AB0-604D-4EA7-890D-F2486CC1A4B4}" destId="{42205B36-F6FD-4A61-8A6C-F7C8A06C6790}" srcOrd="0" destOrd="1" presId="urn:microsoft.com/office/officeart/2005/8/layout/vList5"/>
    <dgm:cxn modelId="{B6EACBB4-A375-443D-902C-3E742EA6A7AB}" type="presOf" srcId="{0304314D-5BF1-42A8-BE34-2A2F0E95F676}" destId="{BCBFAC89-216D-4DFF-897D-8C47A404ADDC}" srcOrd="0" destOrd="0" presId="urn:microsoft.com/office/officeart/2005/8/layout/vList5"/>
    <dgm:cxn modelId="{7A4F9AB6-5D3E-4574-8766-5BF9C3B98674}" srcId="{03FEEBAF-B492-4AB8-89C6-4B4628CA1E26}" destId="{994FB6D0-412D-4523-A5F8-A61894B174BF}" srcOrd="3" destOrd="0" parTransId="{C2F928F1-34AA-4D50-91B7-E70F0C08199B}" sibTransId="{538EE255-B60A-4CCA-AB1C-6E1F4F0D3DC4}"/>
    <dgm:cxn modelId="{63E0AEB6-5CA9-4601-B05E-15DA2DE71DE1}" type="presOf" srcId="{03FEEBAF-B492-4AB8-89C6-4B4628CA1E26}" destId="{6282B259-D810-400D-AF6A-A79E8F7BBC6B}" srcOrd="0" destOrd="0" presId="urn:microsoft.com/office/officeart/2005/8/layout/vList5"/>
    <dgm:cxn modelId="{186ADDC8-E13B-497A-B8CC-268BA4BB6882}" type="presOf" srcId="{E6EFA897-0431-492F-B65F-D429EF9274CB}" destId="{9C1950A7-783E-48B6-8E92-F40F44EBAD14}" srcOrd="0" destOrd="0" presId="urn:microsoft.com/office/officeart/2005/8/layout/vList5"/>
    <dgm:cxn modelId="{3A754EC9-4700-4E62-8D18-497E27C681AD}" type="presOf" srcId="{96260E3C-6263-485C-AAD5-4834D4569D00}" destId="{E2E438A6-5F37-4E34-923A-0CA8673CDF3A}" srcOrd="0" destOrd="0" presId="urn:microsoft.com/office/officeart/2005/8/layout/vList5"/>
    <dgm:cxn modelId="{F531DFD7-07AA-48BC-97A3-BB6A36560940}" type="presOf" srcId="{994FB6D0-412D-4523-A5F8-A61894B174BF}" destId="{C3CA0957-EF4F-46A9-B14B-C34909532529}" srcOrd="0" destOrd="3" presId="urn:microsoft.com/office/officeart/2005/8/layout/vList5"/>
    <dgm:cxn modelId="{CD9821DB-0BBB-467E-B245-9C355A5BD155}" srcId="{96260E3C-6263-485C-AAD5-4834D4569D00}" destId="{EE2E4AB0-604D-4EA7-890D-F2486CC1A4B4}" srcOrd="1" destOrd="0" parTransId="{058679B0-F6C2-4152-B8A4-D9660A5CF2FA}" sibTransId="{BF592F47-8E11-42CF-87B7-CE4695C89D71}"/>
    <dgm:cxn modelId="{ABAFECDC-449D-4D07-9045-9B6BBF5D33E9}" type="presOf" srcId="{52BD68D0-EAE3-4487-ADC7-C30AD0C149E7}" destId="{C8A9DE35-1CD6-4E88-9A7A-CD82966A87BF}" srcOrd="0" destOrd="0" presId="urn:microsoft.com/office/officeart/2005/8/layout/vList5"/>
    <dgm:cxn modelId="{954AB5ED-19D8-4B9F-9274-A07D3F0B86DC}" srcId="{FFCB392C-E190-4000-BC2B-8923E66F8E05}" destId="{52B98E0D-74B5-47F3-93A9-75219B6BCE70}" srcOrd="4" destOrd="0" parTransId="{98C1EE2D-85CD-4DF7-BA31-B2037EADB0D7}" sibTransId="{CD1C99D8-452D-4FB0-BFC1-18CE9E5E8FC6}"/>
    <dgm:cxn modelId="{39D9E0FD-F017-45EA-BAFB-FDC63B73E39A}" srcId="{03FEEBAF-B492-4AB8-89C6-4B4628CA1E26}" destId="{B535A52B-C258-44C1-9035-ADC79AAC6E22}" srcOrd="1" destOrd="0" parTransId="{78012BCF-69C4-449C-AEC3-B0589F8833DB}" sibTransId="{54675BED-98AD-47D3-B7E7-149A294E27B8}"/>
    <dgm:cxn modelId="{36623C55-CE13-4AD6-BE4E-AD62A1CBA121}" type="presParOf" srcId="{27648138-B716-41A0-A76C-626220E2874C}" destId="{1ADF6C26-1B25-4A78-B388-B1C46C817D76}" srcOrd="0" destOrd="0" presId="urn:microsoft.com/office/officeart/2005/8/layout/vList5"/>
    <dgm:cxn modelId="{4DECFFBA-D269-4BF6-BE7C-8704F340A47C}" type="presParOf" srcId="{1ADF6C26-1B25-4A78-B388-B1C46C817D76}" destId="{9C1950A7-783E-48B6-8E92-F40F44EBAD14}" srcOrd="0" destOrd="0" presId="urn:microsoft.com/office/officeart/2005/8/layout/vList5"/>
    <dgm:cxn modelId="{49D490F8-05D0-4A47-83E7-1EE4A6BF73D4}" type="presParOf" srcId="{1ADF6C26-1B25-4A78-B388-B1C46C817D76}" destId="{D4830C8F-A2AE-4990-90BF-6D9758F800E7}" srcOrd="1" destOrd="0" presId="urn:microsoft.com/office/officeart/2005/8/layout/vList5"/>
    <dgm:cxn modelId="{5B9BC308-3876-4978-BF6D-848C851655F5}" type="presParOf" srcId="{27648138-B716-41A0-A76C-626220E2874C}" destId="{9203D1ED-D34A-4B16-8646-7FE2F50473D2}" srcOrd="1" destOrd="0" presId="urn:microsoft.com/office/officeart/2005/8/layout/vList5"/>
    <dgm:cxn modelId="{76438024-2C90-4EBC-ABBD-DF4056D36DDD}" type="presParOf" srcId="{27648138-B716-41A0-A76C-626220E2874C}" destId="{53851687-2ABD-4E48-9F25-DB16955D1D90}" srcOrd="2" destOrd="0" presId="urn:microsoft.com/office/officeart/2005/8/layout/vList5"/>
    <dgm:cxn modelId="{EDDEF264-1614-484B-B8FD-C8A0587F3E52}" type="presParOf" srcId="{53851687-2ABD-4E48-9F25-DB16955D1D90}" destId="{6282B259-D810-400D-AF6A-A79E8F7BBC6B}" srcOrd="0" destOrd="0" presId="urn:microsoft.com/office/officeart/2005/8/layout/vList5"/>
    <dgm:cxn modelId="{D30CBBBF-CA02-44E5-99C0-F6F65FB68257}" type="presParOf" srcId="{53851687-2ABD-4E48-9F25-DB16955D1D90}" destId="{C3CA0957-EF4F-46A9-B14B-C34909532529}" srcOrd="1" destOrd="0" presId="urn:microsoft.com/office/officeart/2005/8/layout/vList5"/>
    <dgm:cxn modelId="{BDFEC1CA-78BC-4DE1-9EB9-E38E7B8E9596}" type="presParOf" srcId="{27648138-B716-41A0-A76C-626220E2874C}" destId="{C9293F8E-C675-4E36-A65B-AAAC8006C733}" srcOrd="3" destOrd="0" presId="urn:microsoft.com/office/officeart/2005/8/layout/vList5"/>
    <dgm:cxn modelId="{C4B2619F-7DA6-4658-AA77-2FDF39975197}" type="presParOf" srcId="{27648138-B716-41A0-A76C-626220E2874C}" destId="{61D33F34-F888-4DD1-BA17-F953371D0B7A}" srcOrd="4" destOrd="0" presId="urn:microsoft.com/office/officeart/2005/8/layout/vList5"/>
    <dgm:cxn modelId="{2FD8CD44-C7F9-43AD-9B52-630B7CC91C5C}" type="presParOf" srcId="{61D33F34-F888-4DD1-BA17-F953371D0B7A}" destId="{E2E438A6-5F37-4E34-923A-0CA8673CDF3A}" srcOrd="0" destOrd="0" presId="urn:microsoft.com/office/officeart/2005/8/layout/vList5"/>
    <dgm:cxn modelId="{5F124C72-3FD6-4255-B876-8999C771D87C}" type="presParOf" srcId="{61D33F34-F888-4DD1-BA17-F953371D0B7A}" destId="{42205B36-F6FD-4A61-8A6C-F7C8A06C6790}" srcOrd="1" destOrd="0" presId="urn:microsoft.com/office/officeart/2005/8/layout/vList5"/>
    <dgm:cxn modelId="{5E0D6B70-5F2F-45A3-86AA-183C13C1A6AA}" type="presParOf" srcId="{27648138-B716-41A0-A76C-626220E2874C}" destId="{CDDFDC90-580B-485A-9FC2-5DB7FE6F7287}" srcOrd="5" destOrd="0" presId="urn:microsoft.com/office/officeart/2005/8/layout/vList5"/>
    <dgm:cxn modelId="{6F253042-D7C8-4B7D-9FEF-FB031CBF6CC5}" type="presParOf" srcId="{27648138-B716-41A0-A76C-626220E2874C}" destId="{73F3CA5A-E1C8-4A93-9B4D-EA5329F4F21A}" srcOrd="6" destOrd="0" presId="urn:microsoft.com/office/officeart/2005/8/layout/vList5"/>
    <dgm:cxn modelId="{4245BE60-5409-4B2F-AD96-F4F63CC1432C}" type="presParOf" srcId="{73F3CA5A-E1C8-4A93-9B4D-EA5329F4F21A}" destId="{C8A9DE35-1CD6-4E88-9A7A-CD82966A87BF}" srcOrd="0" destOrd="0" presId="urn:microsoft.com/office/officeart/2005/8/layout/vList5"/>
    <dgm:cxn modelId="{E8E8B4AE-4F7E-4AD5-8A15-D14916C48492}" type="presParOf" srcId="{73F3CA5A-E1C8-4A93-9B4D-EA5329F4F21A}" destId="{600B0FCE-F633-4F00-B20F-1253DB6B5E6E}" srcOrd="1" destOrd="0" presId="urn:microsoft.com/office/officeart/2005/8/layout/vList5"/>
    <dgm:cxn modelId="{BAD311A2-24F2-4CE9-8646-DFB9F5F6B5A3}" type="presParOf" srcId="{27648138-B716-41A0-A76C-626220E2874C}" destId="{1A51CAE2-8F35-4B86-BC85-6FAB03C10C9B}" srcOrd="7" destOrd="0" presId="urn:microsoft.com/office/officeart/2005/8/layout/vList5"/>
    <dgm:cxn modelId="{4A598431-260C-4E6E-83BF-52CFC9204234}" type="presParOf" srcId="{27648138-B716-41A0-A76C-626220E2874C}" destId="{930F362C-C84D-4BD3-B965-79AFCF7BEE58}" srcOrd="8" destOrd="0" presId="urn:microsoft.com/office/officeart/2005/8/layout/vList5"/>
    <dgm:cxn modelId="{6E3D6817-2E12-447E-B66E-93CED88B1220}" type="presParOf" srcId="{930F362C-C84D-4BD3-B965-79AFCF7BEE58}" destId="{36DCF81B-4ED1-4AD8-B27C-5FE0EF7F2B66}" srcOrd="0" destOrd="0" presId="urn:microsoft.com/office/officeart/2005/8/layout/vList5"/>
    <dgm:cxn modelId="{6C99B66F-E916-4FEB-B3E8-02761F76055D}" type="presParOf" srcId="{930F362C-C84D-4BD3-B965-79AFCF7BEE58}" destId="{BCBFAC89-216D-4DFF-897D-8C47A404ADDC}"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FFCB392C-E190-4000-BC2B-8923E66F8E05}"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GB"/>
        </a:p>
      </dgm:t>
    </dgm:pt>
    <dgm:pt modelId="{E6EFA897-0431-492F-B65F-D429EF9274CB}">
      <dgm:prSet phldrT="[Text]" custT="1"/>
      <dgm:spPr>
        <a:solidFill>
          <a:srgbClr val="FC5B2F"/>
        </a:solidFill>
        <a:ln w="63500">
          <a:solidFill>
            <a:schemeClr val="bg1"/>
          </a:solidFill>
        </a:ln>
      </dgm:spPr>
      <dgm:t>
        <a:bodyPr/>
        <a:lstStyle/>
        <a:p>
          <a:r>
            <a:rPr lang="de-DE" sz="2000" b="1" dirty="0"/>
            <a:t>WAS?</a:t>
          </a:r>
          <a:endParaRPr lang="en-GB" sz="2000" b="1" dirty="0"/>
        </a:p>
      </dgm:t>
    </dgm:pt>
    <dgm:pt modelId="{3F2A00E6-14CF-4B7B-83A8-308789775694}" type="parTrans" cxnId="{2E6C1579-6082-4E33-A723-E845F8FBA423}">
      <dgm:prSet/>
      <dgm:spPr/>
      <dgm:t>
        <a:bodyPr/>
        <a:lstStyle/>
        <a:p>
          <a:endParaRPr lang="en-GB"/>
        </a:p>
      </dgm:t>
    </dgm:pt>
    <dgm:pt modelId="{7AEB0645-723A-40EF-ABFC-A5BB952678BD}" type="sibTrans" cxnId="{2E6C1579-6082-4E33-A723-E845F8FBA423}">
      <dgm:prSet/>
      <dgm:spPr/>
      <dgm:t>
        <a:bodyPr/>
        <a:lstStyle/>
        <a:p>
          <a:endParaRPr lang="en-GB"/>
        </a:p>
      </dgm:t>
    </dgm:pt>
    <dgm:pt modelId="{03FEEBAF-B492-4AB8-89C6-4B4628CA1E26}">
      <dgm:prSet phldrT="[Text]" custT="1"/>
      <dgm:spPr>
        <a:solidFill>
          <a:srgbClr val="FC5B2F"/>
        </a:solidFill>
        <a:ln w="63500">
          <a:solidFill>
            <a:schemeClr val="bg1"/>
          </a:solidFill>
        </a:ln>
      </dgm:spPr>
      <dgm:t>
        <a:bodyPr/>
        <a:lstStyle/>
        <a:p>
          <a:r>
            <a:rPr lang="de-DE" sz="2000" b="1" dirty="0"/>
            <a:t>WER?</a:t>
          </a:r>
          <a:endParaRPr lang="en-GB" sz="2000" b="1" dirty="0"/>
        </a:p>
      </dgm:t>
    </dgm:pt>
    <dgm:pt modelId="{36E648EC-D32B-449E-9167-67FC1B8DDF49}" type="parTrans" cxnId="{84E6D674-155B-4E0C-98FA-DD06EBDC25BA}">
      <dgm:prSet/>
      <dgm:spPr/>
      <dgm:t>
        <a:bodyPr/>
        <a:lstStyle/>
        <a:p>
          <a:endParaRPr lang="en-GB"/>
        </a:p>
      </dgm:t>
    </dgm:pt>
    <dgm:pt modelId="{46A33D61-164A-49AF-AE7D-CEFC1DBAB295}" type="sibTrans" cxnId="{84E6D674-155B-4E0C-98FA-DD06EBDC25BA}">
      <dgm:prSet/>
      <dgm:spPr/>
      <dgm:t>
        <a:bodyPr/>
        <a:lstStyle/>
        <a:p>
          <a:endParaRPr lang="en-GB"/>
        </a:p>
      </dgm:t>
    </dgm:pt>
    <dgm:pt modelId="{96260E3C-6263-485C-AAD5-4834D4569D00}">
      <dgm:prSet phldrT="[Text]" custT="1"/>
      <dgm:spPr>
        <a:solidFill>
          <a:srgbClr val="FC5B2F"/>
        </a:solidFill>
        <a:ln w="63500">
          <a:solidFill>
            <a:schemeClr val="bg1"/>
          </a:solidFill>
        </a:ln>
      </dgm:spPr>
      <dgm:t>
        <a:bodyPr/>
        <a:lstStyle/>
        <a:p>
          <a:r>
            <a:rPr lang="de-DE" sz="2000" b="1" dirty="0"/>
            <a:t>WIE VIEL?</a:t>
          </a:r>
          <a:endParaRPr lang="en-GB" sz="2000" b="1" dirty="0"/>
        </a:p>
      </dgm:t>
    </dgm:pt>
    <dgm:pt modelId="{2B5F8176-600B-448A-BAC4-07CC9809E5E1}" type="parTrans" cxnId="{F4407357-DA74-4905-8D57-999A75C49954}">
      <dgm:prSet/>
      <dgm:spPr/>
      <dgm:t>
        <a:bodyPr/>
        <a:lstStyle/>
        <a:p>
          <a:endParaRPr lang="en-GB"/>
        </a:p>
      </dgm:t>
    </dgm:pt>
    <dgm:pt modelId="{9118D841-7835-4425-89DF-5E2FF676BD2C}" type="sibTrans" cxnId="{F4407357-DA74-4905-8D57-999A75C49954}">
      <dgm:prSet/>
      <dgm:spPr/>
      <dgm:t>
        <a:bodyPr/>
        <a:lstStyle/>
        <a:p>
          <a:endParaRPr lang="en-GB"/>
        </a:p>
      </dgm:t>
    </dgm:pt>
    <dgm:pt modelId="{0A2167F3-4E3C-49E8-8F53-F429B724897B}">
      <dgm:prSet phldrT="[Text]" custT="1"/>
      <dgm:spPr>
        <a:solidFill>
          <a:srgbClr val="FEEAE8">
            <a:alpha val="90000"/>
          </a:srgbClr>
        </a:solidFill>
        <a:ln w="63500" cap="rnd">
          <a:solidFill>
            <a:schemeClr val="bg1"/>
          </a:solidFill>
          <a:round/>
        </a:ln>
      </dgm:spPr>
      <dgm:t>
        <a:bodyPr/>
        <a:lstStyle/>
        <a:p>
          <a:pPr rtl="0"/>
          <a:r>
            <a:rPr lang="de-DE" altLang="de-DE" sz="1200" dirty="0">
              <a:latin typeface="+mn-lt"/>
            </a:rPr>
            <a:t>40 % der förderfähigen Kosten, 50 % für mittlere Unternehmen und 60 % für kleine Unternehmen + 10 Prozentpunkte </a:t>
          </a:r>
          <a:r>
            <a:rPr lang="en-GB" altLang="de-DE" sz="1200" dirty="0" err="1">
              <a:latin typeface="+mn-lt"/>
            </a:rPr>
            <a:t>bei</a:t>
          </a:r>
          <a:r>
            <a:rPr lang="en-GB" altLang="de-DE" sz="1200" dirty="0">
              <a:latin typeface="+mn-lt"/>
            </a:rPr>
            <a:t> </a:t>
          </a:r>
          <a:r>
            <a:rPr lang="en-GB" altLang="de-DE" sz="1200" dirty="0" err="1">
              <a:latin typeface="+mn-lt"/>
            </a:rPr>
            <a:t>Mitgliedschaft</a:t>
          </a:r>
          <a:r>
            <a:rPr lang="en-GB" altLang="de-DE" sz="1200" dirty="0">
              <a:latin typeface="+mn-lt"/>
            </a:rPr>
            <a:t> in der Initiative </a:t>
          </a:r>
          <a:r>
            <a:rPr lang="en-GB" altLang="de-DE" sz="1200" dirty="0" err="1">
              <a:latin typeface="+mn-lt"/>
            </a:rPr>
            <a:t>Energieeffizienz</a:t>
          </a:r>
          <a:r>
            <a:rPr lang="en-GB" altLang="de-DE" sz="1200" dirty="0">
              <a:latin typeface="+mn-lt"/>
            </a:rPr>
            <a:t>- und </a:t>
          </a:r>
          <a:r>
            <a:rPr lang="en-GB" altLang="de-DE" sz="1200" dirty="0" err="1">
              <a:latin typeface="+mn-lt"/>
            </a:rPr>
            <a:t>Klimaschutz-Netzwerke</a:t>
          </a:r>
          <a:r>
            <a:rPr lang="en-GB" altLang="de-DE" sz="1200" dirty="0">
              <a:latin typeface="+mn-lt"/>
            </a:rPr>
            <a:t> (IEEKN)</a:t>
          </a:r>
        </a:p>
      </dgm:t>
    </dgm:pt>
    <dgm:pt modelId="{C31FCFD9-9839-42B9-909B-53DFE97C6A9D}" type="parTrans" cxnId="{92F75A5B-779F-4B6B-9DC9-466C31D92B4C}">
      <dgm:prSet/>
      <dgm:spPr/>
      <dgm:t>
        <a:bodyPr/>
        <a:lstStyle/>
        <a:p>
          <a:endParaRPr lang="en-GB"/>
        </a:p>
      </dgm:t>
    </dgm:pt>
    <dgm:pt modelId="{981FCCCA-D06E-451D-858E-6E6DE23A18B8}" type="sibTrans" cxnId="{92F75A5B-779F-4B6B-9DC9-466C31D92B4C}">
      <dgm:prSet/>
      <dgm:spPr/>
      <dgm:t>
        <a:bodyPr/>
        <a:lstStyle/>
        <a:p>
          <a:endParaRPr lang="en-GB"/>
        </a:p>
      </dgm:t>
    </dgm:pt>
    <dgm:pt modelId="{52BD68D0-EAE3-4487-ADC7-C30AD0C149E7}">
      <dgm:prSet phldrT="[Text]" custT="1"/>
      <dgm:spPr>
        <a:solidFill>
          <a:srgbClr val="FC5B2F"/>
        </a:solidFill>
        <a:ln w="63500">
          <a:solidFill>
            <a:schemeClr val="bg1"/>
          </a:solidFill>
        </a:ln>
      </dgm:spPr>
      <dgm:t>
        <a:bodyPr/>
        <a:lstStyle/>
        <a:p>
          <a:r>
            <a:rPr lang="de-DE" sz="2000" b="1" dirty="0"/>
            <a:t>WO?</a:t>
          </a:r>
          <a:endParaRPr lang="en-GB" sz="2000" b="1" dirty="0"/>
        </a:p>
      </dgm:t>
    </dgm:pt>
    <dgm:pt modelId="{BB9FE834-9348-4C65-ABF7-D62613A39635}" type="parTrans" cxnId="{F1270984-F461-4C12-ACC0-75C88A60C205}">
      <dgm:prSet/>
      <dgm:spPr/>
      <dgm:t>
        <a:bodyPr/>
        <a:lstStyle/>
        <a:p>
          <a:endParaRPr lang="en-GB"/>
        </a:p>
      </dgm:t>
    </dgm:pt>
    <dgm:pt modelId="{C8ED1CA2-595E-436E-B860-29E61D658492}" type="sibTrans" cxnId="{F1270984-F461-4C12-ACC0-75C88A60C205}">
      <dgm:prSet/>
      <dgm:spPr/>
      <dgm:t>
        <a:bodyPr/>
        <a:lstStyle/>
        <a:p>
          <a:endParaRPr lang="en-GB"/>
        </a:p>
      </dgm:t>
    </dgm:pt>
    <dgm:pt modelId="{52B98E0D-74B5-47F3-93A9-75219B6BCE70}">
      <dgm:prSet phldrT="[Text]" custT="1"/>
      <dgm:spPr>
        <a:solidFill>
          <a:srgbClr val="FC5B2F"/>
        </a:solidFill>
        <a:ln w="63500">
          <a:solidFill>
            <a:schemeClr val="bg1"/>
          </a:solidFill>
        </a:ln>
      </dgm:spPr>
      <dgm:t>
        <a:bodyPr/>
        <a:lstStyle/>
        <a:p>
          <a:r>
            <a:rPr lang="de-DE" sz="2000" b="1" dirty="0"/>
            <a:t>BIS WANN?</a:t>
          </a:r>
          <a:endParaRPr lang="en-GB" sz="2000" b="1" dirty="0"/>
        </a:p>
      </dgm:t>
    </dgm:pt>
    <dgm:pt modelId="{98C1EE2D-85CD-4DF7-BA31-B2037EADB0D7}" type="parTrans" cxnId="{954AB5ED-19D8-4B9F-9274-A07D3F0B86DC}">
      <dgm:prSet/>
      <dgm:spPr/>
      <dgm:t>
        <a:bodyPr/>
        <a:lstStyle/>
        <a:p>
          <a:endParaRPr lang="en-GB"/>
        </a:p>
      </dgm:t>
    </dgm:pt>
    <dgm:pt modelId="{CD1C99D8-452D-4FB0-BFC1-18CE9E5E8FC6}" type="sibTrans" cxnId="{954AB5ED-19D8-4B9F-9274-A07D3F0B86DC}">
      <dgm:prSet/>
      <dgm:spPr/>
      <dgm:t>
        <a:bodyPr/>
        <a:lstStyle/>
        <a:p>
          <a:endParaRPr lang="en-GB"/>
        </a:p>
      </dgm:t>
    </dgm:pt>
    <dgm:pt modelId="{9769D350-8FE4-4236-B37A-51F281FB0440}">
      <dgm:prSet phldrT="[Text]" custT="1"/>
      <dgm:spPr>
        <a:solidFill>
          <a:srgbClr val="FEEAE8">
            <a:alpha val="90000"/>
          </a:srgbClr>
        </a:solidFill>
        <a:ln w="63500" cap="rnd">
          <a:solidFill>
            <a:schemeClr val="bg1">
              <a:alpha val="90000"/>
            </a:schemeClr>
          </a:solidFill>
          <a:round/>
        </a:ln>
      </dgm:spPr>
      <dgm:t>
        <a:bodyPr/>
        <a:lstStyle/>
        <a:p>
          <a:pPr marL="0" indent="0" rtl="0">
            <a:buNone/>
          </a:pPr>
          <a:r>
            <a:rPr lang="en-GB" sz="1200">
              <a:solidFill>
                <a:schemeClr val="tx1"/>
              </a:solidFill>
              <a:latin typeface="+mj-lt"/>
              <a:hlinkClick xmlns:r="http://schemas.openxmlformats.org/officeDocument/2006/relationships" r:id="rId1">
                <a:extLst>
                  <a:ext uri="{A12FA001-AC4F-418D-AE19-62706E023703}">
                    <ahyp:hlinkClr xmlns:ahyp="http://schemas.microsoft.com/office/drawing/2018/hyperlinkcolor" val="tx"/>
                  </a:ext>
                </a:extLst>
              </a:hlinkClick>
            </a:rPr>
            <a:t>https://www.bafa.de/DE/Energie/Energieeffizienz/Energieeffizienz_und_Prozesswaerme/Modul5_Transformationsplaene/modul5_transformationsplaene_node.html</a:t>
          </a:r>
          <a:r>
            <a:rPr lang="en-GB" sz="1200">
              <a:solidFill>
                <a:schemeClr val="tx1"/>
              </a:solidFill>
              <a:latin typeface="+mj-lt"/>
            </a:rPr>
            <a:t> </a:t>
          </a:r>
        </a:p>
      </dgm:t>
    </dgm:pt>
    <dgm:pt modelId="{B162A309-DDB3-4E45-92DD-CDBE1CC908D1}" type="parTrans" cxnId="{2B5F364B-9F67-4EFD-A893-5ED40B6C87FC}">
      <dgm:prSet/>
      <dgm:spPr/>
      <dgm:t>
        <a:bodyPr/>
        <a:lstStyle/>
        <a:p>
          <a:endParaRPr lang="en-GB"/>
        </a:p>
      </dgm:t>
    </dgm:pt>
    <dgm:pt modelId="{E3E4F325-38EC-4BAF-80AB-9E71F04CCABD}" type="sibTrans" cxnId="{2B5F364B-9F67-4EFD-A893-5ED40B6C87FC}">
      <dgm:prSet/>
      <dgm:spPr/>
      <dgm:t>
        <a:bodyPr/>
        <a:lstStyle/>
        <a:p>
          <a:endParaRPr lang="en-GB"/>
        </a:p>
      </dgm:t>
    </dgm:pt>
    <dgm:pt modelId="{0304314D-5BF1-42A8-BE34-2A2F0E95F676}">
      <dgm:prSet phldrT="[Text]" custT="1"/>
      <dgm:spPr>
        <a:solidFill>
          <a:srgbClr val="FEEAE8">
            <a:alpha val="90000"/>
          </a:srgbClr>
        </a:solidFill>
        <a:ln w="63500" cap="rnd">
          <a:solidFill>
            <a:schemeClr val="bg1"/>
          </a:solidFill>
          <a:round/>
        </a:ln>
      </dgm:spPr>
      <dgm:t>
        <a:bodyPr/>
        <a:lstStyle/>
        <a:p>
          <a:pPr rtl="0">
            <a:buNone/>
          </a:pPr>
          <a:r>
            <a:rPr lang="en-GB" sz="1200" strike="noStrike" dirty="0">
              <a:latin typeface="+mn-lt"/>
            </a:rPr>
            <a:t>31.12.2028</a:t>
          </a:r>
          <a:endParaRPr lang="en-GB" sz="1200" strike="sngStrike" dirty="0">
            <a:highlight>
              <a:srgbClr val="FFFF00"/>
            </a:highlight>
            <a:latin typeface="+mn-lt"/>
          </a:endParaRPr>
        </a:p>
      </dgm:t>
    </dgm:pt>
    <dgm:pt modelId="{804FF43D-A32E-451E-A676-9BB53C66ECED}" type="parTrans" cxnId="{4C02BB6C-62E0-4B38-BABC-C6745075E7FB}">
      <dgm:prSet/>
      <dgm:spPr/>
      <dgm:t>
        <a:bodyPr/>
        <a:lstStyle/>
        <a:p>
          <a:endParaRPr lang="en-GB"/>
        </a:p>
      </dgm:t>
    </dgm:pt>
    <dgm:pt modelId="{45B9690B-B485-4BD2-A80E-FBB267D431B6}" type="sibTrans" cxnId="{4C02BB6C-62E0-4B38-BABC-C6745075E7FB}">
      <dgm:prSet/>
      <dgm:spPr/>
      <dgm:t>
        <a:bodyPr/>
        <a:lstStyle/>
        <a:p>
          <a:endParaRPr lang="en-GB"/>
        </a:p>
      </dgm:t>
    </dgm:pt>
    <dgm:pt modelId="{5B68FBBB-097B-4FC1-AC52-7BCB9A82E434}">
      <dgm:prSet phldrT="[Text]" custT="1"/>
      <dgm:spPr>
        <a:solidFill>
          <a:srgbClr val="FEEAE8">
            <a:alpha val="90000"/>
          </a:srgbClr>
        </a:solidFill>
        <a:ln w="63500" cap="rnd">
          <a:solidFill>
            <a:schemeClr val="bg1"/>
          </a:solidFill>
          <a:round/>
        </a:ln>
      </dgm:spPr>
      <dgm:t>
        <a:bodyPr/>
        <a:lstStyle/>
        <a:p>
          <a:pPr>
            <a:buFont typeface="Arial" panose="020B0604020202020204" pitchFamily="34" charset="0"/>
            <a:buChar char="•"/>
          </a:pPr>
          <a:r>
            <a:rPr lang="en-GB" altLang="de-DE" sz="1200" dirty="0">
              <a:solidFill>
                <a:srgbClr val="000000"/>
              </a:solidFill>
              <a:latin typeface="+mn-lt"/>
              <a:cs typeface="Arial"/>
            </a:rPr>
            <a:t>Private </a:t>
          </a:r>
          <a:r>
            <a:rPr lang="en-GB" altLang="de-DE" sz="1200" dirty="0" err="1">
              <a:solidFill>
                <a:srgbClr val="000000"/>
              </a:solidFill>
              <a:latin typeface="+mn-lt"/>
              <a:cs typeface="Arial"/>
            </a:rPr>
            <a:t>Unternehmen</a:t>
          </a:r>
          <a:endParaRPr lang="en-GB" sz="1200" dirty="0">
            <a:latin typeface="+mn-lt"/>
            <a:cs typeface="Arial"/>
          </a:endParaRPr>
        </a:p>
      </dgm:t>
    </dgm:pt>
    <dgm:pt modelId="{659E152D-55D2-44AD-AE67-588F8779BF6F}" type="parTrans" cxnId="{CED7E969-D16B-49AC-9025-0639DE7A44EA}">
      <dgm:prSet/>
      <dgm:spPr/>
      <dgm:t>
        <a:bodyPr/>
        <a:lstStyle/>
        <a:p>
          <a:endParaRPr lang="en-GB"/>
        </a:p>
      </dgm:t>
    </dgm:pt>
    <dgm:pt modelId="{2DEC8DEC-3F82-4CCC-A411-7762AAC03FEB}" type="sibTrans" cxnId="{CED7E969-D16B-49AC-9025-0639DE7A44EA}">
      <dgm:prSet/>
      <dgm:spPr/>
      <dgm:t>
        <a:bodyPr/>
        <a:lstStyle/>
        <a:p>
          <a:endParaRPr lang="en-GB"/>
        </a:p>
      </dgm:t>
    </dgm:pt>
    <dgm:pt modelId="{0B0E29F8-58DA-4B85-A037-33270222EDB5}">
      <dgm:prSet phldrT="[Text]" custT="1"/>
      <dgm:spPr>
        <a:solidFill>
          <a:srgbClr val="FEEAE8">
            <a:alpha val="90000"/>
          </a:srgbClr>
        </a:solidFill>
        <a:ln w="63500" cap="rnd" cmpd="sng">
          <a:solidFill>
            <a:schemeClr val="bg1"/>
          </a:solidFill>
          <a:round/>
        </a:ln>
      </dgm:spPr>
      <dgm:t>
        <a:bodyPr/>
        <a:lstStyle/>
        <a:p>
          <a:pPr rtl="0"/>
          <a:r>
            <a:rPr lang="de-DE" altLang="de-DE" sz="1200" b="0" dirty="0">
              <a:solidFill>
                <a:srgbClr val="000000"/>
              </a:solidFill>
              <a:cs typeface="Arial"/>
            </a:rPr>
            <a:t>Langfristige Konzepte zur Dekarbonisierung von Unternehmen (mindestens 40% THG-Reduzierung in 10 Jahren</a:t>
          </a:r>
          <a:r>
            <a:rPr lang="de-DE" altLang="de-DE" sz="1200" b="0" dirty="0">
              <a:latin typeface="Segoe UI"/>
              <a:cs typeface="Arial"/>
            </a:rPr>
            <a:t>); </a:t>
          </a:r>
          <a:r>
            <a:rPr lang="de-DE" altLang="de-DE" sz="1200" b="0" dirty="0">
              <a:ln>
                <a:noFill/>
              </a:ln>
              <a:latin typeface="Segoe UI"/>
              <a:cs typeface="Arial"/>
            </a:rPr>
            <a:t>Antragstellung läuft anders als bei Modulen 1-4 &amp; 6 über den Projektträger des Förderwettbewerbs</a:t>
          </a:r>
          <a:endParaRPr lang="en-GB" sz="1200" b="0" dirty="0">
            <a:ln>
              <a:noFill/>
            </a:ln>
            <a:latin typeface="+mn-lt"/>
            <a:ea typeface="+mn-lt"/>
            <a:cs typeface="Arial"/>
          </a:endParaRPr>
        </a:p>
      </dgm:t>
    </dgm:pt>
    <dgm:pt modelId="{B3303F4A-0797-479A-ADE6-B072AA2FE5D1}" type="sibTrans" cxnId="{8DB13611-D17D-4779-84EF-763DF9E3547C}">
      <dgm:prSet/>
      <dgm:spPr/>
      <dgm:t>
        <a:bodyPr/>
        <a:lstStyle/>
        <a:p>
          <a:endParaRPr lang="en-GB"/>
        </a:p>
      </dgm:t>
    </dgm:pt>
    <dgm:pt modelId="{6932F5EC-2FFE-483B-A29C-A66067ED0F62}" type="parTrans" cxnId="{8DB13611-D17D-4779-84EF-763DF9E3547C}">
      <dgm:prSet/>
      <dgm:spPr/>
      <dgm:t>
        <a:bodyPr/>
        <a:lstStyle/>
        <a:p>
          <a:endParaRPr lang="en-GB"/>
        </a:p>
      </dgm:t>
    </dgm:pt>
    <dgm:pt modelId="{B535A52B-C258-44C1-9035-ADC79AAC6E22}">
      <dgm:prSet custT="1"/>
      <dgm:spPr/>
      <dgm:t>
        <a:bodyPr/>
        <a:lstStyle/>
        <a:p>
          <a:pPr>
            <a:buFont typeface="Arial" panose="020B0604020202020204" pitchFamily="34" charset="0"/>
            <a:buChar char="•"/>
          </a:pPr>
          <a:r>
            <a:rPr lang="en-GB" altLang="de-DE" sz="1200" dirty="0" err="1">
              <a:solidFill>
                <a:srgbClr val="000000"/>
              </a:solidFill>
              <a:latin typeface="+mn-lt"/>
              <a:cs typeface="Arial"/>
            </a:rPr>
            <a:t>Contractoren</a:t>
          </a:r>
          <a:r>
            <a:rPr lang="en-GB" altLang="de-DE" sz="1200" dirty="0">
              <a:solidFill>
                <a:srgbClr val="000000"/>
              </a:solidFill>
              <a:latin typeface="+mn-lt"/>
              <a:cs typeface="Arial"/>
            </a:rPr>
            <a:t> </a:t>
          </a:r>
          <a:r>
            <a:rPr lang="en-GB" altLang="de-DE" sz="1200" strike="noStrike" dirty="0" err="1">
              <a:solidFill>
                <a:srgbClr val="000000"/>
              </a:solidFill>
              <a:latin typeface="+mn-lt"/>
              <a:cs typeface="Arial"/>
            </a:rPr>
            <a:t>im</a:t>
          </a:r>
          <a:r>
            <a:rPr lang="en-GB" altLang="de-DE" sz="1200" strike="noStrike" dirty="0">
              <a:solidFill>
                <a:srgbClr val="000000"/>
              </a:solidFill>
              <a:latin typeface="+mn-lt"/>
              <a:cs typeface="Arial"/>
            </a:rPr>
            <a:t> </a:t>
          </a:r>
          <a:r>
            <a:rPr lang="en-GB" altLang="de-DE" sz="1200" strike="noStrike" dirty="0" err="1">
              <a:solidFill>
                <a:srgbClr val="000000"/>
              </a:solidFill>
              <a:latin typeface="+mn-lt"/>
              <a:cs typeface="Arial"/>
            </a:rPr>
            <a:t>Auftrag</a:t>
          </a:r>
          <a:r>
            <a:rPr lang="en-GB" altLang="de-DE" sz="1200" strike="noStrike" dirty="0">
              <a:solidFill>
                <a:srgbClr val="000000"/>
              </a:solidFill>
              <a:latin typeface="+mn-lt"/>
              <a:cs typeface="Arial"/>
            </a:rPr>
            <a:t> von </a:t>
          </a:r>
          <a:r>
            <a:rPr lang="en-GB" altLang="de-DE" sz="1200" strike="noStrike" dirty="0" err="1">
              <a:solidFill>
                <a:srgbClr val="000000"/>
              </a:solidFill>
              <a:latin typeface="+mn-lt"/>
              <a:cs typeface="Arial"/>
            </a:rPr>
            <a:t>antragsberechtigten</a:t>
          </a:r>
          <a:r>
            <a:rPr lang="en-GB" altLang="de-DE" sz="1200" strike="noStrike" dirty="0">
              <a:solidFill>
                <a:srgbClr val="000000"/>
              </a:solidFill>
              <a:latin typeface="+mn-lt"/>
              <a:cs typeface="Arial"/>
            </a:rPr>
            <a:t> </a:t>
          </a:r>
          <a:r>
            <a:rPr lang="en-GB" altLang="de-DE" sz="1200" strike="noStrike" dirty="0" err="1">
              <a:solidFill>
                <a:srgbClr val="000000"/>
              </a:solidFill>
              <a:latin typeface="+mn-lt"/>
              <a:cs typeface="Arial"/>
            </a:rPr>
            <a:t>Unternehmen</a:t>
          </a:r>
          <a:endParaRPr lang="en-GB" altLang="de-DE" sz="1200" dirty="0">
            <a:solidFill>
              <a:srgbClr val="000000"/>
            </a:solidFill>
            <a:latin typeface="+mn-lt"/>
            <a:cs typeface="Arial"/>
          </a:endParaRPr>
        </a:p>
      </dgm:t>
    </dgm:pt>
    <dgm:pt modelId="{78012BCF-69C4-449C-AEC3-B0589F8833DB}" type="parTrans" cxnId="{39D9E0FD-F017-45EA-BAFB-FDC63B73E39A}">
      <dgm:prSet/>
      <dgm:spPr/>
      <dgm:t>
        <a:bodyPr/>
        <a:lstStyle/>
        <a:p>
          <a:endParaRPr lang="en-GB"/>
        </a:p>
      </dgm:t>
    </dgm:pt>
    <dgm:pt modelId="{54675BED-98AD-47D3-B7E7-149A294E27B8}" type="sibTrans" cxnId="{39D9E0FD-F017-45EA-BAFB-FDC63B73E39A}">
      <dgm:prSet/>
      <dgm:spPr/>
      <dgm:t>
        <a:bodyPr/>
        <a:lstStyle/>
        <a:p>
          <a:endParaRPr lang="en-GB"/>
        </a:p>
      </dgm:t>
    </dgm:pt>
    <dgm:pt modelId="{53D35704-AA77-43C7-93BA-C55D54BFD48F}">
      <dgm:prSet custT="1"/>
      <dgm:spPr/>
      <dgm:t>
        <a:bodyPr/>
        <a:lstStyle/>
        <a:p>
          <a:pPr>
            <a:buFont typeface="Arial" panose="020B0604020202020204" pitchFamily="34" charset="0"/>
            <a:buChar char="•"/>
          </a:pPr>
          <a:r>
            <a:rPr lang="en-GB" altLang="de-DE" sz="1200" dirty="0" err="1">
              <a:solidFill>
                <a:srgbClr val="000000"/>
              </a:solidFill>
              <a:latin typeface="+mn-lt"/>
              <a:cs typeface="Arial"/>
            </a:rPr>
            <a:t>Kommunale</a:t>
          </a:r>
          <a:r>
            <a:rPr lang="en-GB" altLang="de-DE" sz="1200" dirty="0">
              <a:solidFill>
                <a:srgbClr val="000000"/>
              </a:solidFill>
              <a:latin typeface="+mn-lt"/>
              <a:cs typeface="Arial"/>
            </a:rPr>
            <a:t> </a:t>
          </a:r>
          <a:r>
            <a:rPr lang="en-GB" altLang="de-DE" sz="1200" dirty="0" err="1">
              <a:solidFill>
                <a:srgbClr val="000000"/>
              </a:solidFill>
              <a:latin typeface="+mn-lt"/>
              <a:cs typeface="Arial"/>
            </a:rPr>
            <a:t>Unternehmen</a:t>
          </a:r>
          <a:r>
            <a:rPr lang="en-GB" altLang="de-DE" sz="1200" dirty="0">
              <a:solidFill>
                <a:srgbClr val="000000"/>
              </a:solidFill>
              <a:latin typeface="+mn-lt"/>
              <a:cs typeface="Arial"/>
            </a:rPr>
            <a:t>, </a:t>
          </a:r>
          <a:r>
            <a:rPr lang="en-GB" altLang="de-DE" sz="1200" dirty="0" err="1">
              <a:solidFill>
                <a:srgbClr val="000000"/>
              </a:solidFill>
              <a:latin typeface="+mn-lt"/>
              <a:cs typeface="Arial"/>
            </a:rPr>
            <a:t>Landesunternehmen</a:t>
          </a:r>
          <a:endParaRPr lang="en-GB" altLang="de-DE" sz="1200" dirty="0">
            <a:solidFill>
              <a:srgbClr val="000000"/>
            </a:solidFill>
            <a:latin typeface="+mn-lt"/>
            <a:cs typeface="Arial"/>
          </a:endParaRPr>
        </a:p>
      </dgm:t>
    </dgm:pt>
    <dgm:pt modelId="{427C2995-2556-43AA-B0EF-512FE5FC5083}" type="parTrans" cxnId="{5B457D9E-C6C5-4F76-B2F2-AC610A549790}">
      <dgm:prSet/>
      <dgm:spPr/>
      <dgm:t>
        <a:bodyPr/>
        <a:lstStyle/>
        <a:p>
          <a:endParaRPr lang="en-GB"/>
        </a:p>
      </dgm:t>
    </dgm:pt>
    <dgm:pt modelId="{8C790BC4-E7EC-4FA4-BCBD-B52E608EC6A6}" type="sibTrans" cxnId="{5B457D9E-C6C5-4F76-B2F2-AC610A549790}">
      <dgm:prSet/>
      <dgm:spPr/>
      <dgm:t>
        <a:bodyPr/>
        <a:lstStyle/>
        <a:p>
          <a:endParaRPr lang="en-GB"/>
        </a:p>
      </dgm:t>
    </dgm:pt>
    <dgm:pt modelId="{994FB6D0-412D-4523-A5F8-A61894B174BF}">
      <dgm:prSet custT="1"/>
      <dgm:spPr/>
      <dgm:t>
        <a:bodyPr/>
        <a:lstStyle/>
        <a:p>
          <a:pPr>
            <a:buFont typeface="Arial" panose="020B0604020202020204" pitchFamily="34" charset="0"/>
            <a:buChar char="•"/>
          </a:pPr>
          <a:r>
            <a:rPr lang="en-GB" altLang="de-DE" sz="1200" dirty="0" err="1">
              <a:solidFill>
                <a:srgbClr val="000000"/>
              </a:solidFill>
              <a:latin typeface="+mn-lt"/>
              <a:cs typeface="Arial"/>
            </a:rPr>
            <a:t>Freiberuflich</a:t>
          </a:r>
          <a:r>
            <a:rPr lang="en-GB" altLang="de-DE" sz="1200" dirty="0">
              <a:solidFill>
                <a:srgbClr val="000000"/>
              </a:solidFill>
              <a:latin typeface="+mn-lt"/>
              <a:cs typeface="Arial"/>
            </a:rPr>
            <a:t> </a:t>
          </a:r>
          <a:r>
            <a:rPr lang="en-GB" altLang="de-DE" sz="1200" dirty="0" err="1">
              <a:solidFill>
                <a:srgbClr val="000000"/>
              </a:solidFill>
              <a:latin typeface="+mn-lt"/>
              <a:cs typeface="Arial"/>
            </a:rPr>
            <a:t>Tätige</a:t>
          </a:r>
          <a:endParaRPr lang="en-GB" altLang="de-DE" sz="1200" dirty="0">
            <a:solidFill>
              <a:srgbClr val="000000"/>
            </a:solidFill>
            <a:latin typeface="+mn-lt"/>
            <a:cs typeface="Arial"/>
          </a:endParaRPr>
        </a:p>
      </dgm:t>
    </dgm:pt>
    <dgm:pt modelId="{C2F928F1-34AA-4D50-91B7-E70F0C08199B}" type="parTrans" cxnId="{7A4F9AB6-5D3E-4574-8766-5BF9C3B98674}">
      <dgm:prSet/>
      <dgm:spPr/>
      <dgm:t>
        <a:bodyPr/>
        <a:lstStyle/>
        <a:p>
          <a:endParaRPr lang="en-GB"/>
        </a:p>
      </dgm:t>
    </dgm:pt>
    <dgm:pt modelId="{538EE255-B60A-4CCA-AB1C-6E1F4F0D3DC4}" type="sibTrans" cxnId="{7A4F9AB6-5D3E-4574-8766-5BF9C3B98674}">
      <dgm:prSet/>
      <dgm:spPr/>
      <dgm:t>
        <a:bodyPr/>
        <a:lstStyle/>
        <a:p>
          <a:endParaRPr lang="en-GB"/>
        </a:p>
      </dgm:t>
    </dgm:pt>
    <dgm:pt modelId="{7F20EAA6-35D0-414B-8B3C-9AF494B71B5A}">
      <dgm:prSet custT="1"/>
      <dgm:spPr/>
      <dgm:t>
        <a:bodyPr/>
        <a:lstStyle/>
        <a:p>
          <a:r>
            <a:rPr lang="de-DE" altLang="de-DE" sz="1200" dirty="0">
              <a:latin typeface="+mn-lt"/>
            </a:rPr>
            <a:t>Beihilferechtliche Vorgaben: Art. 49 AGVO „Erstellung von Umweltstudien“</a:t>
          </a:r>
          <a:endParaRPr lang="en-GB" altLang="de-DE" sz="1200" dirty="0">
            <a:latin typeface="+mn-lt"/>
          </a:endParaRPr>
        </a:p>
      </dgm:t>
    </dgm:pt>
    <dgm:pt modelId="{FC5DA8B6-0A7D-4D57-A544-F75EAD1A988B}" type="parTrans" cxnId="{9BB27BFE-D412-4385-A7A7-B6FAC9B160BE}">
      <dgm:prSet/>
      <dgm:spPr/>
      <dgm:t>
        <a:bodyPr/>
        <a:lstStyle/>
        <a:p>
          <a:endParaRPr lang="de-DE"/>
        </a:p>
      </dgm:t>
    </dgm:pt>
    <dgm:pt modelId="{6D5FAFB4-E921-4E8F-B18C-915E9FEB3904}" type="sibTrans" cxnId="{9BB27BFE-D412-4385-A7A7-B6FAC9B160BE}">
      <dgm:prSet/>
      <dgm:spPr/>
      <dgm:t>
        <a:bodyPr/>
        <a:lstStyle/>
        <a:p>
          <a:endParaRPr lang="de-DE"/>
        </a:p>
      </dgm:t>
    </dgm:pt>
    <dgm:pt modelId="{677B6216-61E2-4923-B0C6-4AC8B374A540}">
      <dgm:prSet phldr="0"/>
      <dgm:spPr/>
      <dgm:t>
        <a:bodyPr/>
        <a:lstStyle/>
        <a:p>
          <a:r>
            <a:rPr lang="en-GB" altLang="de-DE" sz="1200" dirty="0">
              <a:latin typeface="+mn-lt"/>
            </a:rPr>
            <a:t>Max. 60.000 € pro </a:t>
          </a:r>
          <a:r>
            <a:rPr lang="en-GB" altLang="de-DE" sz="1200" dirty="0" err="1">
              <a:latin typeface="+mn-lt"/>
            </a:rPr>
            <a:t>Vorhaben</a:t>
          </a:r>
          <a:r>
            <a:rPr lang="en-GB" altLang="de-DE" sz="1200" dirty="0">
              <a:latin typeface="+mn-lt"/>
            </a:rPr>
            <a:t>, max. 30.000 € </a:t>
          </a:r>
          <a:r>
            <a:rPr lang="en-GB" altLang="de-DE" sz="1200" dirty="0" err="1">
              <a:latin typeface="+mn-lt"/>
            </a:rPr>
            <a:t>zusätzlich</a:t>
          </a:r>
          <a:r>
            <a:rPr lang="en-GB" altLang="de-DE" sz="1200" dirty="0">
              <a:latin typeface="+mn-lt"/>
            </a:rPr>
            <a:t> pro </a:t>
          </a:r>
          <a:r>
            <a:rPr lang="en-GB" altLang="de-DE" sz="1200" dirty="0" err="1">
              <a:latin typeface="+mn-lt"/>
            </a:rPr>
            <a:t>Vorhaben</a:t>
          </a:r>
          <a:r>
            <a:rPr lang="en-GB" altLang="de-DE" sz="1200" dirty="0">
              <a:latin typeface="+mn-lt"/>
            </a:rPr>
            <a:t> für IEEKN-</a:t>
          </a:r>
          <a:r>
            <a:rPr lang="en-GB" altLang="de-DE" sz="1200" dirty="0" err="1">
              <a:latin typeface="+mn-lt"/>
            </a:rPr>
            <a:t>Unternehmen</a:t>
          </a:r>
          <a:endParaRPr lang="de-DE" dirty="0"/>
        </a:p>
      </dgm:t>
    </dgm:pt>
    <dgm:pt modelId="{B4DEAFC6-BDC0-49CF-B4B4-4EC9922CFD90}" type="parTrans" cxnId="{A0AA6ECA-FE95-4108-BD7D-1504458CA57F}">
      <dgm:prSet/>
      <dgm:spPr/>
      <dgm:t>
        <a:bodyPr/>
        <a:lstStyle/>
        <a:p>
          <a:endParaRPr lang="de-DE"/>
        </a:p>
      </dgm:t>
    </dgm:pt>
    <dgm:pt modelId="{8568109F-F2EA-4F15-A392-9DEDF26C8764}" type="sibTrans" cxnId="{A0AA6ECA-FE95-4108-BD7D-1504458CA57F}">
      <dgm:prSet/>
      <dgm:spPr/>
      <dgm:t>
        <a:bodyPr/>
        <a:lstStyle/>
        <a:p>
          <a:endParaRPr lang="de-DE"/>
        </a:p>
      </dgm:t>
    </dgm:pt>
    <dgm:pt modelId="{27648138-B716-41A0-A76C-626220E2874C}" type="pres">
      <dgm:prSet presAssocID="{FFCB392C-E190-4000-BC2B-8923E66F8E05}" presName="Name0" presStyleCnt="0">
        <dgm:presLayoutVars>
          <dgm:dir/>
          <dgm:animLvl val="lvl"/>
          <dgm:resizeHandles val="exact"/>
        </dgm:presLayoutVars>
      </dgm:prSet>
      <dgm:spPr/>
    </dgm:pt>
    <dgm:pt modelId="{1ADF6C26-1B25-4A78-B388-B1C46C817D76}" type="pres">
      <dgm:prSet presAssocID="{E6EFA897-0431-492F-B65F-D429EF9274CB}" presName="linNode" presStyleCnt="0"/>
      <dgm:spPr/>
    </dgm:pt>
    <dgm:pt modelId="{9C1950A7-783E-48B6-8E92-F40F44EBAD14}" type="pres">
      <dgm:prSet presAssocID="{E6EFA897-0431-492F-B65F-D429EF9274CB}" presName="parentText" presStyleLbl="node1" presStyleIdx="0" presStyleCnt="5" custScaleX="1418391" custScaleY="197163">
        <dgm:presLayoutVars>
          <dgm:chMax val="1"/>
          <dgm:bulletEnabled val="1"/>
        </dgm:presLayoutVars>
      </dgm:prSet>
      <dgm:spPr/>
    </dgm:pt>
    <dgm:pt modelId="{D4830C8F-A2AE-4990-90BF-6D9758F800E7}" type="pres">
      <dgm:prSet presAssocID="{E6EFA897-0431-492F-B65F-D429EF9274CB}" presName="descendantText" presStyleLbl="alignAccFollowNode1" presStyleIdx="0" presStyleCnt="5" custAng="0" custScaleX="2000000" custScaleY="247701">
        <dgm:presLayoutVars>
          <dgm:bulletEnabled val="1"/>
        </dgm:presLayoutVars>
      </dgm:prSet>
      <dgm:spPr>
        <a:prstGeom prst="roundRect">
          <a:avLst/>
        </a:prstGeom>
      </dgm:spPr>
    </dgm:pt>
    <dgm:pt modelId="{9203D1ED-D34A-4B16-8646-7FE2F50473D2}" type="pres">
      <dgm:prSet presAssocID="{7AEB0645-723A-40EF-ABFC-A5BB952678BD}" presName="sp" presStyleCnt="0"/>
      <dgm:spPr/>
    </dgm:pt>
    <dgm:pt modelId="{53851687-2ABD-4E48-9F25-DB16955D1D90}" type="pres">
      <dgm:prSet presAssocID="{03FEEBAF-B492-4AB8-89C6-4B4628CA1E26}" presName="linNode" presStyleCnt="0"/>
      <dgm:spPr/>
    </dgm:pt>
    <dgm:pt modelId="{6282B259-D810-400D-AF6A-A79E8F7BBC6B}" type="pres">
      <dgm:prSet presAssocID="{03FEEBAF-B492-4AB8-89C6-4B4628CA1E26}" presName="parentText" presStyleLbl="node1" presStyleIdx="1" presStyleCnt="5" custScaleX="1418391" custScaleY="498700">
        <dgm:presLayoutVars>
          <dgm:chMax val="1"/>
          <dgm:bulletEnabled val="1"/>
        </dgm:presLayoutVars>
      </dgm:prSet>
      <dgm:spPr>
        <a:prstGeom prst="roundRect">
          <a:avLst/>
        </a:prstGeom>
      </dgm:spPr>
    </dgm:pt>
    <dgm:pt modelId="{C3CA0957-EF4F-46A9-B14B-C34909532529}" type="pres">
      <dgm:prSet presAssocID="{03FEEBAF-B492-4AB8-89C6-4B4628CA1E26}" presName="descendantText" presStyleLbl="alignAccFollowNode1" presStyleIdx="1" presStyleCnt="5" custScaleX="2000000" custScaleY="621583">
        <dgm:presLayoutVars>
          <dgm:bulletEnabled val="1"/>
        </dgm:presLayoutVars>
      </dgm:prSet>
      <dgm:spPr>
        <a:prstGeom prst="roundRect">
          <a:avLst/>
        </a:prstGeom>
      </dgm:spPr>
    </dgm:pt>
    <dgm:pt modelId="{C9293F8E-C675-4E36-A65B-AAAC8006C733}" type="pres">
      <dgm:prSet presAssocID="{46A33D61-164A-49AF-AE7D-CEFC1DBAB295}" presName="sp" presStyleCnt="0"/>
      <dgm:spPr/>
    </dgm:pt>
    <dgm:pt modelId="{61D33F34-F888-4DD1-BA17-F953371D0B7A}" type="pres">
      <dgm:prSet presAssocID="{96260E3C-6263-485C-AAD5-4834D4569D00}" presName="linNode" presStyleCnt="0"/>
      <dgm:spPr/>
    </dgm:pt>
    <dgm:pt modelId="{E2E438A6-5F37-4E34-923A-0CA8673CDF3A}" type="pres">
      <dgm:prSet presAssocID="{96260E3C-6263-485C-AAD5-4834D4569D00}" presName="parentText" presStyleLbl="node1" presStyleIdx="2" presStyleCnt="5" custScaleX="86660" custScaleY="322204">
        <dgm:presLayoutVars>
          <dgm:chMax val="1"/>
          <dgm:bulletEnabled val="1"/>
        </dgm:presLayoutVars>
      </dgm:prSet>
      <dgm:spPr/>
    </dgm:pt>
    <dgm:pt modelId="{42205B36-F6FD-4A61-8A6C-F7C8A06C6790}" type="pres">
      <dgm:prSet presAssocID="{96260E3C-6263-485C-AAD5-4834D4569D00}" presName="descendantText" presStyleLbl="alignAccFollowNode1" presStyleIdx="2" presStyleCnt="5" custScaleX="122177" custScaleY="403070">
        <dgm:presLayoutVars>
          <dgm:bulletEnabled val="1"/>
        </dgm:presLayoutVars>
      </dgm:prSet>
      <dgm:spPr>
        <a:prstGeom prst="roundRect">
          <a:avLst/>
        </a:prstGeom>
      </dgm:spPr>
    </dgm:pt>
    <dgm:pt modelId="{CDDFDC90-580B-485A-9FC2-5DB7FE6F7287}" type="pres">
      <dgm:prSet presAssocID="{9118D841-7835-4425-89DF-5E2FF676BD2C}" presName="sp" presStyleCnt="0"/>
      <dgm:spPr/>
    </dgm:pt>
    <dgm:pt modelId="{73F3CA5A-E1C8-4A93-9B4D-EA5329F4F21A}" type="pres">
      <dgm:prSet presAssocID="{52BD68D0-EAE3-4487-ADC7-C30AD0C149E7}" presName="linNode" presStyleCnt="0"/>
      <dgm:spPr/>
    </dgm:pt>
    <dgm:pt modelId="{C8A9DE35-1CD6-4E88-9A7A-CD82966A87BF}" type="pres">
      <dgm:prSet presAssocID="{52BD68D0-EAE3-4487-ADC7-C30AD0C149E7}" presName="parentText" presStyleLbl="node1" presStyleIdx="3" presStyleCnt="5" custScaleX="114730" custScaleY="249807">
        <dgm:presLayoutVars>
          <dgm:chMax val="1"/>
          <dgm:bulletEnabled val="1"/>
        </dgm:presLayoutVars>
      </dgm:prSet>
      <dgm:spPr/>
    </dgm:pt>
    <dgm:pt modelId="{600B0FCE-F633-4F00-B20F-1253DB6B5E6E}" type="pres">
      <dgm:prSet presAssocID="{52BD68D0-EAE3-4487-ADC7-C30AD0C149E7}" presName="descendantText" presStyleLbl="alignAccFollowNode1" presStyleIdx="3" presStyleCnt="5" custScaleX="161690" custScaleY="311749">
        <dgm:presLayoutVars>
          <dgm:bulletEnabled val="1"/>
        </dgm:presLayoutVars>
      </dgm:prSet>
      <dgm:spPr>
        <a:prstGeom prst="roundRect">
          <a:avLst/>
        </a:prstGeom>
      </dgm:spPr>
    </dgm:pt>
    <dgm:pt modelId="{1A51CAE2-8F35-4B86-BC85-6FAB03C10C9B}" type="pres">
      <dgm:prSet presAssocID="{C8ED1CA2-595E-436E-B860-29E61D658492}" presName="sp" presStyleCnt="0"/>
      <dgm:spPr/>
    </dgm:pt>
    <dgm:pt modelId="{930F362C-C84D-4BD3-B965-79AFCF7BEE58}" type="pres">
      <dgm:prSet presAssocID="{52B98E0D-74B5-47F3-93A9-75219B6BCE70}" presName="linNode" presStyleCnt="0"/>
      <dgm:spPr/>
    </dgm:pt>
    <dgm:pt modelId="{36DCF81B-4ED1-4AD8-B27C-5FE0EF7F2B66}" type="pres">
      <dgm:prSet presAssocID="{52B98E0D-74B5-47F3-93A9-75219B6BCE70}" presName="parentText" presStyleLbl="node1" presStyleIdx="4" presStyleCnt="5" custScaleX="111007" custScaleY="175674">
        <dgm:presLayoutVars>
          <dgm:chMax val="1"/>
          <dgm:bulletEnabled val="1"/>
        </dgm:presLayoutVars>
      </dgm:prSet>
      <dgm:spPr/>
    </dgm:pt>
    <dgm:pt modelId="{BCBFAC89-216D-4DFF-897D-8C47A404ADDC}" type="pres">
      <dgm:prSet presAssocID="{52B98E0D-74B5-47F3-93A9-75219B6BCE70}" presName="descendantText" presStyleLbl="alignAccFollowNode1" presStyleIdx="4" presStyleCnt="5" custScaleX="156728" custScaleY="219096">
        <dgm:presLayoutVars>
          <dgm:bulletEnabled val="1"/>
        </dgm:presLayoutVars>
      </dgm:prSet>
      <dgm:spPr>
        <a:prstGeom prst="roundRect">
          <a:avLst/>
        </a:prstGeom>
      </dgm:spPr>
    </dgm:pt>
  </dgm:ptLst>
  <dgm:cxnLst>
    <dgm:cxn modelId="{9AA0FE0C-3498-4DEF-BAAA-9ECEAC181F28}" type="presOf" srcId="{FFCB392C-E190-4000-BC2B-8923E66F8E05}" destId="{27648138-B716-41A0-A76C-626220E2874C}" srcOrd="0" destOrd="0" presId="urn:microsoft.com/office/officeart/2005/8/layout/vList5"/>
    <dgm:cxn modelId="{8DB13611-D17D-4779-84EF-763DF9E3547C}" srcId="{E6EFA897-0431-492F-B65F-D429EF9274CB}" destId="{0B0E29F8-58DA-4B85-A037-33270222EDB5}" srcOrd="0" destOrd="0" parTransId="{6932F5EC-2FFE-483B-A29C-A66067ED0F62}" sibTransId="{B3303F4A-0797-479A-ADE6-B072AA2FE5D1}"/>
    <dgm:cxn modelId="{B6507E12-3D04-4538-96F9-80ADDFC80C06}" type="presOf" srcId="{0A2167F3-4E3C-49E8-8F53-F429B724897B}" destId="{42205B36-F6FD-4A61-8A6C-F7C8A06C6790}" srcOrd="0" destOrd="0" presId="urn:microsoft.com/office/officeart/2005/8/layout/vList5"/>
    <dgm:cxn modelId="{5F801220-50DA-4E85-A2A3-7F5D574B6EAA}" type="presOf" srcId="{B535A52B-C258-44C1-9035-ADC79AAC6E22}" destId="{C3CA0957-EF4F-46A9-B14B-C34909532529}" srcOrd="0" destOrd="1" presId="urn:microsoft.com/office/officeart/2005/8/layout/vList5"/>
    <dgm:cxn modelId="{92F75A5B-779F-4B6B-9DC9-466C31D92B4C}" srcId="{96260E3C-6263-485C-AAD5-4834D4569D00}" destId="{0A2167F3-4E3C-49E8-8F53-F429B724897B}" srcOrd="0" destOrd="0" parTransId="{C31FCFD9-9839-42B9-909B-53DFE97C6A9D}" sibTransId="{981FCCCA-D06E-451D-858E-6E6DE23A18B8}"/>
    <dgm:cxn modelId="{A23B8845-D853-45F9-BAD7-EF3B523ED16A}" type="presOf" srcId="{53D35704-AA77-43C7-93BA-C55D54BFD48F}" destId="{C3CA0957-EF4F-46A9-B14B-C34909532529}" srcOrd="0" destOrd="2" presId="urn:microsoft.com/office/officeart/2005/8/layout/vList5"/>
    <dgm:cxn modelId="{D37D8966-E412-4E39-ADAD-CB0788365CAC}" type="presOf" srcId="{677B6216-61E2-4923-B0C6-4AC8B374A540}" destId="{42205B36-F6FD-4A61-8A6C-F7C8A06C6790}" srcOrd="0" destOrd="1" presId="urn:microsoft.com/office/officeart/2005/8/layout/vList5"/>
    <dgm:cxn modelId="{CD9DE966-2094-4548-BFD7-1B9F205F3F24}" type="presOf" srcId="{9769D350-8FE4-4236-B37A-51F281FB0440}" destId="{600B0FCE-F633-4F00-B20F-1253DB6B5E6E}" srcOrd="0" destOrd="0" presId="urn:microsoft.com/office/officeart/2005/8/layout/vList5"/>
    <dgm:cxn modelId="{CED7E969-D16B-49AC-9025-0639DE7A44EA}" srcId="{03FEEBAF-B492-4AB8-89C6-4B4628CA1E26}" destId="{5B68FBBB-097B-4FC1-AC52-7BCB9A82E434}" srcOrd="0" destOrd="0" parTransId="{659E152D-55D2-44AD-AE67-588F8779BF6F}" sibTransId="{2DEC8DEC-3F82-4CCC-A411-7762AAC03FEB}"/>
    <dgm:cxn modelId="{2B5F364B-9F67-4EFD-A893-5ED40B6C87FC}" srcId="{52BD68D0-EAE3-4487-ADC7-C30AD0C149E7}" destId="{9769D350-8FE4-4236-B37A-51F281FB0440}" srcOrd="0" destOrd="0" parTransId="{B162A309-DDB3-4E45-92DD-CDBE1CC908D1}" sibTransId="{E3E4F325-38EC-4BAF-80AB-9E71F04CCABD}"/>
    <dgm:cxn modelId="{8641D34B-BD52-4008-BBF8-F73FD9A4C7EF}" type="presOf" srcId="{0B0E29F8-58DA-4B85-A037-33270222EDB5}" destId="{D4830C8F-A2AE-4990-90BF-6D9758F800E7}" srcOrd="0" destOrd="0" presId="urn:microsoft.com/office/officeart/2005/8/layout/vList5"/>
    <dgm:cxn modelId="{4C02BB6C-62E0-4B38-BABC-C6745075E7FB}" srcId="{52B98E0D-74B5-47F3-93A9-75219B6BCE70}" destId="{0304314D-5BF1-42A8-BE34-2A2F0E95F676}" srcOrd="0" destOrd="0" parTransId="{804FF43D-A32E-451E-A676-9BB53C66ECED}" sibTransId="{45B9690B-B485-4BD2-A80E-FBB267D431B6}"/>
    <dgm:cxn modelId="{116FC54D-B959-435F-9F3C-68101C04F991}" type="presOf" srcId="{96260E3C-6263-485C-AAD5-4834D4569D00}" destId="{E2E438A6-5F37-4E34-923A-0CA8673CDF3A}" srcOrd="0" destOrd="0" presId="urn:microsoft.com/office/officeart/2005/8/layout/vList5"/>
    <dgm:cxn modelId="{41B53A4E-82C3-4478-AAC4-5D737C853291}" type="presOf" srcId="{5B68FBBB-097B-4FC1-AC52-7BCB9A82E434}" destId="{C3CA0957-EF4F-46A9-B14B-C34909532529}" srcOrd="0" destOrd="0" presId="urn:microsoft.com/office/officeart/2005/8/layout/vList5"/>
    <dgm:cxn modelId="{84E6D674-155B-4E0C-98FA-DD06EBDC25BA}" srcId="{FFCB392C-E190-4000-BC2B-8923E66F8E05}" destId="{03FEEBAF-B492-4AB8-89C6-4B4628CA1E26}" srcOrd="1" destOrd="0" parTransId="{36E648EC-D32B-449E-9167-67FC1B8DDF49}" sibTransId="{46A33D61-164A-49AF-AE7D-CEFC1DBAB295}"/>
    <dgm:cxn modelId="{F4407357-DA74-4905-8D57-999A75C49954}" srcId="{FFCB392C-E190-4000-BC2B-8923E66F8E05}" destId="{96260E3C-6263-485C-AAD5-4834D4569D00}" srcOrd="2" destOrd="0" parTransId="{2B5F8176-600B-448A-BAC4-07CC9809E5E1}" sibTransId="{9118D841-7835-4425-89DF-5E2FF676BD2C}"/>
    <dgm:cxn modelId="{05EF9F77-97AC-4C05-83C6-4B3FBFBE9962}" type="presOf" srcId="{52B98E0D-74B5-47F3-93A9-75219B6BCE70}" destId="{36DCF81B-4ED1-4AD8-B27C-5FE0EF7F2B66}" srcOrd="0" destOrd="0" presId="urn:microsoft.com/office/officeart/2005/8/layout/vList5"/>
    <dgm:cxn modelId="{2E6C1579-6082-4E33-A723-E845F8FBA423}" srcId="{FFCB392C-E190-4000-BC2B-8923E66F8E05}" destId="{E6EFA897-0431-492F-B65F-D429EF9274CB}" srcOrd="0" destOrd="0" parTransId="{3F2A00E6-14CF-4B7B-83A8-308789775694}" sibTransId="{7AEB0645-723A-40EF-ABFC-A5BB952678BD}"/>
    <dgm:cxn modelId="{F1270984-F461-4C12-ACC0-75C88A60C205}" srcId="{FFCB392C-E190-4000-BC2B-8923E66F8E05}" destId="{52BD68D0-EAE3-4487-ADC7-C30AD0C149E7}" srcOrd="3" destOrd="0" parTransId="{BB9FE834-9348-4C65-ABF7-D62613A39635}" sibTransId="{C8ED1CA2-595E-436E-B860-29E61D658492}"/>
    <dgm:cxn modelId="{5B457D9E-C6C5-4F76-B2F2-AC610A549790}" srcId="{03FEEBAF-B492-4AB8-89C6-4B4628CA1E26}" destId="{53D35704-AA77-43C7-93BA-C55D54BFD48F}" srcOrd="2" destOrd="0" parTransId="{427C2995-2556-43AA-B0EF-512FE5FC5083}" sibTransId="{8C790BC4-E7EC-4FA4-BCBD-B52E608EC6A6}"/>
    <dgm:cxn modelId="{7A4F9AB6-5D3E-4574-8766-5BF9C3B98674}" srcId="{03FEEBAF-B492-4AB8-89C6-4B4628CA1E26}" destId="{994FB6D0-412D-4523-A5F8-A61894B174BF}" srcOrd="3" destOrd="0" parTransId="{C2F928F1-34AA-4D50-91B7-E70F0C08199B}" sibTransId="{538EE255-B60A-4CCA-AB1C-6E1F4F0D3DC4}"/>
    <dgm:cxn modelId="{A0AA6ECA-FE95-4108-BD7D-1504458CA57F}" srcId="{96260E3C-6263-485C-AAD5-4834D4569D00}" destId="{677B6216-61E2-4923-B0C6-4AC8B374A540}" srcOrd="1" destOrd="0" parTransId="{B4DEAFC6-BDC0-49CF-B4B4-4EC9922CFD90}" sibTransId="{8568109F-F2EA-4F15-A392-9DEDF26C8764}"/>
    <dgm:cxn modelId="{7AC77BD9-9C7A-426F-AE7D-2BAA42FEE494}" type="presOf" srcId="{52BD68D0-EAE3-4487-ADC7-C30AD0C149E7}" destId="{C8A9DE35-1CD6-4E88-9A7A-CD82966A87BF}" srcOrd="0" destOrd="0" presId="urn:microsoft.com/office/officeart/2005/8/layout/vList5"/>
    <dgm:cxn modelId="{55C57EDB-E637-4931-8E8E-8D6CD93B29E9}" type="presOf" srcId="{0304314D-5BF1-42A8-BE34-2A2F0E95F676}" destId="{BCBFAC89-216D-4DFF-897D-8C47A404ADDC}" srcOrd="0" destOrd="0" presId="urn:microsoft.com/office/officeart/2005/8/layout/vList5"/>
    <dgm:cxn modelId="{629E85E2-3F27-4578-B345-B9952FF6ED10}" type="presOf" srcId="{994FB6D0-412D-4523-A5F8-A61894B174BF}" destId="{C3CA0957-EF4F-46A9-B14B-C34909532529}" srcOrd="0" destOrd="3" presId="urn:microsoft.com/office/officeart/2005/8/layout/vList5"/>
    <dgm:cxn modelId="{27C65EE7-5523-4773-9EC8-7C5EA68B3129}" type="presOf" srcId="{E6EFA897-0431-492F-B65F-D429EF9274CB}" destId="{9C1950A7-783E-48B6-8E92-F40F44EBAD14}" srcOrd="0" destOrd="0" presId="urn:microsoft.com/office/officeart/2005/8/layout/vList5"/>
    <dgm:cxn modelId="{954AB5ED-19D8-4B9F-9274-A07D3F0B86DC}" srcId="{FFCB392C-E190-4000-BC2B-8923E66F8E05}" destId="{52B98E0D-74B5-47F3-93A9-75219B6BCE70}" srcOrd="4" destOrd="0" parTransId="{98C1EE2D-85CD-4DF7-BA31-B2037EADB0D7}" sibTransId="{CD1C99D8-452D-4FB0-BFC1-18CE9E5E8FC6}"/>
    <dgm:cxn modelId="{7F6284EE-D533-49E5-8496-7365F989DA00}" type="presOf" srcId="{7F20EAA6-35D0-414B-8B3C-9AF494B71B5A}" destId="{42205B36-F6FD-4A61-8A6C-F7C8A06C6790}" srcOrd="0" destOrd="2" presId="urn:microsoft.com/office/officeart/2005/8/layout/vList5"/>
    <dgm:cxn modelId="{55EF57F1-EBC5-41CC-959D-CAEBA40DA332}" type="presOf" srcId="{03FEEBAF-B492-4AB8-89C6-4B4628CA1E26}" destId="{6282B259-D810-400D-AF6A-A79E8F7BBC6B}" srcOrd="0" destOrd="0" presId="urn:microsoft.com/office/officeart/2005/8/layout/vList5"/>
    <dgm:cxn modelId="{39D9E0FD-F017-45EA-BAFB-FDC63B73E39A}" srcId="{03FEEBAF-B492-4AB8-89C6-4B4628CA1E26}" destId="{B535A52B-C258-44C1-9035-ADC79AAC6E22}" srcOrd="1" destOrd="0" parTransId="{78012BCF-69C4-449C-AEC3-B0589F8833DB}" sibTransId="{54675BED-98AD-47D3-B7E7-149A294E27B8}"/>
    <dgm:cxn modelId="{9BB27BFE-D412-4385-A7A7-B6FAC9B160BE}" srcId="{96260E3C-6263-485C-AAD5-4834D4569D00}" destId="{7F20EAA6-35D0-414B-8B3C-9AF494B71B5A}" srcOrd="2" destOrd="0" parTransId="{FC5DA8B6-0A7D-4D57-A544-F75EAD1A988B}" sibTransId="{6D5FAFB4-E921-4E8F-B18C-915E9FEB3904}"/>
    <dgm:cxn modelId="{9DF3A420-2145-41D6-873C-54CA1F7F8A72}" type="presParOf" srcId="{27648138-B716-41A0-A76C-626220E2874C}" destId="{1ADF6C26-1B25-4A78-B388-B1C46C817D76}" srcOrd="0" destOrd="0" presId="urn:microsoft.com/office/officeart/2005/8/layout/vList5"/>
    <dgm:cxn modelId="{A55B4079-9DBD-4C6F-B7A2-FDDD0822BDFE}" type="presParOf" srcId="{1ADF6C26-1B25-4A78-B388-B1C46C817D76}" destId="{9C1950A7-783E-48B6-8E92-F40F44EBAD14}" srcOrd="0" destOrd="0" presId="urn:microsoft.com/office/officeart/2005/8/layout/vList5"/>
    <dgm:cxn modelId="{3713B9AF-6EEA-4694-B0C7-4DB009B679B7}" type="presParOf" srcId="{1ADF6C26-1B25-4A78-B388-B1C46C817D76}" destId="{D4830C8F-A2AE-4990-90BF-6D9758F800E7}" srcOrd="1" destOrd="0" presId="urn:microsoft.com/office/officeart/2005/8/layout/vList5"/>
    <dgm:cxn modelId="{731D0148-596E-4FCB-8C20-32CB1988313B}" type="presParOf" srcId="{27648138-B716-41A0-A76C-626220E2874C}" destId="{9203D1ED-D34A-4B16-8646-7FE2F50473D2}" srcOrd="1" destOrd="0" presId="urn:microsoft.com/office/officeart/2005/8/layout/vList5"/>
    <dgm:cxn modelId="{9CFE814C-7633-4BDF-8197-E7073822F496}" type="presParOf" srcId="{27648138-B716-41A0-A76C-626220E2874C}" destId="{53851687-2ABD-4E48-9F25-DB16955D1D90}" srcOrd="2" destOrd="0" presId="urn:microsoft.com/office/officeart/2005/8/layout/vList5"/>
    <dgm:cxn modelId="{2F7644FC-6844-41D7-96EB-DF1EE1131D43}" type="presParOf" srcId="{53851687-2ABD-4E48-9F25-DB16955D1D90}" destId="{6282B259-D810-400D-AF6A-A79E8F7BBC6B}" srcOrd="0" destOrd="0" presId="urn:microsoft.com/office/officeart/2005/8/layout/vList5"/>
    <dgm:cxn modelId="{4B590FE4-6F1C-40C8-B7A0-A2F01269987A}" type="presParOf" srcId="{53851687-2ABD-4E48-9F25-DB16955D1D90}" destId="{C3CA0957-EF4F-46A9-B14B-C34909532529}" srcOrd="1" destOrd="0" presId="urn:microsoft.com/office/officeart/2005/8/layout/vList5"/>
    <dgm:cxn modelId="{A0C55999-2DF5-4242-B813-E1984E28E1CD}" type="presParOf" srcId="{27648138-B716-41A0-A76C-626220E2874C}" destId="{C9293F8E-C675-4E36-A65B-AAAC8006C733}" srcOrd="3" destOrd="0" presId="urn:microsoft.com/office/officeart/2005/8/layout/vList5"/>
    <dgm:cxn modelId="{D689EA09-1D81-4634-904D-22F98F6E9B71}" type="presParOf" srcId="{27648138-B716-41A0-A76C-626220E2874C}" destId="{61D33F34-F888-4DD1-BA17-F953371D0B7A}" srcOrd="4" destOrd="0" presId="urn:microsoft.com/office/officeart/2005/8/layout/vList5"/>
    <dgm:cxn modelId="{3C8B1284-BDCF-4BD6-82EC-333EC64C00C6}" type="presParOf" srcId="{61D33F34-F888-4DD1-BA17-F953371D0B7A}" destId="{E2E438A6-5F37-4E34-923A-0CA8673CDF3A}" srcOrd="0" destOrd="0" presId="urn:microsoft.com/office/officeart/2005/8/layout/vList5"/>
    <dgm:cxn modelId="{C358DCF8-DE94-4F2E-8250-0636AAD7A913}" type="presParOf" srcId="{61D33F34-F888-4DD1-BA17-F953371D0B7A}" destId="{42205B36-F6FD-4A61-8A6C-F7C8A06C6790}" srcOrd="1" destOrd="0" presId="urn:microsoft.com/office/officeart/2005/8/layout/vList5"/>
    <dgm:cxn modelId="{CFAB297E-2A8E-4636-9451-BC212A384E03}" type="presParOf" srcId="{27648138-B716-41A0-A76C-626220E2874C}" destId="{CDDFDC90-580B-485A-9FC2-5DB7FE6F7287}" srcOrd="5" destOrd="0" presId="urn:microsoft.com/office/officeart/2005/8/layout/vList5"/>
    <dgm:cxn modelId="{6B859D38-FD4C-4FC9-A811-80EEC927A6C7}" type="presParOf" srcId="{27648138-B716-41A0-A76C-626220E2874C}" destId="{73F3CA5A-E1C8-4A93-9B4D-EA5329F4F21A}" srcOrd="6" destOrd="0" presId="urn:microsoft.com/office/officeart/2005/8/layout/vList5"/>
    <dgm:cxn modelId="{07F73534-4966-4415-BD10-EC335A1183E9}" type="presParOf" srcId="{73F3CA5A-E1C8-4A93-9B4D-EA5329F4F21A}" destId="{C8A9DE35-1CD6-4E88-9A7A-CD82966A87BF}" srcOrd="0" destOrd="0" presId="urn:microsoft.com/office/officeart/2005/8/layout/vList5"/>
    <dgm:cxn modelId="{40E58B7E-85EA-4097-8BE7-8155D9B36B0D}" type="presParOf" srcId="{73F3CA5A-E1C8-4A93-9B4D-EA5329F4F21A}" destId="{600B0FCE-F633-4F00-B20F-1253DB6B5E6E}" srcOrd="1" destOrd="0" presId="urn:microsoft.com/office/officeart/2005/8/layout/vList5"/>
    <dgm:cxn modelId="{D62A133E-7EE7-4400-BBD3-BEE1D42936BC}" type="presParOf" srcId="{27648138-B716-41A0-A76C-626220E2874C}" destId="{1A51CAE2-8F35-4B86-BC85-6FAB03C10C9B}" srcOrd="7" destOrd="0" presId="urn:microsoft.com/office/officeart/2005/8/layout/vList5"/>
    <dgm:cxn modelId="{7B875127-DB38-4F56-AA19-66EF137BA038}" type="presParOf" srcId="{27648138-B716-41A0-A76C-626220E2874C}" destId="{930F362C-C84D-4BD3-B965-79AFCF7BEE58}" srcOrd="8" destOrd="0" presId="urn:microsoft.com/office/officeart/2005/8/layout/vList5"/>
    <dgm:cxn modelId="{A91EE0F1-7A7D-48C9-B48D-E778388BB9DC}" type="presParOf" srcId="{930F362C-C84D-4BD3-B965-79AFCF7BEE58}" destId="{36DCF81B-4ED1-4AD8-B27C-5FE0EF7F2B66}" srcOrd="0" destOrd="0" presId="urn:microsoft.com/office/officeart/2005/8/layout/vList5"/>
    <dgm:cxn modelId="{F4C5AA77-93DF-4617-87BC-6E16A091323F}" type="presParOf" srcId="{930F362C-C84D-4BD3-B965-79AFCF7BEE58}" destId="{BCBFAC89-216D-4DFF-897D-8C47A404ADDC}"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6.xml><?xml version="1.0" encoding="utf-8"?>
<dgm:dataModel xmlns:dgm="http://schemas.openxmlformats.org/drawingml/2006/diagram" xmlns:a="http://schemas.openxmlformats.org/drawingml/2006/main">
  <dgm:ptLst>
    <dgm:pt modelId="{FFCB392C-E190-4000-BC2B-8923E66F8E05}"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GB"/>
        </a:p>
      </dgm:t>
    </dgm:pt>
    <dgm:pt modelId="{E6EFA897-0431-492F-B65F-D429EF9274CB}">
      <dgm:prSet phldrT="[Text]" custT="1"/>
      <dgm:spPr>
        <a:solidFill>
          <a:srgbClr val="FC5B2F"/>
        </a:solidFill>
        <a:ln w="63500">
          <a:solidFill>
            <a:schemeClr val="bg1"/>
          </a:solidFill>
        </a:ln>
      </dgm:spPr>
      <dgm:t>
        <a:bodyPr/>
        <a:lstStyle/>
        <a:p>
          <a:r>
            <a:rPr lang="de-DE" sz="2000" b="1"/>
            <a:t>WAS?</a:t>
          </a:r>
          <a:endParaRPr lang="en-GB" sz="2000" b="1"/>
        </a:p>
      </dgm:t>
    </dgm:pt>
    <dgm:pt modelId="{3F2A00E6-14CF-4B7B-83A8-308789775694}" type="parTrans" cxnId="{2E6C1579-6082-4E33-A723-E845F8FBA423}">
      <dgm:prSet/>
      <dgm:spPr/>
      <dgm:t>
        <a:bodyPr/>
        <a:lstStyle/>
        <a:p>
          <a:endParaRPr lang="en-GB"/>
        </a:p>
      </dgm:t>
    </dgm:pt>
    <dgm:pt modelId="{7AEB0645-723A-40EF-ABFC-A5BB952678BD}" type="sibTrans" cxnId="{2E6C1579-6082-4E33-A723-E845F8FBA423}">
      <dgm:prSet/>
      <dgm:spPr/>
      <dgm:t>
        <a:bodyPr/>
        <a:lstStyle/>
        <a:p>
          <a:endParaRPr lang="en-GB"/>
        </a:p>
      </dgm:t>
    </dgm:pt>
    <dgm:pt modelId="{03FEEBAF-B492-4AB8-89C6-4B4628CA1E26}">
      <dgm:prSet phldrT="[Text]" custT="1"/>
      <dgm:spPr>
        <a:solidFill>
          <a:srgbClr val="FC5B2F"/>
        </a:solidFill>
        <a:ln w="63500">
          <a:solidFill>
            <a:schemeClr val="bg1"/>
          </a:solidFill>
        </a:ln>
      </dgm:spPr>
      <dgm:t>
        <a:bodyPr/>
        <a:lstStyle/>
        <a:p>
          <a:r>
            <a:rPr lang="de-DE" sz="2000" b="1"/>
            <a:t>WER?</a:t>
          </a:r>
          <a:endParaRPr lang="en-GB" sz="2000" b="1"/>
        </a:p>
      </dgm:t>
    </dgm:pt>
    <dgm:pt modelId="{36E648EC-D32B-449E-9167-67FC1B8DDF49}" type="parTrans" cxnId="{84E6D674-155B-4E0C-98FA-DD06EBDC25BA}">
      <dgm:prSet/>
      <dgm:spPr/>
      <dgm:t>
        <a:bodyPr/>
        <a:lstStyle/>
        <a:p>
          <a:endParaRPr lang="en-GB"/>
        </a:p>
      </dgm:t>
    </dgm:pt>
    <dgm:pt modelId="{46A33D61-164A-49AF-AE7D-CEFC1DBAB295}" type="sibTrans" cxnId="{84E6D674-155B-4E0C-98FA-DD06EBDC25BA}">
      <dgm:prSet/>
      <dgm:spPr/>
      <dgm:t>
        <a:bodyPr/>
        <a:lstStyle/>
        <a:p>
          <a:endParaRPr lang="en-GB"/>
        </a:p>
      </dgm:t>
    </dgm:pt>
    <dgm:pt modelId="{96260E3C-6263-485C-AAD5-4834D4569D00}">
      <dgm:prSet phldrT="[Text]" custT="1"/>
      <dgm:spPr>
        <a:solidFill>
          <a:srgbClr val="FC5B2F"/>
        </a:solidFill>
        <a:ln w="63500">
          <a:solidFill>
            <a:schemeClr val="bg1"/>
          </a:solidFill>
        </a:ln>
      </dgm:spPr>
      <dgm:t>
        <a:bodyPr/>
        <a:lstStyle/>
        <a:p>
          <a:r>
            <a:rPr lang="de-DE" sz="2000" b="1"/>
            <a:t>WIE VIEL?</a:t>
          </a:r>
          <a:endParaRPr lang="en-GB" sz="2000" b="1"/>
        </a:p>
      </dgm:t>
    </dgm:pt>
    <dgm:pt modelId="{2B5F8176-600B-448A-BAC4-07CC9809E5E1}" type="parTrans" cxnId="{F4407357-DA74-4905-8D57-999A75C49954}">
      <dgm:prSet/>
      <dgm:spPr/>
      <dgm:t>
        <a:bodyPr/>
        <a:lstStyle/>
        <a:p>
          <a:endParaRPr lang="en-GB"/>
        </a:p>
      </dgm:t>
    </dgm:pt>
    <dgm:pt modelId="{9118D841-7835-4425-89DF-5E2FF676BD2C}" type="sibTrans" cxnId="{F4407357-DA74-4905-8D57-999A75C49954}">
      <dgm:prSet/>
      <dgm:spPr/>
      <dgm:t>
        <a:bodyPr/>
        <a:lstStyle/>
        <a:p>
          <a:endParaRPr lang="en-GB"/>
        </a:p>
      </dgm:t>
    </dgm:pt>
    <dgm:pt modelId="{0A2167F3-4E3C-49E8-8F53-F429B724897B}">
      <dgm:prSet phldrT="[Text]" custT="1"/>
      <dgm:spPr>
        <a:solidFill>
          <a:srgbClr val="FEEAE8">
            <a:alpha val="90000"/>
          </a:srgbClr>
        </a:solidFill>
        <a:ln w="63500" cap="rnd">
          <a:solidFill>
            <a:schemeClr val="bg1"/>
          </a:solidFill>
          <a:round/>
        </a:ln>
      </dgm:spPr>
      <dgm:t>
        <a:bodyPr/>
        <a:lstStyle/>
        <a:p>
          <a:r>
            <a:rPr lang="en-GB" sz="1200" err="1">
              <a:latin typeface="+mn-lt"/>
            </a:rPr>
            <a:t>Förderquote</a:t>
          </a:r>
          <a:r>
            <a:rPr lang="en-GB" sz="1200">
              <a:latin typeface="+mn-lt"/>
            </a:rPr>
            <a:t>: 33% des </a:t>
          </a:r>
          <a:r>
            <a:rPr lang="en-GB" sz="1200" err="1">
              <a:latin typeface="+mn-lt"/>
            </a:rPr>
            <a:t>Investitionsgesamtkosten</a:t>
          </a:r>
          <a:r>
            <a:rPr lang="de-DE" altLang="de-DE" sz="1200">
              <a:latin typeface="+mn-lt"/>
            </a:rPr>
            <a:t>; Nebenkosten sind bis zu 30% förderfähig </a:t>
          </a:r>
          <a:endParaRPr lang="en-GB" sz="1200">
            <a:latin typeface="+mn-lt"/>
          </a:endParaRPr>
        </a:p>
      </dgm:t>
    </dgm:pt>
    <dgm:pt modelId="{C31FCFD9-9839-42B9-909B-53DFE97C6A9D}" type="parTrans" cxnId="{92F75A5B-779F-4B6B-9DC9-466C31D92B4C}">
      <dgm:prSet/>
      <dgm:spPr/>
      <dgm:t>
        <a:bodyPr/>
        <a:lstStyle/>
        <a:p>
          <a:endParaRPr lang="en-GB"/>
        </a:p>
      </dgm:t>
    </dgm:pt>
    <dgm:pt modelId="{981FCCCA-D06E-451D-858E-6E6DE23A18B8}" type="sibTrans" cxnId="{92F75A5B-779F-4B6B-9DC9-466C31D92B4C}">
      <dgm:prSet/>
      <dgm:spPr/>
      <dgm:t>
        <a:bodyPr/>
        <a:lstStyle/>
        <a:p>
          <a:endParaRPr lang="en-GB"/>
        </a:p>
      </dgm:t>
    </dgm:pt>
    <dgm:pt modelId="{52BD68D0-EAE3-4487-ADC7-C30AD0C149E7}">
      <dgm:prSet phldrT="[Text]" custT="1"/>
      <dgm:spPr>
        <a:solidFill>
          <a:srgbClr val="FC5B2F"/>
        </a:solidFill>
        <a:ln w="63500">
          <a:solidFill>
            <a:schemeClr val="bg1"/>
          </a:solidFill>
        </a:ln>
      </dgm:spPr>
      <dgm:t>
        <a:bodyPr/>
        <a:lstStyle/>
        <a:p>
          <a:r>
            <a:rPr lang="de-DE" sz="2000" b="1"/>
            <a:t>WO?</a:t>
          </a:r>
          <a:endParaRPr lang="en-GB" sz="2000" b="1"/>
        </a:p>
      </dgm:t>
    </dgm:pt>
    <dgm:pt modelId="{BB9FE834-9348-4C65-ABF7-D62613A39635}" type="parTrans" cxnId="{F1270984-F461-4C12-ACC0-75C88A60C205}">
      <dgm:prSet/>
      <dgm:spPr/>
      <dgm:t>
        <a:bodyPr/>
        <a:lstStyle/>
        <a:p>
          <a:endParaRPr lang="en-GB"/>
        </a:p>
      </dgm:t>
    </dgm:pt>
    <dgm:pt modelId="{C8ED1CA2-595E-436E-B860-29E61D658492}" type="sibTrans" cxnId="{F1270984-F461-4C12-ACC0-75C88A60C205}">
      <dgm:prSet/>
      <dgm:spPr/>
      <dgm:t>
        <a:bodyPr/>
        <a:lstStyle/>
        <a:p>
          <a:endParaRPr lang="en-GB"/>
        </a:p>
      </dgm:t>
    </dgm:pt>
    <dgm:pt modelId="{9769D350-8FE4-4236-B37A-51F281FB0440}">
      <dgm:prSet phldrT="[Text]" custT="1"/>
      <dgm:spPr>
        <a:solidFill>
          <a:srgbClr val="FEEAE8">
            <a:alpha val="90000"/>
          </a:srgbClr>
        </a:solidFill>
        <a:ln w="63500" cap="rnd">
          <a:solidFill>
            <a:schemeClr val="bg1">
              <a:alpha val="90000"/>
            </a:schemeClr>
          </a:solidFill>
          <a:round/>
        </a:ln>
      </dgm:spPr>
      <dgm:t>
        <a:bodyPr/>
        <a:lstStyle/>
        <a:p>
          <a:pPr marL="0" indent="0">
            <a:buNone/>
          </a:pPr>
          <a:r>
            <a:rPr lang="de-DE" sz="1200">
              <a:solidFill>
                <a:schemeClr val="tx1"/>
              </a:solidFill>
              <a:latin typeface="+mn-lt"/>
              <a:hlinkClick xmlns:r="http://schemas.openxmlformats.org/officeDocument/2006/relationships" r:id="rId1">
                <a:extLst>
                  <a:ext uri="{A12FA001-AC4F-418D-AE19-62706E023703}">
                    <ahyp:hlinkClr xmlns:ahyp="http://schemas.microsoft.com/office/drawing/2018/hyperlinkcolor" val="tx"/>
                  </a:ext>
                </a:extLst>
              </a:hlinkClick>
            </a:rPr>
            <a:t>https://www.bafa.de/DE/Energie/Energieeffizienz/Energieeffizienz_und_Prozesswaerme/Modul6_Elektrifizierungsmassnahmen_KU/modul6_elektrifizierungsmassnahmen_ku_node.html</a:t>
          </a:r>
          <a:r>
            <a:rPr lang="de-DE" sz="1200">
              <a:solidFill>
                <a:schemeClr val="tx1"/>
              </a:solidFill>
              <a:latin typeface="+mn-lt"/>
            </a:rPr>
            <a:t> </a:t>
          </a:r>
          <a:endParaRPr lang="en-GB" sz="1200">
            <a:solidFill>
              <a:schemeClr val="tx1"/>
            </a:solidFill>
            <a:latin typeface="+mn-lt"/>
          </a:endParaRPr>
        </a:p>
      </dgm:t>
    </dgm:pt>
    <dgm:pt modelId="{B162A309-DDB3-4E45-92DD-CDBE1CC908D1}" type="parTrans" cxnId="{2B5F364B-9F67-4EFD-A893-5ED40B6C87FC}">
      <dgm:prSet/>
      <dgm:spPr/>
      <dgm:t>
        <a:bodyPr/>
        <a:lstStyle/>
        <a:p>
          <a:endParaRPr lang="en-GB"/>
        </a:p>
      </dgm:t>
    </dgm:pt>
    <dgm:pt modelId="{E3E4F325-38EC-4BAF-80AB-9E71F04CCABD}" type="sibTrans" cxnId="{2B5F364B-9F67-4EFD-A893-5ED40B6C87FC}">
      <dgm:prSet/>
      <dgm:spPr/>
      <dgm:t>
        <a:bodyPr/>
        <a:lstStyle/>
        <a:p>
          <a:endParaRPr lang="en-GB"/>
        </a:p>
      </dgm:t>
    </dgm:pt>
    <dgm:pt modelId="{0304314D-5BF1-42A8-BE34-2A2F0E95F676}">
      <dgm:prSet phldrT="[Text]" custT="1"/>
      <dgm:spPr>
        <a:solidFill>
          <a:srgbClr val="FEEAE8">
            <a:alpha val="90000"/>
          </a:srgbClr>
        </a:solidFill>
        <a:ln w="63500" cap="rnd">
          <a:solidFill>
            <a:schemeClr val="bg1"/>
          </a:solidFill>
          <a:round/>
        </a:ln>
      </dgm:spPr>
      <dgm:t>
        <a:bodyPr/>
        <a:lstStyle/>
        <a:p>
          <a:pPr>
            <a:buNone/>
          </a:pPr>
          <a:r>
            <a:rPr lang="en-GB" sz="1200" strike="noStrike">
              <a:latin typeface="+mn-lt"/>
            </a:rPr>
            <a:t>31.12.2028</a:t>
          </a:r>
          <a:endParaRPr lang="en-GB" sz="1200" strike="noStrike">
            <a:highlight>
              <a:srgbClr val="FFFF00"/>
            </a:highlight>
            <a:latin typeface="+mn-lt"/>
          </a:endParaRPr>
        </a:p>
      </dgm:t>
    </dgm:pt>
    <dgm:pt modelId="{804FF43D-A32E-451E-A676-9BB53C66ECED}" type="parTrans" cxnId="{4C02BB6C-62E0-4B38-BABC-C6745075E7FB}">
      <dgm:prSet/>
      <dgm:spPr/>
      <dgm:t>
        <a:bodyPr/>
        <a:lstStyle/>
        <a:p>
          <a:endParaRPr lang="en-GB"/>
        </a:p>
      </dgm:t>
    </dgm:pt>
    <dgm:pt modelId="{45B9690B-B485-4BD2-A80E-FBB267D431B6}" type="sibTrans" cxnId="{4C02BB6C-62E0-4B38-BABC-C6745075E7FB}">
      <dgm:prSet/>
      <dgm:spPr/>
      <dgm:t>
        <a:bodyPr/>
        <a:lstStyle/>
        <a:p>
          <a:endParaRPr lang="en-GB"/>
        </a:p>
      </dgm:t>
    </dgm:pt>
    <dgm:pt modelId="{5B68FBBB-097B-4FC1-AC52-7BCB9A82E434}">
      <dgm:prSet phldrT="[Text]" custT="1"/>
      <dgm:spPr>
        <a:solidFill>
          <a:srgbClr val="FEEAE8">
            <a:alpha val="90000"/>
          </a:srgbClr>
        </a:solidFill>
        <a:ln w="63500" cap="rnd">
          <a:solidFill>
            <a:schemeClr val="bg1"/>
          </a:solidFill>
          <a:round/>
        </a:ln>
      </dgm:spPr>
      <dgm:t>
        <a:bodyPr/>
        <a:lstStyle/>
        <a:p>
          <a:pPr>
            <a:buFont typeface="Arial" panose="020B0604020202020204" pitchFamily="34" charset="0"/>
            <a:buChar char="•"/>
          </a:pPr>
          <a:r>
            <a:rPr lang="en-GB" sz="1200">
              <a:latin typeface="+mn-lt"/>
            </a:rPr>
            <a:t>Klein- und </a:t>
          </a:r>
          <a:r>
            <a:rPr lang="en-GB" sz="1200" err="1">
              <a:latin typeface="+mn-lt"/>
            </a:rPr>
            <a:t>Kleinstunternehmen</a:t>
          </a:r>
          <a:endParaRPr lang="en-GB" sz="1200">
            <a:latin typeface="+mn-lt"/>
          </a:endParaRPr>
        </a:p>
      </dgm:t>
    </dgm:pt>
    <dgm:pt modelId="{659E152D-55D2-44AD-AE67-588F8779BF6F}" type="parTrans" cxnId="{CED7E969-D16B-49AC-9025-0639DE7A44EA}">
      <dgm:prSet/>
      <dgm:spPr/>
      <dgm:t>
        <a:bodyPr/>
        <a:lstStyle/>
        <a:p>
          <a:endParaRPr lang="en-GB"/>
        </a:p>
      </dgm:t>
    </dgm:pt>
    <dgm:pt modelId="{2DEC8DEC-3F82-4CCC-A411-7762AAC03FEB}" type="sibTrans" cxnId="{CED7E969-D16B-49AC-9025-0639DE7A44EA}">
      <dgm:prSet/>
      <dgm:spPr/>
      <dgm:t>
        <a:bodyPr/>
        <a:lstStyle/>
        <a:p>
          <a:endParaRPr lang="en-GB"/>
        </a:p>
      </dgm:t>
    </dgm:pt>
    <dgm:pt modelId="{B535A52B-C258-44C1-9035-ADC79AAC6E22}">
      <dgm:prSet custT="1"/>
      <dgm:spPr/>
      <dgm:t>
        <a:bodyPr/>
        <a:lstStyle/>
        <a:p>
          <a:pPr>
            <a:buFont typeface="Arial" panose="020B0604020202020204" pitchFamily="34" charset="0"/>
            <a:buChar char="•"/>
          </a:pPr>
          <a:r>
            <a:rPr lang="en-GB" altLang="de-DE" sz="1200">
              <a:solidFill>
                <a:srgbClr val="000000"/>
              </a:solidFill>
              <a:latin typeface="+mn-lt"/>
              <a:cs typeface="Arial"/>
            </a:rPr>
            <a:t>&lt; 50 </a:t>
          </a:r>
          <a:r>
            <a:rPr lang="en-GB" altLang="de-DE" sz="1200" err="1">
              <a:solidFill>
                <a:srgbClr val="000000"/>
              </a:solidFill>
              <a:latin typeface="+mn-lt"/>
              <a:cs typeface="Arial"/>
            </a:rPr>
            <a:t>Mitarbeitende</a:t>
          </a:r>
          <a:r>
            <a:rPr lang="en-GB" altLang="de-DE" sz="1200">
              <a:solidFill>
                <a:srgbClr val="000000"/>
              </a:solidFill>
              <a:latin typeface="+mn-lt"/>
              <a:cs typeface="Arial"/>
            </a:rPr>
            <a:t> und &lt; 10 Mio. € </a:t>
          </a:r>
          <a:r>
            <a:rPr lang="en-GB" altLang="de-DE" sz="1200" err="1">
              <a:solidFill>
                <a:srgbClr val="000000"/>
              </a:solidFill>
              <a:latin typeface="+mn-lt"/>
              <a:cs typeface="Arial"/>
            </a:rPr>
            <a:t>Umsatz</a:t>
          </a:r>
          <a:endParaRPr lang="en-GB" altLang="de-DE" sz="1200">
            <a:solidFill>
              <a:srgbClr val="000000"/>
            </a:solidFill>
            <a:latin typeface="+mn-lt"/>
            <a:cs typeface="Arial"/>
          </a:endParaRPr>
        </a:p>
      </dgm:t>
    </dgm:pt>
    <dgm:pt modelId="{78012BCF-69C4-449C-AEC3-B0589F8833DB}" type="parTrans" cxnId="{39D9E0FD-F017-45EA-BAFB-FDC63B73E39A}">
      <dgm:prSet/>
      <dgm:spPr/>
      <dgm:t>
        <a:bodyPr/>
        <a:lstStyle/>
        <a:p>
          <a:endParaRPr lang="en-GB"/>
        </a:p>
      </dgm:t>
    </dgm:pt>
    <dgm:pt modelId="{54675BED-98AD-47D3-B7E7-149A294E27B8}" type="sibTrans" cxnId="{39D9E0FD-F017-45EA-BAFB-FDC63B73E39A}">
      <dgm:prSet/>
      <dgm:spPr/>
      <dgm:t>
        <a:bodyPr/>
        <a:lstStyle/>
        <a:p>
          <a:endParaRPr lang="en-GB"/>
        </a:p>
      </dgm:t>
    </dgm:pt>
    <dgm:pt modelId="{8C75E0B6-1608-4FDD-8458-065F355C45CB}">
      <dgm:prSet custT="1"/>
      <dgm:spPr/>
      <dgm:t>
        <a:bodyPr/>
        <a:lstStyle/>
        <a:p>
          <a:r>
            <a:rPr lang="en-GB" altLang="de-DE" sz="1200">
              <a:latin typeface="+mn-lt"/>
            </a:rPr>
            <a:t>Max. 200.000 € pro </a:t>
          </a:r>
          <a:r>
            <a:rPr lang="en-GB" altLang="de-DE" sz="1200" err="1">
              <a:latin typeface="+mn-lt"/>
            </a:rPr>
            <a:t>Vorhaben</a:t>
          </a:r>
          <a:endParaRPr lang="en-GB" altLang="de-DE" sz="1200">
            <a:latin typeface="+mn-lt"/>
          </a:endParaRPr>
        </a:p>
      </dgm:t>
    </dgm:pt>
    <dgm:pt modelId="{3F073B5B-144E-441C-9D3F-5011B6A6A41F}" type="parTrans" cxnId="{E08A70DB-0A43-4A65-A56F-4841764507A1}">
      <dgm:prSet/>
      <dgm:spPr/>
      <dgm:t>
        <a:bodyPr/>
        <a:lstStyle/>
        <a:p>
          <a:endParaRPr lang="en-GB"/>
        </a:p>
      </dgm:t>
    </dgm:pt>
    <dgm:pt modelId="{F630B6A9-B05E-4442-B505-C6756BBE4ADF}" type="sibTrans" cxnId="{E08A70DB-0A43-4A65-A56F-4841764507A1}">
      <dgm:prSet/>
      <dgm:spPr/>
      <dgm:t>
        <a:bodyPr/>
        <a:lstStyle/>
        <a:p>
          <a:endParaRPr lang="en-GB"/>
        </a:p>
      </dgm:t>
    </dgm:pt>
    <dgm:pt modelId="{E2A0731F-FFD2-49B1-9835-CD157F10CE26}">
      <dgm:prSet custT="1"/>
      <dgm:spPr/>
      <dgm:t>
        <a:bodyPr/>
        <a:lstStyle/>
        <a:p>
          <a:r>
            <a:rPr lang="de-DE" altLang="de-DE" sz="1200">
              <a:latin typeface="+mn-lt"/>
            </a:rPr>
            <a:t>Beihilferechtliche Vorgaben: De-Minimis-VO</a:t>
          </a:r>
          <a:endParaRPr lang="en-GB" altLang="de-DE" sz="1200">
            <a:latin typeface="+mn-lt"/>
          </a:endParaRPr>
        </a:p>
      </dgm:t>
    </dgm:pt>
    <dgm:pt modelId="{B368B76F-960F-4726-B818-4CF764A4C0BB}" type="parTrans" cxnId="{BE5A495C-C8EA-4A26-8E2C-F6D884613BA4}">
      <dgm:prSet/>
      <dgm:spPr/>
      <dgm:t>
        <a:bodyPr/>
        <a:lstStyle/>
        <a:p>
          <a:endParaRPr lang="en-GB"/>
        </a:p>
      </dgm:t>
    </dgm:pt>
    <dgm:pt modelId="{98709709-500C-4685-B796-09FDA0162067}" type="sibTrans" cxnId="{BE5A495C-C8EA-4A26-8E2C-F6D884613BA4}">
      <dgm:prSet/>
      <dgm:spPr/>
      <dgm:t>
        <a:bodyPr/>
        <a:lstStyle/>
        <a:p>
          <a:endParaRPr lang="en-GB"/>
        </a:p>
      </dgm:t>
    </dgm:pt>
    <dgm:pt modelId="{52B98E0D-74B5-47F3-93A9-75219B6BCE70}">
      <dgm:prSet phldrT="[Text]" custT="1"/>
      <dgm:spPr>
        <a:solidFill>
          <a:srgbClr val="FC5B2F"/>
        </a:solidFill>
        <a:ln w="63500">
          <a:solidFill>
            <a:schemeClr val="bg1"/>
          </a:solidFill>
        </a:ln>
      </dgm:spPr>
      <dgm:t>
        <a:bodyPr/>
        <a:lstStyle/>
        <a:p>
          <a:r>
            <a:rPr lang="de-DE" sz="2000" b="1"/>
            <a:t>BIS WANN?</a:t>
          </a:r>
          <a:endParaRPr lang="en-GB" sz="2000" b="1"/>
        </a:p>
      </dgm:t>
    </dgm:pt>
    <dgm:pt modelId="{CD1C99D8-452D-4FB0-BFC1-18CE9E5E8FC6}" type="sibTrans" cxnId="{954AB5ED-19D8-4B9F-9274-A07D3F0B86DC}">
      <dgm:prSet/>
      <dgm:spPr/>
      <dgm:t>
        <a:bodyPr/>
        <a:lstStyle/>
        <a:p>
          <a:endParaRPr lang="en-GB"/>
        </a:p>
      </dgm:t>
    </dgm:pt>
    <dgm:pt modelId="{98C1EE2D-85CD-4DF7-BA31-B2037EADB0D7}" type="parTrans" cxnId="{954AB5ED-19D8-4B9F-9274-A07D3F0B86DC}">
      <dgm:prSet/>
      <dgm:spPr/>
      <dgm:t>
        <a:bodyPr/>
        <a:lstStyle/>
        <a:p>
          <a:endParaRPr lang="en-GB"/>
        </a:p>
      </dgm:t>
    </dgm:pt>
    <dgm:pt modelId="{68B6805E-7021-44B8-8D1E-497D987D83A8}">
      <dgm:prSet phldrT="[Text]" custT="1"/>
      <dgm:spPr>
        <a:solidFill>
          <a:srgbClr val="FEEAE8">
            <a:alpha val="90000"/>
          </a:srgbClr>
        </a:solidFill>
        <a:ln w="63500" cap="rnd" cmpd="sng">
          <a:solidFill>
            <a:schemeClr val="bg1"/>
          </a:solidFill>
          <a:round/>
        </a:ln>
      </dgm:spPr>
      <dgm:t>
        <a:bodyPr/>
        <a:lstStyle/>
        <a:p>
          <a:pPr rtl="0"/>
          <a:r>
            <a:rPr lang="en-GB" sz="1200" kern="1200" err="1">
              <a:solidFill>
                <a:srgbClr val="000000"/>
              </a:solidFill>
              <a:latin typeface="Segoe UI"/>
              <a:ea typeface="+mn-ea"/>
              <a:cs typeface="Arial"/>
            </a:rPr>
            <a:t>Investitionen</a:t>
          </a:r>
          <a:r>
            <a:rPr lang="en-GB" sz="1200" kern="1200">
              <a:solidFill>
                <a:srgbClr val="000000"/>
              </a:solidFill>
              <a:latin typeface="Segoe UI"/>
              <a:ea typeface="+mn-ea"/>
              <a:cs typeface="Arial"/>
            </a:rPr>
            <a:t> (mind. 2000€) in den </a:t>
          </a:r>
          <a:r>
            <a:rPr lang="en-GB" sz="1200" kern="1200" err="1">
              <a:solidFill>
                <a:srgbClr val="000000"/>
              </a:solidFill>
              <a:latin typeface="Segoe UI"/>
              <a:ea typeface="+mn-ea"/>
              <a:cs typeface="Arial"/>
            </a:rPr>
            <a:t>Austausch</a:t>
          </a:r>
          <a:r>
            <a:rPr lang="en-GB" sz="1200" kern="1200">
              <a:solidFill>
                <a:srgbClr val="000000"/>
              </a:solidFill>
              <a:latin typeface="Segoe UI"/>
              <a:ea typeface="+mn-ea"/>
              <a:cs typeface="Arial"/>
            </a:rPr>
            <a:t> und die </a:t>
          </a:r>
          <a:r>
            <a:rPr lang="en-GB" sz="1200" kern="1200" err="1">
              <a:solidFill>
                <a:srgbClr val="000000"/>
              </a:solidFill>
              <a:latin typeface="Segoe UI"/>
              <a:ea typeface="+mn-ea"/>
              <a:cs typeface="Arial"/>
            </a:rPr>
            <a:t>Umrüstung</a:t>
          </a:r>
          <a:r>
            <a:rPr lang="en-GB" sz="1200" kern="1200">
              <a:solidFill>
                <a:srgbClr val="000000"/>
              </a:solidFill>
              <a:latin typeface="Segoe UI"/>
              <a:ea typeface="+mn-ea"/>
              <a:cs typeface="Arial"/>
            </a:rPr>
            <a:t> von </a:t>
          </a:r>
          <a:r>
            <a:rPr lang="en-GB" sz="1200" kern="1200" err="1">
              <a:solidFill>
                <a:srgbClr val="000000"/>
              </a:solidFill>
              <a:latin typeface="Segoe UI"/>
              <a:ea typeface="+mn-ea"/>
              <a:cs typeface="Arial"/>
            </a:rPr>
            <a:t>Produktionsanlagen</a:t>
          </a:r>
          <a:r>
            <a:rPr lang="en-GB" sz="1200" kern="1200">
              <a:solidFill>
                <a:srgbClr val="000000"/>
              </a:solidFill>
              <a:latin typeface="Segoe UI"/>
              <a:ea typeface="+mn-ea"/>
              <a:cs typeface="Arial"/>
            </a:rPr>
            <a:t> von </a:t>
          </a:r>
          <a:r>
            <a:rPr lang="en-GB" sz="1200" kern="1200" err="1">
              <a:solidFill>
                <a:srgbClr val="000000"/>
              </a:solidFill>
              <a:latin typeface="Segoe UI"/>
              <a:ea typeface="+mn-ea"/>
              <a:cs typeface="Arial"/>
            </a:rPr>
            <a:t>Erdgas</a:t>
          </a:r>
          <a:r>
            <a:rPr lang="en-GB" sz="1200" kern="1200">
              <a:solidFill>
                <a:srgbClr val="000000"/>
              </a:solidFill>
              <a:latin typeface="Segoe UI"/>
              <a:ea typeface="+mn-ea"/>
              <a:cs typeface="Arial"/>
            </a:rPr>
            <a:t>, Kohle </a:t>
          </a:r>
          <a:r>
            <a:rPr lang="en-GB" sz="1200" kern="1200" err="1">
              <a:solidFill>
                <a:srgbClr val="000000"/>
              </a:solidFill>
              <a:latin typeface="Segoe UI"/>
              <a:ea typeface="+mn-ea"/>
              <a:cs typeface="Arial"/>
            </a:rPr>
            <a:t>oder</a:t>
          </a:r>
          <a:r>
            <a:rPr lang="en-GB" sz="1200" kern="1200">
              <a:solidFill>
                <a:srgbClr val="000000"/>
              </a:solidFill>
              <a:latin typeface="Segoe UI"/>
              <a:ea typeface="+mn-ea"/>
              <a:cs typeface="Arial"/>
            </a:rPr>
            <a:t> </a:t>
          </a:r>
          <a:r>
            <a:rPr lang="en-GB" sz="1200" kern="1200" err="1">
              <a:solidFill>
                <a:srgbClr val="000000"/>
              </a:solidFill>
              <a:latin typeface="Segoe UI"/>
              <a:ea typeface="+mn-ea"/>
              <a:cs typeface="Arial"/>
            </a:rPr>
            <a:t>Mineralöl</a:t>
          </a:r>
          <a:r>
            <a:rPr lang="en-GB" sz="1200" kern="1200">
              <a:solidFill>
                <a:srgbClr val="000000"/>
              </a:solidFill>
              <a:latin typeface="Segoe UI"/>
              <a:ea typeface="+mn-ea"/>
              <a:cs typeface="Arial"/>
            </a:rPr>
            <a:t> </a:t>
          </a:r>
          <a:r>
            <a:rPr lang="en-GB" sz="1200" kern="1200" err="1">
              <a:solidFill>
                <a:srgbClr val="000000"/>
              </a:solidFill>
              <a:latin typeface="Segoe UI"/>
              <a:ea typeface="+mn-ea"/>
              <a:cs typeface="Arial"/>
            </a:rPr>
            <a:t>ausschließlich</a:t>
          </a:r>
          <a:r>
            <a:rPr lang="en-GB" sz="1200" kern="1200">
              <a:solidFill>
                <a:srgbClr val="000000"/>
              </a:solidFill>
              <a:latin typeface="Segoe UI"/>
              <a:ea typeface="+mn-ea"/>
              <a:cs typeface="Arial"/>
            </a:rPr>
            <a:t> auf Strom </a:t>
          </a:r>
          <a:r>
            <a:rPr lang="en-GB" sz="1200" kern="1200" err="1">
              <a:solidFill>
                <a:srgbClr val="000000"/>
              </a:solidFill>
              <a:latin typeface="Segoe UI"/>
              <a:ea typeface="+mn-ea"/>
              <a:cs typeface="Arial"/>
            </a:rPr>
            <a:t>oder</a:t>
          </a:r>
          <a:r>
            <a:rPr lang="en-GB" sz="1200" kern="1200">
              <a:solidFill>
                <a:srgbClr val="000000"/>
              </a:solidFill>
              <a:latin typeface="Segoe UI"/>
              <a:ea typeface="+mn-ea"/>
              <a:cs typeface="Arial"/>
            </a:rPr>
            <a:t> EE (</a:t>
          </a:r>
          <a:r>
            <a:rPr lang="en-GB" sz="1200" kern="1200" err="1">
              <a:solidFill>
                <a:srgbClr val="000000"/>
              </a:solidFill>
              <a:latin typeface="Segoe UI"/>
              <a:ea typeface="+mn-ea"/>
              <a:cs typeface="Arial"/>
            </a:rPr>
            <a:t>z.B.</a:t>
          </a:r>
          <a:r>
            <a:rPr lang="en-GB" sz="1200" kern="1200">
              <a:solidFill>
                <a:srgbClr val="000000"/>
              </a:solidFill>
              <a:latin typeface="Segoe UI"/>
              <a:ea typeface="+mn-ea"/>
              <a:cs typeface="Arial"/>
            </a:rPr>
            <a:t> </a:t>
          </a:r>
          <a:r>
            <a:rPr lang="en-GB" sz="1200" kern="1200" err="1">
              <a:solidFill>
                <a:srgbClr val="000000"/>
              </a:solidFill>
              <a:latin typeface="Segoe UI"/>
              <a:ea typeface="+mn-ea"/>
              <a:cs typeface="Arial"/>
            </a:rPr>
            <a:t>Wärmepumpen</a:t>
          </a:r>
          <a:r>
            <a:rPr lang="en-GB" sz="1200" kern="1200">
              <a:solidFill>
                <a:srgbClr val="000000"/>
              </a:solidFill>
              <a:latin typeface="Segoe UI"/>
              <a:ea typeface="+mn-ea"/>
              <a:cs typeface="Arial"/>
            </a:rPr>
            <a:t>, </a:t>
          </a:r>
          <a:r>
            <a:rPr lang="en-GB" sz="1200" kern="1200" err="1">
              <a:solidFill>
                <a:srgbClr val="000000"/>
              </a:solidFill>
              <a:latin typeface="Segoe UI"/>
              <a:ea typeface="+mn-ea"/>
              <a:cs typeface="Arial"/>
            </a:rPr>
            <a:t>Backöfen</a:t>
          </a:r>
          <a:r>
            <a:rPr lang="en-GB" sz="1200" kern="1200">
              <a:solidFill>
                <a:srgbClr val="000000"/>
              </a:solidFill>
              <a:latin typeface="Segoe UI"/>
              <a:ea typeface="+mn-ea"/>
              <a:cs typeface="Arial"/>
            </a:rPr>
            <a:t>, </a:t>
          </a:r>
          <a:r>
            <a:rPr lang="en-GB" sz="1200" kern="1200" err="1">
              <a:solidFill>
                <a:srgbClr val="000000"/>
              </a:solidFill>
              <a:latin typeface="Segoe UI"/>
              <a:ea typeface="+mn-ea"/>
              <a:cs typeface="Arial"/>
            </a:rPr>
            <a:t>Gabelstapler</a:t>
          </a:r>
          <a:r>
            <a:rPr lang="en-GB" sz="1200" kern="1200">
              <a:solidFill>
                <a:srgbClr val="000000"/>
              </a:solidFill>
              <a:latin typeface="Segoe UI"/>
              <a:ea typeface="+mn-ea"/>
              <a:cs typeface="Arial"/>
            </a:rPr>
            <a:t>)</a:t>
          </a:r>
        </a:p>
      </dgm:t>
    </dgm:pt>
    <dgm:pt modelId="{50EE7B4E-85D8-4B81-858A-B5437D01C306}" type="parTrans" cxnId="{C37BB4BC-015B-4184-A100-C4B6DC52EAEF}">
      <dgm:prSet/>
      <dgm:spPr/>
      <dgm:t>
        <a:bodyPr/>
        <a:lstStyle/>
        <a:p>
          <a:endParaRPr lang="de-DE"/>
        </a:p>
      </dgm:t>
    </dgm:pt>
    <dgm:pt modelId="{15445EFB-C4C8-4480-AA37-6C3EF62AF32C}" type="sibTrans" cxnId="{C37BB4BC-015B-4184-A100-C4B6DC52EAEF}">
      <dgm:prSet/>
      <dgm:spPr/>
      <dgm:t>
        <a:bodyPr/>
        <a:lstStyle/>
        <a:p>
          <a:endParaRPr lang="de-DE"/>
        </a:p>
      </dgm:t>
    </dgm:pt>
    <dgm:pt modelId="{4116ED5D-AEBB-4D5D-8E42-BB2E51C94DD5}">
      <dgm:prSet custT="1"/>
      <dgm:spPr/>
      <dgm:t>
        <a:bodyPr/>
        <a:lstStyle/>
        <a:p>
          <a:pPr>
            <a:buFont typeface="Arial" panose="020B0604020202020204" pitchFamily="34" charset="0"/>
            <a:buChar char="•"/>
          </a:pPr>
          <a:r>
            <a:rPr lang="de-DE" altLang="de-DE" sz="1200" err="1">
              <a:solidFill>
                <a:srgbClr val="000000"/>
              </a:solidFill>
              <a:latin typeface="+mn-lt"/>
              <a:cs typeface="Arial"/>
            </a:rPr>
            <a:t>Contractoren</a:t>
          </a:r>
          <a:r>
            <a:rPr lang="de-DE" altLang="de-DE" sz="1200">
              <a:solidFill>
                <a:srgbClr val="000000"/>
              </a:solidFill>
              <a:latin typeface="+mn-lt"/>
              <a:cs typeface="Arial"/>
            </a:rPr>
            <a:t> im Auftrag von </a:t>
          </a:r>
          <a:r>
            <a:rPr lang="de-DE" altLang="de-DE" sz="1200" err="1">
              <a:solidFill>
                <a:srgbClr val="000000"/>
              </a:solidFill>
              <a:latin typeface="+mn-lt"/>
              <a:cs typeface="Arial"/>
            </a:rPr>
            <a:t>antragsberechtigten</a:t>
          </a:r>
          <a:r>
            <a:rPr lang="de-DE" altLang="de-DE" sz="1200">
              <a:solidFill>
                <a:srgbClr val="000000"/>
              </a:solidFill>
              <a:latin typeface="+mn-lt"/>
              <a:cs typeface="Arial"/>
            </a:rPr>
            <a:t> Unternehmen</a:t>
          </a:r>
          <a:endParaRPr lang="en-GB" altLang="de-DE" sz="1200">
            <a:solidFill>
              <a:srgbClr val="000000"/>
            </a:solidFill>
            <a:latin typeface="+mn-lt"/>
            <a:cs typeface="Arial"/>
          </a:endParaRPr>
        </a:p>
      </dgm:t>
    </dgm:pt>
    <dgm:pt modelId="{062A5D64-BB25-4721-B762-1E96E34EDD41}" type="parTrans" cxnId="{104E9F37-D502-44B7-B670-4A57E8928ACC}">
      <dgm:prSet/>
      <dgm:spPr/>
      <dgm:t>
        <a:bodyPr/>
        <a:lstStyle/>
        <a:p>
          <a:endParaRPr lang="en-GB"/>
        </a:p>
      </dgm:t>
    </dgm:pt>
    <dgm:pt modelId="{B0BC303C-F304-42AF-8FAA-C43A0BE2D817}" type="sibTrans" cxnId="{104E9F37-D502-44B7-B670-4A57E8928ACC}">
      <dgm:prSet/>
      <dgm:spPr/>
      <dgm:t>
        <a:bodyPr/>
        <a:lstStyle/>
        <a:p>
          <a:endParaRPr lang="en-GB"/>
        </a:p>
      </dgm:t>
    </dgm:pt>
    <dgm:pt modelId="{548143B1-5980-4528-B98B-5036F9E8EF06}">
      <dgm:prSet phldrT="[Text]" custT="1"/>
      <dgm:spPr>
        <a:solidFill>
          <a:srgbClr val="FEEAE8">
            <a:alpha val="90000"/>
          </a:srgbClr>
        </a:solidFill>
        <a:ln w="63500" cap="rnd">
          <a:solidFill>
            <a:schemeClr val="bg1"/>
          </a:solidFill>
          <a:round/>
        </a:ln>
      </dgm:spPr>
      <dgm:t>
        <a:bodyPr/>
        <a:lstStyle/>
        <a:p>
          <a:r>
            <a:rPr lang="de-DE" altLang="de-DE" sz="1200">
              <a:latin typeface="+mn-lt"/>
            </a:rPr>
            <a:t>Zinsverbilligung von max. 0,5 Prozentpunkten</a:t>
          </a:r>
          <a:endParaRPr lang="en-GB" sz="1200">
            <a:latin typeface="+mn-lt"/>
          </a:endParaRPr>
        </a:p>
      </dgm:t>
    </dgm:pt>
    <dgm:pt modelId="{2F2CC53C-3502-47CA-94A4-D32A70E05E90}" type="parTrans" cxnId="{D7DA786C-A929-46F1-87FF-1C3F70869225}">
      <dgm:prSet/>
      <dgm:spPr/>
      <dgm:t>
        <a:bodyPr/>
        <a:lstStyle/>
        <a:p>
          <a:endParaRPr lang="en-GB"/>
        </a:p>
      </dgm:t>
    </dgm:pt>
    <dgm:pt modelId="{42B78EEB-DCDA-479F-BCD5-CB3722575C99}" type="sibTrans" cxnId="{D7DA786C-A929-46F1-87FF-1C3F70869225}">
      <dgm:prSet/>
      <dgm:spPr/>
      <dgm:t>
        <a:bodyPr/>
        <a:lstStyle/>
        <a:p>
          <a:endParaRPr lang="en-GB"/>
        </a:p>
      </dgm:t>
    </dgm:pt>
    <dgm:pt modelId="{27648138-B716-41A0-A76C-626220E2874C}" type="pres">
      <dgm:prSet presAssocID="{FFCB392C-E190-4000-BC2B-8923E66F8E05}" presName="Name0" presStyleCnt="0">
        <dgm:presLayoutVars>
          <dgm:dir/>
          <dgm:animLvl val="lvl"/>
          <dgm:resizeHandles val="exact"/>
        </dgm:presLayoutVars>
      </dgm:prSet>
      <dgm:spPr/>
    </dgm:pt>
    <dgm:pt modelId="{1ADF6C26-1B25-4A78-B388-B1C46C817D76}" type="pres">
      <dgm:prSet presAssocID="{E6EFA897-0431-492F-B65F-D429EF9274CB}" presName="linNode" presStyleCnt="0"/>
      <dgm:spPr/>
    </dgm:pt>
    <dgm:pt modelId="{9C1950A7-783E-48B6-8E92-F40F44EBAD14}" type="pres">
      <dgm:prSet presAssocID="{E6EFA897-0431-492F-B65F-D429EF9274CB}" presName="parentText" presStyleLbl="node1" presStyleIdx="0" presStyleCnt="5" custScaleX="1418391" custScaleY="197163">
        <dgm:presLayoutVars>
          <dgm:chMax val="1"/>
          <dgm:bulletEnabled val="1"/>
        </dgm:presLayoutVars>
      </dgm:prSet>
      <dgm:spPr/>
    </dgm:pt>
    <dgm:pt modelId="{D4830C8F-A2AE-4990-90BF-6D9758F800E7}" type="pres">
      <dgm:prSet presAssocID="{E6EFA897-0431-492F-B65F-D429EF9274CB}" presName="descendantText" presStyleLbl="alignAccFollowNode1" presStyleIdx="0" presStyleCnt="5" custAng="0" custScaleX="2000000" custScaleY="247701">
        <dgm:presLayoutVars>
          <dgm:bulletEnabled val="1"/>
        </dgm:presLayoutVars>
      </dgm:prSet>
      <dgm:spPr>
        <a:prstGeom prst="roundRect">
          <a:avLst/>
        </a:prstGeom>
      </dgm:spPr>
    </dgm:pt>
    <dgm:pt modelId="{9203D1ED-D34A-4B16-8646-7FE2F50473D2}" type="pres">
      <dgm:prSet presAssocID="{7AEB0645-723A-40EF-ABFC-A5BB952678BD}" presName="sp" presStyleCnt="0"/>
      <dgm:spPr/>
    </dgm:pt>
    <dgm:pt modelId="{53851687-2ABD-4E48-9F25-DB16955D1D90}" type="pres">
      <dgm:prSet presAssocID="{03FEEBAF-B492-4AB8-89C6-4B4628CA1E26}" presName="linNode" presStyleCnt="0"/>
      <dgm:spPr/>
    </dgm:pt>
    <dgm:pt modelId="{6282B259-D810-400D-AF6A-A79E8F7BBC6B}" type="pres">
      <dgm:prSet presAssocID="{03FEEBAF-B492-4AB8-89C6-4B4628CA1E26}" presName="parentText" presStyleLbl="node1" presStyleIdx="1" presStyleCnt="5" custScaleX="1418391" custScaleY="498700">
        <dgm:presLayoutVars>
          <dgm:chMax val="1"/>
          <dgm:bulletEnabled val="1"/>
        </dgm:presLayoutVars>
      </dgm:prSet>
      <dgm:spPr>
        <a:prstGeom prst="roundRect">
          <a:avLst/>
        </a:prstGeom>
      </dgm:spPr>
    </dgm:pt>
    <dgm:pt modelId="{C3CA0957-EF4F-46A9-B14B-C34909532529}" type="pres">
      <dgm:prSet presAssocID="{03FEEBAF-B492-4AB8-89C6-4B4628CA1E26}" presName="descendantText" presStyleLbl="alignAccFollowNode1" presStyleIdx="1" presStyleCnt="5" custScaleX="2000000" custScaleY="621583">
        <dgm:presLayoutVars>
          <dgm:bulletEnabled val="1"/>
        </dgm:presLayoutVars>
      </dgm:prSet>
      <dgm:spPr>
        <a:prstGeom prst="roundRect">
          <a:avLst/>
        </a:prstGeom>
      </dgm:spPr>
    </dgm:pt>
    <dgm:pt modelId="{C9293F8E-C675-4E36-A65B-AAAC8006C733}" type="pres">
      <dgm:prSet presAssocID="{46A33D61-164A-49AF-AE7D-CEFC1DBAB295}" presName="sp" presStyleCnt="0"/>
      <dgm:spPr/>
    </dgm:pt>
    <dgm:pt modelId="{61D33F34-F888-4DD1-BA17-F953371D0B7A}" type="pres">
      <dgm:prSet presAssocID="{96260E3C-6263-485C-AAD5-4834D4569D00}" presName="linNode" presStyleCnt="0"/>
      <dgm:spPr/>
    </dgm:pt>
    <dgm:pt modelId="{E2E438A6-5F37-4E34-923A-0CA8673CDF3A}" type="pres">
      <dgm:prSet presAssocID="{96260E3C-6263-485C-AAD5-4834D4569D00}" presName="parentText" presStyleLbl="node1" presStyleIdx="2" presStyleCnt="5" custScaleX="86660" custScaleY="322204">
        <dgm:presLayoutVars>
          <dgm:chMax val="1"/>
          <dgm:bulletEnabled val="1"/>
        </dgm:presLayoutVars>
      </dgm:prSet>
      <dgm:spPr/>
    </dgm:pt>
    <dgm:pt modelId="{42205B36-F6FD-4A61-8A6C-F7C8A06C6790}" type="pres">
      <dgm:prSet presAssocID="{96260E3C-6263-485C-AAD5-4834D4569D00}" presName="descendantText" presStyleLbl="alignAccFollowNode1" presStyleIdx="2" presStyleCnt="5" custScaleX="122177" custScaleY="403070">
        <dgm:presLayoutVars>
          <dgm:bulletEnabled val="1"/>
        </dgm:presLayoutVars>
      </dgm:prSet>
      <dgm:spPr>
        <a:prstGeom prst="roundRect">
          <a:avLst/>
        </a:prstGeom>
      </dgm:spPr>
    </dgm:pt>
    <dgm:pt modelId="{CDDFDC90-580B-485A-9FC2-5DB7FE6F7287}" type="pres">
      <dgm:prSet presAssocID="{9118D841-7835-4425-89DF-5E2FF676BD2C}" presName="sp" presStyleCnt="0"/>
      <dgm:spPr/>
    </dgm:pt>
    <dgm:pt modelId="{73F3CA5A-E1C8-4A93-9B4D-EA5329F4F21A}" type="pres">
      <dgm:prSet presAssocID="{52BD68D0-EAE3-4487-ADC7-C30AD0C149E7}" presName="linNode" presStyleCnt="0"/>
      <dgm:spPr/>
    </dgm:pt>
    <dgm:pt modelId="{C8A9DE35-1CD6-4E88-9A7A-CD82966A87BF}" type="pres">
      <dgm:prSet presAssocID="{52BD68D0-EAE3-4487-ADC7-C30AD0C149E7}" presName="parentText" presStyleLbl="node1" presStyleIdx="3" presStyleCnt="5" custScaleX="114730" custScaleY="249807">
        <dgm:presLayoutVars>
          <dgm:chMax val="1"/>
          <dgm:bulletEnabled val="1"/>
        </dgm:presLayoutVars>
      </dgm:prSet>
      <dgm:spPr/>
    </dgm:pt>
    <dgm:pt modelId="{600B0FCE-F633-4F00-B20F-1253DB6B5E6E}" type="pres">
      <dgm:prSet presAssocID="{52BD68D0-EAE3-4487-ADC7-C30AD0C149E7}" presName="descendantText" presStyleLbl="alignAccFollowNode1" presStyleIdx="3" presStyleCnt="5" custScaleX="161690" custScaleY="311749">
        <dgm:presLayoutVars>
          <dgm:bulletEnabled val="1"/>
        </dgm:presLayoutVars>
      </dgm:prSet>
      <dgm:spPr>
        <a:prstGeom prst="roundRect">
          <a:avLst/>
        </a:prstGeom>
      </dgm:spPr>
    </dgm:pt>
    <dgm:pt modelId="{1A51CAE2-8F35-4B86-BC85-6FAB03C10C9B}" type="pres">
      <dgm:prSet presAssocID="{C8ED1CA2-595E-436E-B860-29E61D658492}" presName="sp" presStyleCnt="0"/>
      <dgm:spPr/>
    </dgm:pt>
    <dgm:pt modelId="{930F362C-C84D-4BD3-B965-79AFCF7BEE58}" type="pres">
      <dgm:prSet presAssocID="{52B98E0D-74B5-47F3-93A9-75219B6BCE70}" presName="linNode" presStyleCnt="0"/>
      <dgm:spPr/>
    </dgm:pt>
    <dgm:pt modelId="{36DCF81B-4ED1-4AD8-B27C-5FE0EF7F2B66}" type="pres">
      <dgm:prSet presAssocID="{52B98E0D-74B5-47F3-93A9-75219B6BCE70}" presName="parentText" presStyleLbl="node1" presStyleIdx="4" presStyleCnt="5" custScaleX="111007" custScaleY="175674">
        <dgm:presLayoutVars>
          <dgm:chMax val="1"/>
          <dgm:bulletEnabled val="1"/>
        </dgm:presLayoutVars>
      </dgm:prSet>
      <dgm:spPr/>
    </dgm:pt>
    <dgm:pt modelId="{BCBFAC89-216D-4DFF-897D-8C47A404ADDC}" type="pres">
      <dgm:prSet presAssocID="{52B98E0D-74B5-47F3-93A9-75219B6BCE70}" presName="descendantText" presStyleLbl="alignAccFollowNode1" presStyleIdx="4" presStyleCnt="5" custScaleX="156728" custScaleY="219096">
        <dgm:presLayoutVars>
          <dgm:bulletEnabled val="1"/>
        </dgm:presLayoutVars>
      </dgm:prSet>
      <dgm:spPr>
        <a:prstGeom prst="roundRect">
          <a:avLst/>
        </a:prstGeom>
      </dgm:spPr>
    </dgm:pt>
  </dgm:ptLst>
  <dgm:cxnLst>
    <dgm:cxn modelId="{9AA0FE0C-3498-4DEF-BAAA-9ECEAC181F28}" type="presOf" srcId="{FFCB392C-E190-4000-BC2B-8923E66F8E05}" destId="{27648138-B716-41A0-A76C-626220E2874C}" srcOrd="0" destOrd="0" presId="urn:microsoft.com/office/officeart/2005/8/layout/vList5"/>
    <dgm:cxn modelId="{62CF0117-54E5-4DE5-A8EB-83EC17B062A3}" type="presOf" srcId="{4116ED5D-AEBB-4D5D-8E42-BB2E51C94DD5}" destId="{C3CA0957-EF4F-46A9-B14B-C34909532529}" srcOrd="0" destOrd="2" presId="urn:microsoft.com/office/officeart/2005/8/layout/vList5"/>
    <dgm:cxn modelId="{F95F9C27-E753-418D-AD5D-C296FAADD4BD}" type="presOf" srcId="{0A2167F3-4E3C-49E8-8F53-F429B724897B}" destId="{42205B36-F6FD-4A61-8A6C-F7C8A06C6790}" srcOrd="0" destOrd="0" presId="urn:microsoft.com/office/officeart/2005/8/layout/vList5"/>
    <dgm:cxn modelId="{E1A2CC29-A625-43B2-9CE9-1EE9D519E50F}" type="presOf" srcId="{E2A0731F-FFD2-49B1-9835-CD157F10CE26}" destId="{42205B36-F6FD-4A61-8A6C-F7C8A06C6790}" srcOrd="0" destOrd="3" presId="urn:microsoft.com/office/officeart/2005/8/layout/vList5"/>
    <dgm:cxn modelId="{A5523B2B-2528-40F6-A9F1-D7FD3059D53C}" type="presOf" srcId="{5B68FBBB-097B-4FC1-AC52-7BCB9A82E434}" destId="{C3CA0957-EF4F-46A9-B14B-C34909532529}" srcOrd="0" destOrd="0" presId="urn:microsoft.com/office/officeart/2005/8/layout/vList5"/>
    <dgm:cxn modelId="{104E9F37-D502-44B7-B670-4A57E8928ACC}" srcId="{03FEEBAF-B492-4AB8-89C6-4B4628CA1E26}" destId="{4116ED5D-AEBB-4D5D-8E42-BB2E51C94DD5}" srcOrd="2" destOrd="0" parTransId="{062A5D64-BB25-4721-B762-1E96E34EDD41}" sibTransId="{B0BC303C-F304-42AF-8FAA-C43A0BE2D817}"/>
    <dgm:cxn modelId="{92F75A5B-779F-4B6B-9DC9-466C31D92B4C}" srcId="{96260E3C-6263-485C-AAD5-4834D4569D00}" destId="{0A2167F3-4E3C-49E8-8F53-F429B724897B}" srcOrd="0" destOrd="0" parTransId="{C31FCFD9-9839-42B9-909B-53DFE97C6A9D}" sibTransId="{981FCCCA-D06E-451D-858E-6E6DE23A18B8}"/>
    <dgm:cxn modelId="{BE5A495C-C8EA-4A26-8E2C-F6D884613BA4}" srcId="{96260E3C-6263-485C-AAD5-4834D4569D00}" destId="{E2A0731F-FFD2-49B1-9835-CD157F10CE26}" srcOrd="3" destOrd="0" parTransId="{B368B76F-960F-4726-B818-4CF764A4C0BB}" sibTransId="{98709709-500C-4685-B796-09FDA0162067}"/>
    <dgm:cxn modelId="{5CC7C043-72CC-4B87-8B33-CD1612CC569E}" type="presOf" srcId="{548143B1-5980-4528-B98B-5036F9E8EF06}" destId="{42205B36-F6FD-4A61-8A6C-F7C8A06C6790}" srcOrd="0" destOrd="1" presId="urn:microsoft.com/office/officeart/2005/8/layout/vList5"/>
    <dgm:cxn modelId="{CED7E969-D16B-49AC-9025-0639DE7A44EA}" srcId="{03FEEBAF-B492-4AB8-89C6-4B4628CA1E26}" destId="{5B68FBBB-097B-4FC1-AC52-7BCB9A82E434}" srcOrd="0" destOrd="0" parTransId="{659E152D-55D2-44AD-AE67-588F8779BF6F}" sibTransId="{2DEC8DEC-3F82-4CCC-A411-7762AAC03FEB}"/>
    <dgm:cxn modelId="{2B5F364B-9F67-4EFD-A893-5ED40B6C87FC}" srcId="{52BD68D0-EAE3-4487-ADC7-C30AD0C149E7}" destId="{9769D350-8FE4-4236-B37A-51F281FB0440}" srcOrd="0" destOrd="0" parTransId="{B162A309-DDB3-4E45-92DD-CDBE1CC908D1}" sibTransId="{E3E4F325-38EC-4BAF-80AB-9E71F04CCABD}"/>
    <dgm:cxn modelId="{6FA78E6B-EDBB-4C88-A015-C78BBD6DF4A4}" type="presOf" srcId="{B535A52B-C258-44C1-9035-ADC79AAC6E22}" destId="{C3CA0957-EF4F-46A9-B14B-C34909532529}" srcOrd="0" destOrd="1" presId="urn:microsoft.com/office/officeart/2005/8/layout/vList5"/>
    <dgm:cxn modelId="{D7DA786C-A929-46F1-87FF-1C3F70869225}" srcId="{96260E3C-6263-485C-AAD5-4834D4569D00}" destId="{548143B1-5980-4528-B98B-5036F9E8EF06}" srcOrd="1" destOrd="0" parTransId="{2F2CC53C-3502-47CA-94A4-D32A70E05E90}" sibTransId="{42B78EEB-DCDA-479F-BCD5-CB3722575C99}"/>
    <dgm:cxn modelId="{4C02BB6C-62E0-4B38-BABC-C6745075E7FB}" srcId="{52B98E0D-74B5-47F3-93A9-75219B6BCE70}" destId="{0304314D-5BF1-42A8-BE34-2A2F0E95F676}" srcOrd="0" destOrd="0" parTransId="{804FF43D-A32E-451E-A676-9BB53C66ECED}" sibTransId="{45B9690B-B485-4BD2-A80E-FBB267D431B6}"/>
    <dgm:cxn modelId="{C9682A4E-F57B-4634-8E51-44FAB228FA44}" type="presOf" srcId="{52B98E0D-74B5-47F3-93A9-75219B6BCE70}" destId="{36DCF81B-4ED1-4AD8-B27C-5FE0EF7F2B66}" srcOrd="0" destOrd="0" presId="urn:microsoft.com/office/officeart/2005/8/layout/vList5"/>
    <dgm:cxn modelId="{84E6D674-155B-4E0C-98FA-DD06EBDC25BA}" srcId="{FFCB392C-E190-4000-BC2B-8923E66F8E05}" destId="{03FEEBAF-B492-4AB8-89C6-4B4628CA1E26}" srcOrd="1" destOrd="0" parTransId="{36E648EC-D32B-449E-9167-67FC1B8DDF49}" sibTransId="{46A33D61-164A-49AF-AE7D-CEFC1DBAB295}"/>
    <dgm:cxn modelId="{F4407357-DA74-4905-8D57-999A75C49954}" srcId="{FFCB392C-E190-4000-BC2B-8923E66F8E05}" destId="{96260E3C-6263-485C-AAD5-4834D4569D00}" srcOrd="2" destOrd="0" parTransId="{2B5F8176-600B-448A-BAC4-07CC9809E5E1}" sibTransId="{9118D841-7835-4425-89DF-5E2FF676BD2C}"/>
    <dgm:cxn modelId="{6C86FD78-E231-4A7A-8A70-558A26DE4F4B}" type="presOf" srcId="{8C75E0B6-1608-4FDD-8458-065F355C45CB}" destId="{42205B36-F6FD-4A61-8A6C-F7C8A06C6790}" srcOrd="0" destOrd="2" presId="urn:microsoft.com/office/officeart/2005/8/layout/vList5"/>
    <dgm:cxn modelId="{2E6C1579-6082-4E33-A723-E845F8FBA423}" srcId="{FFCB392C-E190-4000-BC2B-8923E66F8E05}" destId="{E6EFA897-0431-492F-B65F-D429EF9274CB}" srcOrd="0" destOrd="0" parTransId="{3F2A00E6-14CF-4B7B-83A8-308789775694}" sibTransId="{7AEB0645-723A-40EF-ABFC-A5BB952678BD}"/>
    <dgm:cxn modelId="{1261B27E-0369-4095-9661-BBC2129CF9E6}" type="presOf" srcId="{9769D350-8FE4-4236-B37A-51F281FB0440}" destId="{600B0FCE-F633-4F00-B20F-1253DB6B5E6E}" srcOrd="0" destOrd="0" presId="urn:microsoft.com/office/officeart/2005/8/layout/vList5"/>
    <dgm:cxn modelId="{F1270984-F461-4C12-ACC0-75C88A60C205}" srcId="{FFCB392C-E190-4000-BC2B-8923E66F8E05}" destId="{52BD68D0-EAE3-4487-ADC7-C30AD0C149E7}" srcOrd="3" destOrd="0" parTransId="{BB9FE834-9348-4C65-ABF7-D62613A39635}" sibTransId="{C8ED1CA2-595E-436E-B860-29E61D658492}"/>
    <dgm:cxn modelId="{C2362A92-277A-42D8-9552-9EEEFC45F738}" type="presOf" srcId="{68B6805E-7021-44B8-8D1E-497D987D83A8}" destId="{D4830C8F-A2AE-4990-90BF-6D9758F800E7}" srcOrd="0" destOrd="0" presId="urn:microsoft.com/office/officeart/2005/8/layout/vList5"/>
    <dgm:cxn modelId="{B6EACBB4-A375-443D-902C-3E742EA6A7AB}" type="presOf" srcId="{0304314D-5BF1-42A8-BE34-2A2F0E95F676}" destId="{BCBFAC89-216D-4DFF-897D-8C47A404ADDC}" srcOrd="0" destOrd="0" presId="urn:microsoft.com/office/officeart/2005/8/layout/vList5"/>
    <dgm:cxn modelId="{63E0AEB6-5CA9-4601-B05E-15DA2DE71DE1}" type="presOf" srcId="{03FEEBAF-B492-4AB8-89C6-4B4628CA1E26}" destId="{6282B259-D810-400D-AF6A-A79E8F7BBC6B}" srcOrd="0" destOrd="0" presId="urn:microsoft.com/office/officeart/2005/8/layout/vList5"/>
    <dgm:cxn modelId="{C37BB4BC-015B-4184-A100-C4B6DC52EAEF}" srcId="{E6EFA897-0431-492F-B65F-D429EF9274CB}" destId="{68B6805E-7021-44B8-8D1E-497D987D83A8}" srcOrd="0" destOrd="0" parTransId="{50EE7B4E-85D8-4B81-858A-B5437D01C306}" sibTransId="{15445EFB-C4C8-4480-AA37-6C3EF62AF32C}"/>
    <dgm:cxn modelId="{186ADDC8-E13B-497A-B8CC-268BA4BB6882}" type="presOf" srcId="{E6EFA897-0431-492F-B65F-D429EF9274CB}" destId="{9C1950A7-783E-48B6-8E92-F40F44EBAD14}" srcOrd="0" destOrd="0" presId="urn:microsoft.com/office/officeart/2005/8/layout/vList5"/>
    <dgm:cxn modelId="{3A754EC9-4700-4E62-8D18-497E27C681AD}" type="presOf" srcId="{96260E3C-6263-485C-AAD5-4834D4569D00}" destId="{E2E438A6-5F37-4E34-923A-0CA8673CDF3A}" srcOrd="0" destOrd="0" presId="urn:microsoft.com/office/officeart/2005/8/layout/vList5"/>
    <dgm:cxn modelId="{E08A70DB-0A43-4A65-A56F-4841764507A1}" srcId="{96260E3C-6263-485C-AAD5-4834D4569D00}" destId="{8C75E0B6-1608-4FDD-8458-065F355C45CB}" srcOrd="2" destOrd="0" parTransId="{3F073B5B-144E-441C-9D3F-5011B6A6A41F}" sibTransId="{F630B6A9-B05E-4442-B505-C6756BBE4ADF}"/>
    <dgm:cxn modelId="{ABAFECDC-449D-4D07-9045-9B6BBF5D33E9}" type="presOf" srcId="{52BD68D0-EAE3-4487-ADC7-C30AD0C149E7}" destId="{C8A9DE35-1CD6-4E88-9A7A-CD82966A87BF}" srcOrd="0" destOrd="0" presId="urn:microsoft.com/office/officeart/2005/8/layout/vList5"/>
    <dgm:cxn modelId="{954AB5ED-19D8-4B9F-9274-A07D3F0B86DC}" srcId="{FFCB392C-E190-4000-BC2B-8923E66F8E05}" destId="{52B98E0D-74B5-47F3-93A9-75219B6BCE70}" srcOrd="4" destOrd="0" parTransId="{98C1EE2D-85CD-4DF7-BA31-B2037EADB0D7}" sibTransId="{CD1C99D8-452D-4FB0-BFC1-18CE9E5E8FC6}"/>
    <dgm:cxn modelId="{39D9E0FD-F017-45EA-BAFB-FDC63B73E39A}" srcId="{03FEEBAF-B492-4AB8-89C6-4B4628CA1E26}" destId="{B535A52B-C258-44C1-9035-ADC79AAC6E22}" srcOrd="1" destOrd="0" parTransId="{78012BCF-69C4-449C-AEC3-B0589F8833DB}" sibTransId="{54675BED-98AD-47D3-B7E7-149A294E27B8}"/>
    <dgm:cxn modelId="{36623C55-CE13-4AD6-BE4E-AD62A1CBA121}" type="presParOf" srcId="{27648138-B716-41A0-A76C-626220E2874C}" destId="{1ADF6C26-1B25-4A78-B388-B1C46C817D76}" srcOrd="0" destOrd="0" presId="urn:microsoft.com/office/officeart/2005/8/layout/vList5"/>
    <dgm:cxn modelId="{4DECFFBA-D269-4BF6-BE7C-8704F340A47C}" type="presParOf" srcId="{1ADF6C26-1B25-4A78-B388-B1C46C817D76}" destId="{9C1950A7-783E-48B6-8E92-F40F44EBAD14}" srcOrd="0" destOrd="0" presId="urn:microsoft.com/office/officeart/2005/8/layout/vList5"/>
    <dgm:cxn modelId="{49D490F8-05D0-4A47-83E7-1EE4A6BF73D4}" type="presParOf" srcId="{1ADF6C26-1B25-4A78-B388-B1C46C817D76}" destId="{D4830C8F-A2AE-4990-90BF-6D9758F800E7}" srcOrd="1" destOrd="0" presId="urn:microsoft.com/office/officeart/2005/8/layout/vList5"/>
    <dgm:cxn modelId="{5B9BC308-3876-4978-BF6D-848C851655F5}" type="presParOf" srcId="{27648138-B716-41A0-A76C-626220E2874C}" destId="{9203D1ED-D34A-4B16-8646-7FE2F50473D2}" srcOrd="1" destOrd="0" presId="urn:microsoft.com/office/officeart/2005/8/layout/vList5"/>
    <dgm:cxn modelId="{76438024-2C90-4EBC-ABBD-DF4056D36DDD}" type="presParOf" srcId="{27648138-B716-41A0-A76C-626220E2874C}" destId="{53851687-2ABD-4E48-9F25-DB16955D1D90}" srcOrd="2" destOrd="0" presId="urn:microsoft.com/office/officeart/2005/8/layout/vList5"/>
    <dgm:cxn modelId="{EDDEF264-1614-484B-B8FD-C8A0587F3E52}" type="presParOf" srcId="{53851687-2ABD-4E48-9F25-DB16955D1D90}" destId="{6282B259-D810-400D-AF6A-A79E8F7BBC6B}" srcOrd="0" destOrd="0" presId="urn:microsoft.com/office/officeart/2005/8/layout/vList5"/>
    <dgm:cxn modelId="{D30CBBBF-CA02-44E5-99C0-F6F65FB68257}" type="presParOf" srcId="{53851687-2ABD-4E48-9F25-DB16955D1D90}" destId="{C3CA0957-EF4F-46A9-B14B-C34909532529}" srcOrd="1" destOrd="0" presId="urn:microsoft.com/office/officeart/2005/8/layout/vList5"/>
    <dgm:cxn modelId="{BDFEC1CA-78BC-4DE1-9EB9-E38E7B8E9596}" type="presParOf" srcId="{27648138-B716-41A0-A76C-626220E2874C}" destId="{C9293F8E-C675-4E36-A65B-AAAC8006C733}" srcOrd="3" destOrd="0" presId="urn:microsoft.com/office/officeart/2005/8/layout/vList5"/>
    <dgm:cxn modelId="{C4B2619F-7DA6-4658-AA77-2FDF39975197}" type="presParOf" srcId="{27648138-B716-41A0-A76C-626220E2874C}" destId="{61D33F34-F888-4DD1-BA17-F953371D0B7A}" srcOrd="4" destOrd="0" presId="urn:microsoft.com/office/officeart/2005/8/layout/vList5"/>
    <dgm:cxn modelId="{2FD8CD44-C7F9-43AD-9B52-630B7CC91C5C}" type="presParOf" srcId="{61D33F34-F888-4DD1-BA17-F953371D0B7A}" destId="{E2E438A6-5F37-4E34-923A-0CA8673CDF3A}" srcOrd="0" destOrd="0" presId="urn:microsoft.com/office/officeart/2005/8/layout/vList5"/>
    <dgm:cxn modelId="{5F124C72-3FD6-4255-B876-8999C771D87C}" type="presParOf" srcId="{61D33F34-F888-4DD1-BA17-F953371D0B7A}" destId="{42205B36-F6FD-4A61-8A6C-F7C8A06C6790}" srcOrd="1" destOrd="0" presId="urn:microsoft.com/office/officeart/2005/8/layout/vList5"/>
    <dgm:cxn modelId="{5E0D6B70-5F2F-45A3-86AA-183C13C1A6AA}" type="presParOf" srcId="{27648138-B716-41A0-A76C-626220E2874C}" destId="{CDDFDC90-580B-485A-9FC2-5DB7FE6F7287}" srcOrd="5" destOrd="0" presId="urn:microsoft.com/office/officeart/2005/8/layout/vList5"/>
    <dgm:cxn modelId="{6F253042-D7C8-4B7D-9FEF-FB031CBF6CC5}" type="presParOf" srcId="{27648138-B716-41A0-A76C-626220E2874C}" destId="{73F3CA5A-E1C8-4A93-9B4D-EA5329F4F21A}" srcOrd="6" destOrd="0" presId="urn:microsoft.com/office/officeart/2005/8/layout/vList5"/>
    <dgm:cxn modelId="{4245BE60-5409-4B2F-AD96-F4F63CC1432C}" type="presParOf" srcId="{73F3CA5A-E1C8-4A93-9B4D-EA5329F4F21A}" destId="{C8A9DE35-1CD6-4E88-9A7A-CD82966A87BF}" srcOrd="0" destOrd="0" presId="urn:microsoft.com/office/officeart/2005/8/layout/vList5"/>
    <dgm:cxn modelId="{E8E8B4AE-4F7E-4AD5-8A15-D14916C48492}" type="presParOf" srcId="{73F3CA5A-E1C8-4A93-9B4D-EA5329F4F21A}" destId="{600B0FCE-F633-4F00-B20F-1253DB6B5E6E}" srcOrd="1" destOrd="0" presId="urn:microsoft.com/office/officeart/2005/8/layout/vList5"/>
    <dgm:cxn modelId="{BAD311A2-24F2-4CE9-8646-DFB9F5F6B5A3}" type="presParOf" srcId="{27648138-B716-41A0-A76C-626220E2874C}" destId="{1A51CAE2-8F35-4B86-BC85-6FAB03C10C9B}" srcOrd="7" destOrd="0" presId="urn:microsoft.com/office/officeart/2005/8/layout/vList5"/>
    <dgm:cxn modelId="{4A598431-260C-4E6E-83BF-52CFC9204234}" type="presParOf" srcId="{27648138-B716-41A0-A76C-626220E2874C}" destId="{930F362C-C84D-4BD3-B965-79AFCF7BEE58}" srcOrd="8" destOrd="0" presId="urn:microsoft.com/office/officeart/2005/8/layout/vList5"/>
    <dgm:cxn modelId="{6E3D6817-2E12-447E-B66E-93CED88B1220}" type="presParOf" srcId="{930F362C-C84D-4BD3-B965-79AFCF7BEE58}" destId="{36DCF81B-4ED1-4AD8-B27C-5FE0EF7F2B66}" srcOrd="0" destOrd="0" presId="urn:microsoft.com/office/officeart/2005/8/layout/vList5"/>
    <dgm:cxn modelId="{6C99B66F-E916-4FEB-B3E8-02761F76055D}" type="presParOf" srcId="{930F362C-C84D-4BD3-B965-79AFCF7BEE58}" destId="{BCBFAC89-216D-4DFF-897D-8C47A404ADDC}"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FFCB392C-E190-4000-BC2B-8923E66F8E05}"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GB"/>
        </a:p>
      </dgm:t>
    </dgm:pt>
    <dgm:pt modelId="{E6EFA897-0431-492F-B65F-D429EF9274CB}">
      <dgm:prSet phldrT="[Text]" custT="1"/>
      <dgm:spPr>
        <a:solidFill>
          <a:srgbClr val="FC5B2F"/>
        </a:solidFill>
        <a:ln w="63500">
          <a:solidFill>
            <a:schemeClr val="bg1"/>
          </a:solidFill>
        </a:ln>
      </dgm:spPr>
      <dgm:t>
        <a:bodyPr/>
        <a:lstStyle/>
        <a:p>
          <a:r>
            <a:rPr lang="de-DE" sz="2000" b="1"/>
            <a:t>WAS?</a:t>
          </a:r>
          <a:endParaRPr lang="en-GB" sz="2000" b="1"/>
        </a:p>
      </dgm:t>
    </dgm:pt>
    <dgm:pt modelId="{3F2A00E6-14CF-4B7B-83A8-308789775694}" type="parTrans" cxnId="{2E6C1579-6082-4E33-A723-E845F8FBA423}">
      <dgm:prSet/>
      <dgm:spPr/>
      <dgm:t>
        <a:bodyPr/>
        <a:lstStyle/>
        <a:p>
          <a:endParaRPr lang="en-GB"/>
        </a:p>
      </dgm:t>
    </dgm:pt>
    <dgm:pt modelId="{7AEB0645-723A-40EF-ABFC-A5BB952678BD}" type="sibTrans" cxnId="{2E6C1579-6082-4E33-A723-E845F8FBA423}">
      <dgm:prSet/>
      <dgm:spPr/>
      <dgm:t>
        <a:bodyPr/>
        <a:lstStyle/>
        <a:p>
          <a:endParaRPr lang="en-GB"/>
        </a:p>
      </dgm:t>
    </dgm:pt>
    <dgm:pt modelId="{03FEEBAF-B492-4AB8-89C6-4B4628CA1E26}">
      <dgm:prSet phldrT="[Text]" custT="1"/>
      <dgm:spPr>
        <a:solidFill>
          <a:srgbClr val="FC5B2F"/>
        </a:solidFill>
        <a:ln w="63500">
          <a:solidFill>
            <a:schemeClr val="bg1"/>
          </a:solidFill>
        </a:ln>
      </dgm:spPr>
      <dgm:t>
        <a:bodyPr/>
        <a:lstStyle/>
        <a:p>
          <a:r>
            <a:rPr lang="de-DE" sz="2000" b="1"/>
            <a:t>WER?</a:t>
          </a:r>
          <a:endParaRPr lang="en-GB" sz="2000" b="1"/>
        </a:p>
      </dgm:t>
    </dgm:pt>
    <dgm:pt modelId="{36E648EC-D32B-449E-9167-67FC1B8DDF49}" type="parTrans" cxnId="{84E6D674-155B-4E0C-98FA-DD06EBDC25BA}">
      <dgm:prSet/>
      <dgm:spPr/>
      <dgm:t>
        <a:bodyPr/>
        <a:lstStyle/>
        <a:p>
          <a:endParaRPr lang="en-GB"/>
        </a:p>
      </dgm:t>
    </dgm:pt>
    <dgm:pt modelId="{46A33D61-164A-49AF-AE7D-CEFC1DBAB295}" type="sibTrans" cxnId="{84E6D674-155B-4E0C-98FA-DD06EBDC25BA}">
      <dgm:prSet/>
      <dgm:spPr/>
      <dgm:t>
        <a:bodyPr/>
        <a:lstStyle/>
        <a:p>
          <a:endParaRPr lang="en-GB"/>
        </a:p>
      </dgm:t>
    </dgm:pt>
    <dgm:pt modelId="{96260E3C-6263-485C-AAD5-4834D4569D00}">
      <dgm:prSet phldrT="[Text]" custT="1"/>
      <dgm:spPr>
        <a:solidFill>
          <a:srgbClr val="FC5B2F"/>
        </a:solidFill>
        <a:ln w="63500">
          <a:solidFill>
            <a:schemeClr val="bg1"/>
          </a:solidFill>
        </a:ln>
      </dgm:spPr>
      <dgm:t>
        <a:bodyPr/>
        <a:lstStyle/>
        <a:p>
          <a:r>
            <a:rPr lang="de-DE" sz="2000" b="1"/>
            <a:t>WIE VIEL?</a:t>
          </a:r>
          <a:endParaRPr lang="en-GB" sz="2000" b="1"/>
        </a:p>
      </dgm:t>
    </dgm:pt>
    <dgm:pt modelId="{2B5F8176-600B-448A-BAC4-07CC9809E5E1}" type="parTrans" cxnId="{F4407357-DA74-4905-8D57-999A75C49954}">
      <dgm:prSet/>
      <dgm:spPr/>
      <dgm:t>
        <a:bodyPr/>
        <a:lstStyle/>
        <a:p>
          <a:endParaRPr lang="en-GB"/>
        </a:p>
      </dgm:t>
    </dgm:pt>
    <dgm:pt modelId="{9118D841-7835-4425-89DF-5E2FF676BD2C}" type="sibTrans" cxnId="{F4407357-DA74-4905-8D57-999A75C49954}">
      <dgm:prSet/>
      <dgm:spPr/>
      <dgm:t>
        <a:bodyPr/>
        <a:lstStyle/>
        <a:p>
          <a:endParaRPr lang="en-GB"/>
        </a:p>
      </dgm:t>
    </dgm:pt>
    <dgm:pt modelId="{0A2167F3-4E3C-49E8-8F53-F429B724897B}">
      <dgm:prSet phldrT="[Text]" custT="1"/>
      <dgm:spPr>
        <a:solidFill>
          <a:srgbClr val="FEEAE8">
            <a:alpha val="90000"/>
          </a:srgbClr>
        </a:solidFill>
        <a:ln w="63500" cap="rnd">
          <a:solidFill>
            <a:schemeClr val="bg1"/>
          </a:solidFill>
          <a:round/>
        </a:ln>
      </dgm:spPr>
      <dgm:t>
        <a:bodyPr/>
        <a:lstStyle/>
        <a:p>
          <a:r>
            <a:rPr lang="de-DE" altLang="de-DE" sz="1200">
              <a:latin typeface="+mn-lt"/>
            </a:rPr>
            <a:t>Zentrales Auswahlkriterium ist die je Förder-Euro pro erreichte CO2-Einsparung/Jahr (Fördereffizienz)</a:t>
          </a:r>
          <a:endParaRPr lang="en-GB" sz="1200">
            <a:latin typeface="+mn-lt"/>
          </a:endParaRPr>
        </a:p>
      </dgm:t>
    </dgm:pt>
    <dgm:pt modelId="{C31FCFD9-9839-42B9-909B-53DFE97C6A9D}" type="parTrans" cxnId="{92F75A5B-779F-4B6B-9DC9-466C31D92B4C}">
      <dgm:prSet/>
      <dgm:spPr/>
      <dgm:t>
        <a:bodyPr/>
        <a:lstStyle/>
        <a:p>
          <a:endParaRPr lang="en-GB"/>
        </a:p>
      </dgm:t>
    </dgm:pt>
    <dgm:pt modelId="{981FCCCA-D06E-451D-858E-6E6DE23A18B8}" type="sibTrans" cxnId="{92F75A5B-779F-4B6B-9DC9-466C31D92B4C}">
      <dgm:prSet/>
      <dgm:spPr/>
      <dgm:t>
        <a:bodyPr/>
        <a:lstStyle/>
        <a:p>
          <a:endParaRPr lang="en-GB"/>
        </a:p>
      </dgm:t>
    </dgm:pt>
    <dgm:pt modelId="{52BD68D0-EAE3-4487-ADC7-C30AD0C149E7}">
      <dgm:prSet phldrT="[Text]" custT="1"/>
      <dgm:spPr>
        <a:solidFill>
          <a:srgbClr val="FC5B2F"/>
        </a:solidFill>
        <a:ln w="63500">
          <a:solidFill>
            <a:schemeClr val="bg1"/>
          </a:solidFill>
        </a:ln>
      </dgm:spPr>
      <dgm:t>
        <a:bodyPr/>
        <a:lstStyle/>
        <a:p>
          <a:r>
            <a:rPr lang="de-DE" sz="2000" b="1"/>
            <a:t>WO?</a:t>
          </a:r>
          <a:endParaRPr lang="en-GB" sz="2000" b="1"/>
        </a:p>
      </dgm:t>
    </dgm:pt>
    <dgm:pt modelId="{BB9FE834-9348-4C65-ABF7-D62613A39635}" type="parTrans" cxnId="{F1270984-F461-4C12-ACC0-75C88A60C205}">
      <dgm:prSet/>
      <dgm:spPr/>
      <dgm:t>
        <a:bodyPr/>
        <a:lstStyle/>
        <a:p>
          <a:endParaRPr lang="en-GB"/>
        </a:p>
      </dgm:t>
    </dgm:pt>
    <dgm:pt modelId="{C8ED1CA2-595E-436E-B860-29E61D658492}" type="sibTrans" cxnId="{F1270984-F461-4C12-ACC0-75C88A60C205}">
      <dgm:prSet/>
      <dgm:spPr/>
      <dgm:t>
        <a:bodyPr/>
        <a:lstStyle/>
        <a:p>
          <a:endParaRPr lang="en-GB"/>
        </a:p>
      </dgm:t>
    </dgm:pt>
    <dgm:pt modelId="{52B98E0D-74B5-47F3-93A9-75219B6BCE70}">
      <dgm:prSet phldrT="[Text]" custT="1"/>
      <dgm:spPr>
        <a:solidFill>
          <a:srgbClr val="FC5B2F"/>
        </a:solidFill>
        <a:ln w="63500">
          <a:solidFill>
            <a:schemeClr val="bg1"/>
          </a:solidFill>
        </a:ln>
      </dgm:spPr>
      <dgm:t>
        <a:bodyPr/>
        <a:lstStyle/>
        <a:p>
          <a:r>
            <a:rPr lang="de-DE" sz="2000" b="1"/>
            <a:t>BIS WANN?</a:t>
          </a:r>
          <a:endParaRPr lang="en-GB" sz="2000" b="1"/>
        </a:p>
      </dgm:t>
    </dgm:pt>
    <dgm:pt modelId="{98C1EE2D-85CD-4DF7-BA31-B2037EADB0D7}" type="parTrans" cxnId="{954AB5ED-19D8-4B9F-9274-A07D3F0B86DC}">
      <dgm:prSet/>
      <dgm:spPr/>
      <dgm:t>
        <a:bodyPr/>
        <a:lstStyle/>
        <a:p>
          <a:endParaRPr lang="en-GB"/>
        </a:p>
      </dgm:t>
    </dgm:pt>
    <dgm:pt modelId="{CD1C99D8-452D-4FB0-BFC1-18CE9E5E8FC6}" type="sibTrans" cxnId="{954AB5ED-19D8-4B9F-9274-A07D3F0B86DC}">
      <dgm:prSet/>
      <dgm:spPr/>
      <dgm:t>
        <a:bodyPr/>
        <a:lstStyle/>
        <a:p>
          <a:endParaRPr lang="en-GB"/>
        </a:p>
      </dgm:t>
    </dgm:pt>
    <dgm:pt modelId="{9769D350-8FE4-4236-B37A-51F281FB0440}">
      <dgm:prSet phldrT="[Text]" custT="1"/>
      <dgm:spPr>
        <a:solidFill>
          <a:srgbClr val="FEEAE8">
            <a:alpha val="90000"/>
          </a:srgbClr>
        </a:solidFill>
        <a:ln w="63500" cap="rnd">
          <a:solidFill>
            <a:schemeClr val="bg1">
              <a:alpha val="90000"/>
            </a:schemeClr>
          </a:solidFill>
          <a:round/>
        </a:ln>
      </dgm:spPr>
      <dgm:t>
        <a:bodyPr/>
        <a:lstStyle/>
        <a:p>
          <a:pPr>
            <a:buNone/>
          </a:pPr>
          <a:r>
            <a:rPr lang="en-GB" altLang="de-DE" sz="1200">
              <a:solidFill>
                <a:schemeClr val="tx1"/>
              </a:solidFill>
              <a:latin typeface="+mn-lt"/>
              <a:hlinkClick xmlns:r="http://schemas.openxmlformats.org/officeDocument/2006/relationships" r:id="rId1">
                <a:extLst>
                  <a:ext uri="{A12FA001-AC4F-418D-AE19-62706E023703}">
                    <ahyp:hlinkClr xmlns:ahyp="http://schemas.microsoft.com/office/drawing/2018/hyperlinkcolor" val="tx"/>
                  </a:ext>
                </a:extLst>
              </a:hlinkClick>
            </a:rPr>
            <a:t>https://www.wettbewerb-energieeffizienz.de/foerderwettbewerb</a:t>
          </a:r>
          <a:endParaRPr lang="en-GB" sz="1200">
            <a:solidFill>
              <a:schemeClr val="tx1"/>
            </a:solidFill>
            <a:latin typeface="+mn-lt"/>
          </a:endParaRPr>
        </a:p>
      </dgm:t>
    </dgm:pt>
    <dgm:pt modelId="{B162A309-DDB3-4E45-92DD-CDBE1CC908D1}" type="parTrans" cxnId="{2B5F364B-9F67-4EFD-A893-5ED40B6C87FC}">
      <dgm:prSet/>
      <dgm:spPr/>
      <dgm:t>
        <a:bodyPr/>
        <a:lstStyle/>
        <a:p>
          <a:endParaRPr lang="en-GB"/>
        </a:p>
      </dgm:t>
    </dgm:pt>
    <dgm:pt modelId="{E3E4F325-38EC-4BAF-80AB-9E71F04CCABD}" type="sibTrans" cxnId="{2B5F364B-9F67-4EFD-A893-5ED40B6C87FC}">
      <dgm:prSet/>
      <dgm:spPr/>
      <dgm:t>
        <a:bodyPr/>
        <a:lstStyle/>
        <a:p>
          <a:endParaRPr lang="en-GB"/>
        </a:p>
      </dgm:t>
    </dgm:pt>
    <dgm:pt modelId="{0304314D-5BF1-42A8-BE34-2A2F0E95F676}">
      <dgm:prSet phldrT="[Text]" custT="1"/>
      <dgm:spPr>
        <a:solidFill>
          <a:srgbClr val="FEEAE8">
            <a:alpha val="90000"/>
          </a:srgbClr>
        </a:solidFill>
        <a:ln w="63500" cap="rnd">
          <a:solidFill>
            <a:schemeClr val="bg1"/>
          </a:solidFill>
          <a:round/>
        </a:ln>
      </dgm:spPr>
      <dgm:t>
        <a:bodyPr/>
        <a:lstStyle/>
        <a:p>
          <a:pPr>
            <a:buNone/>
          </a:pPr>
          <a:r>
            <a:rPr lang="de-DE" sz="1200"/>
            <a:t>Geltungsdauer der Richtlinie bis 31.12.2028; aktuelle Fristen je nach Wettbewerbsrunde</a:t>
          </a:r>
          <a:endParaRPr lang="en-GB" sz="1200">
            <a:latin typeface="+mn-lt"/>
          </a:endParaRPr>
        </a:p>
      </dgm:t>
    </dgm:pt>
    <dgm:pt modelId="{804FF43D-A32E-451E-A676-9BB53C66ECED}" type="parTrans" cxnId="{4C02BB6C-62E0-4B38-BABC-C6745075E7FB}">
      <dgm:prSet/>
      <dgm:spPr/>
      <dgm:t>
        <a:bodyPr/>
        <a:lstStyle/>
        <a:p>
          <a:endParaRPr lang="en-GB"/>
        </a:p>
      </dgm:t>
    </dgm:pt>
    <dgm:pt modelId="{45B9690B-B485-4BD2-A80E-FBB267D431B6}" type="sibTrans" cxnId="{4C02BB6C-62E0-4B38-BABC-C6745075E7FB}">
      <dgm:prSet/>
      <dgm:spPr/>
      <dgm:t>
        <a:bodyPr/>
        <a:lstStyle/>
        <a:p>
          <a:endParaRPr lang="en-GB"/>
        </a:p>
      </dgm:t>
    </dgm:pt>
    <dgm:pt modelId="{5B68FBBB-097B-4FC1-AC52-7BCB9A82E434}">
      <dgm:prSet phldrT="[Text]" custT="1"/>
      <dgm:spPr>
        <a:solidFill>
          <a:srgbClr val="FEEAE8">
            <a:alpha val="90000"/>
          </a:srgbClr>
        </a:solidFill>
        <a:ln w="63500" cap="rnd">
          <a:solidFill>
            <a:schemeClr val="bg1"/>
          </a:solidFill>
          <a:round/>
        </a:ln>
      </dgm:spPr>
      <dgm:t>
        <a:bodyPr rIns="144000"/>
        <a:lstStyle/>
        <a:p>
          <a:pPr>
            <a:buFont typeface="Arial" panose="020B0604020202020204" pitchFamily="34" charset="0"/>
            <a:buChar char="•"/>
          </a:pPr>
          <a:r>
            <a:rPr lang="de-DE" altLang="de-DE" sz="1200">
              <a:solidFill>
                <a:srgbClr val="000000"/>
              </a:solidFill>
              <a:latin typeface="+mn-lt"/>
              <a:cs typeface="Arial" charset="0"/>
            </a:rPr>
            <a:t>Unternehmen (privat, kommunal, Landes), freiberuflich Tätige, </a:t>
          </a:r>
          <a:r>
            <a:rPr lang="de-DE" altLang="de-DE" sz="1200" err="1">
              <a:solidFill>
                <a:srgbClr val="000000"/>
              </a:solidFill>
              <a:latin typeface="+mn-lt"/>
              <a:cs typeface="Arial" charset="0"/>
            </a:rPr>
            <a:t>Contractoren</a:t>
          </a:r>
          <a:r>
            <a:rPr lang="de-DE" altLang="de-DE" sz="1200">
              <a:solidFill>
                <a:srgbClr val="000000"/>
              </a:solidFill>
              <a:latin typeface="+mn-lt"/>
              <a:cs typeface="Arial" charset="0"/>
            </a:rPr>
            <a:t> im Auftrag von Antragsberechtigten</a:t>
          </a:r>
          <a:endParaRPr lang="en-GB" sz="1200">
            <a:latin typeface="+mn-lt"/>
          </a:endParaRPr>
        </a:p>
      </dgm:t>
    </dgm:pt>
    <dgm:pt modelId="{659E152D-55D2-44AD-AE67-588F8779BF6F}" type="parTrans" cxnId="{CED7E969-D16B-49AC-9025-0639DE7A44EA}">
      <dgm:prSet/>
      <dgm:spPr/>
      <dgm:t>
        <a:bodyPr/>
        <a:lstStyle/>
        <a:p>
          <a:endParaRPr lang="en-GB"/>
        </a:p>
      </dgm:t>
    </dgm:pt>
    <dgm:pt modelId="{2DEC8DEC-3F82-4CCC-A411-7762AAC03FEB}" type="sibTrans" cxnId="{CED7E969-D16B-49AC-9025-0639DE7A44EA}">
      <dgm:prSet/>
      <dgm:spPr/>
      <dgm:t>
        <a:bodyPr/>
        <a:lstStyle/>
        <a:p>
          <a:endParaRPr lang="en-GB"/>
        </a:p>
      </dgm:t>
    </dgm:pt>
    <dgm:pt modelId="{0B0E29F8-58DA-4B85-A037-33270222EDB5}">
      <dgm:prSet phldrT="[Text]" custT="1"/>
      <dgm:spPr>
        <a:solidFill>
          <a:srgbClr val="FEEAE8">
            <a:alpha val="90000"/>
          </a:srgbClr>
        </a:solidFill>
        <a:ln w="63500" cap="rnd" cmpd="sng">
          <a:solidFill>
            <a:schemeClr val="bg1"/>
          </a:solidFill>
          <a:round/>
        </a:ln>
      </dgm:spPr>
      <dgm:t>
        <a:bodyPr rIns="180000"/>
        <a:lstStyle/>
        <a:p>
          <a:r>
            <a:rPr lang="de-DE" altLang="de-DE" sz="1200" b="0">
              <a:solidFill>
                <a:srgbClr val="000000"/>
              </a:solidFill>
              <a:cs typeface="Arial" panose="020B0604020202020204" pitchFamily="34" charset="0"/>
            </a:rPr>
            <a:t>Investitionen zur Stromverbrauchsreduktion von industriellen und gewerblichen Anlagen und Prozessen (u.a. Prozess- und Verfahrensumstellungen, Maßnahmen zur Nutzung von Abwärme, Wärme-, Kühlungs-, und Belüftungsanlagen, die direkt an Prozessen beteiligt sind, Prozesswärmebereitstellung, Elektrifizierung, Mess-, Steuer-, und Regelungstechnik) sowie Maßnahmen zur Ressourceneffizienz, Erstellung Einsparkonzept</a:t>
          </a:r>
          <a:endParaRPr lang="en-GB" sz="1200" b="0">
            <a:ln>
              <a:noFill/>
            </a:ln>
            <a:latin typeface="+mn-lt"/>
          </a:endParaRPr>
        </a:p>
      </dgm:t>
    </dgm:pt>
    <dgm:pt modelId="{B3303F4A-0797-479A-ADE6-B072AA2FE5D1}" type="sibTrans" cxnId="{8DB13611-D17D-4779-84EF-763DF9E3547C}">
      <dgm:prSet/>
      <dgm:spPr/>
      <dgm:t>
        <a:bodyPr/>
        <a:lstStyle/>
        <a:p>
          <a:endParaRPr lang="en-GB"/>
        </a:p>
      </dgm:t>
    </dgm:pt>
    <dgm:pt modelId="{6932F5EC-2FFE-483B-A29C-A66067ED0F62}" type="parTrans" cxnId="{8DB13611-D17D-4779-84EF-763DF9E3547C}">
      <dgm:prSet/>
      <dgm:spPr/>
      <dgm:t>
        <a:bodyPr/>
        <a:lstStyle/>
        <a:p>
          <a:endParaRPr lang="en-GB"/>
        </a:p>
      </dgm:t>
    </dgm:pt>
    <dgm:pt modelId="{80F244DC-7996-4785-AD40-8D91218B6B73}">
      <dgm:prSet custT="1"/>
      <dgm:spPr/>
      <dgm:t>
        <a:bodyPr rIns="180000"/>
        <a:lstStyle/>
        <a:p>
          <a:r>
            <a:rPr lang="en-GB" altLang="de-DE" sz="1200" b="0">
              <a:solidFill>
                <a:srgbClr val="000000"/>
              </a:solidFill>
              <a:cs typeface="Arial" panose="020B0604020202020204" pitchFamily="34" charset="0"/>
            </a:rPr>
            <a:t>Umsetzungsbegleitung der Investitionen</a:t>
          </a:r>
        </a:p>
      </dgm:t>
    </dgm:pt>
    <dgm:pt modelId="{C0FA6BC8-A0D1-4BCA-AB31-092760A65299}" type="parTrans" cxnId="{87DACFA3-4640-4489-AE34-E40D6CB1FEA1}">
      <dgm:prSet/>
      <dgm:spPr/>
      <dgm:t>
        <a:bodyPr/>
        <a:lstStyle/>
        <a:p>
          <a:endParaRPr lang="en-GB"/>
        </a:p>
      </dgm:t>
    </dgm:pt>
    <dgm:pt modelId="{D3D1F993-BF64-4789-BCE7-57582C9547C7}" type="sibTrans" cxnId="{87DACFA3-4640-4489-AE34-E40D6CB1FEA1}">
      <dgm:prSet/>
      <dgm:spPr/>
      <dgm:t>
        <a:bodyPr/>
        <a:lstStyle/>
        <a:p>
          <a:endParaRPr lang="en-GB"/>
        </a:p>
      </dgm:t>
    </dgm:pt>
    <dgm:pt modelId="{073A5E4C-5EAB-412C-B859-581502619FCF}">
      <dgm:prSet custT="1"/>
      <dgm:spPr/>
      <dgm:t>
        <a:bodyPr rIns="180000"/>
        <a:lstStyle/>
        <a:p>
          <a:r>
            <a:rPr lang="de-DE" altLang="de-DE" sz="1200" b="0">
              <a:solidFill>
                <a:srgbClr val="000000"/>
              </a:solidFill>
              <a:cs typeface="Arial" panose="020B0604020202020204" pitchFamily="34" charset="0"/>
            </a:rPr>
            <a:t>Mehrere Wettbewerbsrunden pro Jahr, aktuelle Runde einsehbar unter: </a:t>
          </a:r>
          <a:r>
            <a:rPr lang="de-DE" altLang="de-DE" sz="1200" b="0">
              <a:solidFill>
                <a:srgbClr val="000000"/>
              </a:solidFill>
              <a:cs typeface="Arial" panose="020B0604020202020204" pitchFamily="34" charset="0"/>
              <a:hlinkClick xmlns:r="http://schemas.openxmlformats.org/officeDocument/2006/relationships" r:id="rId2"/>
            </a:rPr>
            <a:t>https://www.wettbewerb-energieeffizienz.de/mitmachen/wettbewerbsrunden</a:t>
          </a:r>
          <a:r>
            <a:rPr lang="de-DE" altLang="de-DE" sz="1200" b="0">
              <a:solidFill>
                <a:srgbClr val="000000"/>
              </a:solidFill>
              <a:cs typeface="Arial" panose="020B0604020202020204" pitchFamily="34" charset="0"/>
            </a:rPr>
            <a:t>  </a:t>
          </a:r>
          <a:endParaRPr lang="en-GB" altLang="de-DE" sz="1200" b="0">
            <a:solidFill>
              <a:srgbClr val="000000"/>
            </a:solidFill>
            <a:cs typeface="Arial" panose="020B0604020202020204" pitchFamily="34" charset="0"/>
          </a:endParaRPr>
        </a:p>
      </dgm:t>
    </dgm:pt>
    <dgm:pt modelId="{6B8D8823-C4B3-4D9A-8A7B-4F79F7D4FEB6}" type="parTrans" cxnId="{8FB67975-88C8-4985-A948-6B99F2BAED8A}">
      <dgm:prSet/>
      <dgm:spPr/>
      <dgm:t>
        <a:bodyPr/>
        <a:lstStyle/>
        <a:p>
          <a:endParaRPr lang="en-GB"/>
        </a:p>
      </dgm:t>
    </dgm:pt>
    <dgm:pt modelId="{4162579A-5668-403B-AF99-814BD26F6789}" type="sibTrans" cxnId="{8FB67975-88C8-4985-A948-6B99F2BAED8A}">
      <dgm:prSet/>
      <dgm:spPr/>
      <dgm:t>
        <a:bodyPr/>
        <a:lstStyle/>
        <a:p>
          <a:endParaRPr lang="en-GB"/>
        </a:p>
      </dgm:t>
    </dgm:pt>
    <dgm:pt modelId="{6D585214-0C10-4A28-AD84-C7FD7BF8CC5E}">
      <dgm:prSet custT="1"/>
      <dgm:spPr/>
      <dgm:t>
        <a:bodyPr rIns="180000"/>
        <a:lstStyle/>
        <a:p>
          <a:r>
            <a:rPr lang="de-DE" altLang="de-DE" sz="1200" b="0">
              <a:solidFill>
                <a:srgbClr val="000000"/>
              </a:solidFill>
              <a:cs typeface="Arial" panose="020B0604020202020204" pitchFamily="34" charset="0"/>
            </a:rPr>
            <a:t>Anträge jederzeit einreichbar, berücksichtigt werden in einer Runde die zum Stichtag eingegangenen Anträge</a:t>
          </a:r>
          <a:endParaRPr lang="en-GB" altLang="de-DE" sz="1200" b="0">
            <a:solidFill>
              <a:srgbClr val="000000"/>
            </a:solidFill>
            <a:cs typeface="Arial" panose="020B0604020202020204" pitchFamily="34" charset="0"/>
          </a:endParaRPr>
        </a:p>
      </dgm:t>
    </dgm:pt>
    <dgm:pt modelId="{810BDF74-7D8D-409E-9A98-8BE908574C84}" type="parTrans" cxnId="{D933C9B6-8D1E-4F13-BD95-2B67081F96FA}">
      <dgm:prSet/>
      <dgm:spPr/>
      <dgm:t>
        <a:bodyPr/>
        <a:lstStyle/>
        <a:p>
          <a:endParaRPr lang="en-GB"/>
        </a:p>
      </dgm:t>
    </dgm:pt>
    <dgm:pt modelId="{D1757439-C23F-475D-AD50-BF48A1FC8147}" type="sibTrans" cxnId="{D933C9B6-8D1E-4F13-BD95-2B67081F96FA}">
      <dgm:prSet/>
      <dgm:spPr/>
      <dgm:t>
        <a:bodyPr/>
        <a:lstStyle/>
        <a:p>
          <a:endParaRPr lang="en-GB"/>
        </a:p>
      </dgm:t>
    </dgm:pt>
    <dgm:pt modelId="{42B23BB2-0EEF-42DB-8C5F-3060B9C7361F}">
      <dgm:prSet custT="1"/>
      <dgm:spPr/>
      <dgm:t>
        <a:bodyPr rIns="144000"/>
        <a:lstStyle/>
        <a:p>
          <a:pPr>
            <a:buFont typeface="Arial" panose="020B0604020202020204" pitchFamily="34" charset="0"/>
            <a:buChar char="•"/>
          </a:pPr>
          <a:r>
            <a:rPr lang="de-DE" altLang="de-DE" sz="1200">
              <a:solidFill>
                <a:srgbClr val="000000"/>
              </a:solidFill>
              <a:latin typeface="+mn-lt"/>
              <a:cs typeface="Arial" charset="0"/>
            </a:rPr>
            <a:t>Bedingung: Amortisationszeit &gt; 4 Jahre, Umsetzungsdauer inkl. Nachweis max. 4 Jahre,</a:t>
          </a:r>
          <a:br>
            <a:rPr lang="de-DE" altLang="de-DE" sz="1200">
              <a:solidFill>
                <a:srgbClr val="000000"/>
              </a:solidFill>
              <a:latin typeface="+mn-lt"/>
              <a:cs typeface="Arial" charset="0"/>
            </a:rPr>
          </a:br>
          <a:r>
            <a:rPr lang="de-DE" altLang="de-DE" sz="1200">
              <a:solidFill>
                <a:srgbClr val="000000"/>
              </a:solidFill>
              <a:latin typeface="+mn-lt"/>
              <a:cs typeface="Arial" charset="0"/>
            </a:rPr>
            <a:t>vorliegendes Einsparkonzept </a:t>
          </a:r>
          <a:endParaRPr lang="en-GB" altLang="de-DE" sz="1200">
            <a:solidFill>
              <a:srgbClr val="000000"/>
            </a:solidFill>
            <a:latin typeface="+mn-lt"/>
            <a:cs typeface="Arial" charset="0"/>
          </a:endParaRPr>
        </a:p>
      </dgm:t>
    </dgm:pt>
    <dgm:pt modelId="{B1652538-E188-4562-B615-E91D5D6577B0}" type="parTrans" cxnId="{63EFADC4-3C95-4F3B-B27C-8A0F9FFC6392}">
      <dgm:prSet/>
      <dgm:spPr/>
      <dgm:t>
        <a:bodyPr/>
        <a:lstStyle/>
        <a:p>
          <a:endParaRPr lang="en-GB"/>
        </a:p>
      </dgm:t>
    </dgm:pt>
    <dgm:pt modelId="{51D54372-FAE3-453C-8A84-63173F54C38C}" type="sibTrans" cxnId="{63EFADC4-3C95-4F3B-B27C-8A0F9FFC6392}">
      <dgm:prSet/>
      <dgm:spPr/>
      <dgm:t>
        <a:bodyPr/>
        <a:lstStyle/>
        <a:p>
          <a:endParaRPr lang="en-GB"/>
        </a:p>
      </dgm:t>
    </dgm:pt>
    <dgm:pt modelId="{3B63841A-10F9-4E20-8B4E-5EFEA1FC2088}">
      <dgm:prSet custT="1"/>
      <dgm:spPr/>
      <dgm:t>
        <a:bodyPr/>
        <a:lstStyle/>
        <a:p>
          <a:r>
            <a:rPr lang="de-DE" altLang="de-DE" sz="1200">
              <a:latin typeface="+mn-lt"/>
            </a:rPr>
            <a:t>Max. 20 Mio. € pro Vorhaben, max. 60 % der gesamten Investitionskosten inkl. Nebenkosten</a:t>
          </a:r>
          <a:endParaRPr lang="en-GB" altLang="de-DE" sz="1200">
            <a:latin typeface="+mn-lt"/>
          </a:endParaRPr>
        </a:p>
      </dgm:t>
    </dgm:pt>
    <dgm:pt modelId="{C59CB8ED-5295-4EDE-BE04-C3B07B860833}" type="parTrans" cxnId="{A2EBAA4A-A589-47C3-89A1-6D37255F9830}">
      <dgm:prSet/>
      <dgm:spPr/>
      <dgm:t>
        <a:bodyPr/>
        <a:lstStyle/>
        <a:p>
          <a:endParaRPr lang="en-GB"/>
        </a:p>
      </dgm:t>
    </dgm:pt>
    <dgm:pt modelId="{CBC09ED9-3B88-4858-93D2-98B543237BCB}" type="sibTrans" cxnId="{A2EBAA4A-A589-47C3-89A1-6D37255F9830}">
      <dgm:prSet/>
      <dgm:spPr/>
      <dgm:t>
        <a:bodyPr/>
        <a:lstStyle/>
        <a:p>
          <a:endParaRPr lang="en-GB"/>
        </a:p>
      </dgm:t>
    </dgm:pt>
    <dgm:pt modelId="{28C88DEF-C24A-4076-859E-C74D0E044991}">
      <dgm:prSet custT="1"/>
      <dgm:spPr/>
      <dgm:t>
        <a:bodyPr/>
        <a:lstStyle/>
        <a:p>
          <a:r>
            <a:rPr lang="de-DE" altLang="de-DE" sz="1200">
              <a:latin typeface="+mn-lt"/>
            </a:rPr>
            <a:t>Beihilferechtliche Vorgaben: </a:t>
          </a:r>
          <a:r>
            <a:rPr lang="en-GB" sz="1200" b="0"/>
            <a:t>Keine De-minimis </a:t>
          </a:r>
          <a:r>
            <a:rPr lang="en-GB" sz="1200" b="0" err="1"/>
            <a:t>oder</a:t>
          </a:r>
          <a:r>
            <a:rPr lang="en-GB" sz="1200" b="0"/>
            <a:t> AGVO-</a:t>
          </a:r>
          <a:r>
            <a:rPr lang="en-GB" sz="1200" b="0" err="1"/>
            <a:t>Beschränkungen</a:t>
          </a:r>
          <a:r>
            <a:rPr lang="en-GB" sz="1200" b="0"/>
            <a:t>, </a:t>
          </a:r>
          <a:r>
            <a:rPr lang="en-GB" sz="1200" b="0" err="1"/>
            <a:t>Kumulierungsverbot</a:t>
          </a:r>
          <a:r>
            <a:rPr lang="en-GB" sz="1200" b="0"/>
            <a:t> gilt</a:t>
          </a:r>
          <a:endParaRPr lang="en-GB" altLang="de-DE" sz="1200" b="0">
            <a:latin typeface="+mn-lt"/>
          </a:endParaRPr>
        </a:p>
      </dgm:t>
    </dgm:pt>
    <dgm:pt modelId="{DBDB9BEE-251A-4AF9-BC8D-6B00ECE7E961}" type="parTrans" cxnId="{75ADEAD8-A4DE-4F0F-B38C-5AE59B8E31AE}">
      <dgm:prSet/>
      <dgm:spPr/>
      <dgm:t>
        <a:bodyPr/>
        <a:lstStyle/>
        <a:p>
          <a:endParaRPr lang="en-GB"/>
        </a:p>
      </dgm:t>
    </dgm:pt>
    <dgm:pt modelId="{B8AC53D8-820B-4066-A77E-2A206B3CAA75}" type="sibTrans" cxnId="{75ADEAD8-A4DE-4F0F-B38C-5AE59B8E31AE}">
      <dgm:prSet/>
      <dgm:spPr/>
      <dgm:t>
        <a:bodyPr/>
        <a:lstStyle/>
        <a:p>
          <a:endParaRPr lang="en-GB"/>
        </a:p>
      </dgm:t>
    </dgm:pt>
    <dgm:pt modelId="{53FE2405-E0FF-4494-B701-2D1448A7176D}">
      <dgm:prSet custT="1"/>
      <dgm:spPr/>
      <dgm:t>
        <a:bodyPr/>
        <a:lstStyle/>
        <a:p>
          <a:r>
            <a:rPr lang="de-DE" altLang="de-DE" sz="1200">
              <a:latin typeface="+mn-lt"/>
            </a:rPr>
            <a:t>Rundenbudget:  60 Mio. €/Runde</a:t>
          </a:r>
          <a:endParaRPr lang="en-GB" altLang="de-DE" sz="1200">
            <a:latin typeface="+mn-lt"/>
          </a:endParaRPr>
        </a:p>
      </dgm:t>
    </dgm:pt>
    <dgm:pt modelId="{B0740E7D-969E-4287-AA6A-30F58EA51267}" type="parTrans" cxnId="{EE3149F1-E95F-4361-8DA7-18DAE59BA175}">
      <dgm:prSet/>
      <dgm:spPr/>
      <dgm:t>
        <a:bodyPr/>
        <a:lstStyle/>
        <a:p>
          <a:endParaRPr lang="en-GB"/>
        </a:p>
      </dgm:t>
    </dgm:pt>
    <dgm:pt modelId="{67F7EA4B-651D-4BE2-85D6-6A019C4D626A}" type="sibTrans" cxnId="{EE3149F1-E95F-4361-8DA7-18DAE59BA175}">
      <dgm:prSet/>
      <dgm:spPr/>
      <dgm:t>
        <a:bodyPr/>
        <a:lstStyle/>
        <a:p>
          <a:endParaRPr lang="en-GB"/>
        </a:p>
      </dgm:t>
    </dgm:pt>
    <dgm:pt modelId="{27648138-B716-41A0-A76C-626220E2874C}" type="pres">
      <dgm:prSet presAssocID="{FFCB392C-E190-4000-BC2B-8923E66F8E05}" presName="Name0" presStyleCnt="0">
        <dgm:presLayoutVars>
          <dgm:dir/>
          <dgm:animLvl val="lvl"/>
          <dgm:resizeHandles val="exact"/>
        </dgm:presLayoutVars>
      </dgm:prSet>
      <dgm:spPr/>
    </dgm:pt>
    <dgm:pt modelId="{1ADF6C26-1B25-4A78-B388-B1C46C817D76}" type="pres">
      <dgm:prSet presAssocID="{E6EFA897-0431-492F-B65F-D429EF9274CB}" presName="linNode" presStyleCnt="0"/>
      <dgm:spPr/>
    </dgm:pt>
    <dgm:pt modelId="{9C1950A7-783E-48B6-8E92-F40F44EBAD14}" type="pres">
      <dgm:prSet presAssocID="{E6EFA897-0431-492F-B65F-D429EF9274CB}" presName="parentText" presStyleLbl="node1" presStyleIdx="0" presStyleCnt="5" custScaleX="1418391" custScaleY="1390372">
        <dgm:presLayoutVars>
          <dgm:chMax val="1"/>
          <dgm:bulletEnabled val="1"/>
        </dgm:presLayoutVars>
      </dgm:prSet>
      <dgm:spPr/>
    </dgm:pt>
    <dgm:pt modelId="{D4830C8F-A2AE-4990-90BF-6D9758F800E7}" type="pres">
      <dgm:prSet presAssocID="{E6EFA897-0431-492F-B65F-D429EF9274CB}" presName="descendantText" presStyleLbl="alignAccFollowNode1" presStyleIdx="0" presStyleCnt="5" custAng="0" custScaleX="2000000" custScaleY="1746761">
        <dgm:presLayoutVars>
          <dgm:bulletEnabled val="1"/>
        </dgm:presLayoutVars>
      </dgm:prSet>
      <dgm:spPr>
        <a:prstGeom prst="roundRect">
          <a:avLst/>
        </a:prstGeom>
      </dgm:spPr>
    </dgm:pt>
    <dgm:pt modelId="{9203D1ED-D34A-4B16-8646-7FE2F50473D2}" type="pres">
      <dgm:prSet presAssocID="{7AEB0645-723A-40EF-ABFC-A5BB952678BD}" presName="sp" presStyleCnt="0"/>
      <dgm:spPr/>
    </dgm:pt>
    <dgm:pt modelId="{53851687-2ABD-4E48-9F25-DB16955D1D90}" type="pres">
      <dgm:prSet presAssocID="{03FEEBAF-B492-4AB8-89C6-4B4628CA1E26}" presName="linNode" presStyleCnt="0"/>
      <dgm:spPr/>
    </dgm:pt>
    <dgm:pt modelId="{6282B259-D810-400D-AF6A-A79E8F7BBC6B}" type="pres">
      <dgm:prSet presAssocID="{03FEEBAF-B492-4AB8-89C6-4B4628CA1E26}" presName="parentText" presStyleLbl="node1" presStyleIdx="1" presStyleCnt="5" custScaleX="1418391" custScaleY="498700">
        <dgm:presLayoutVars>
          <dgm:chMax val="1"/>
          <dgm:bulletEnabled val="1"/>
        </dgm:presLayoutVars>
      </dgm:prSet>
      <dgm:spPr>
        <a:prstGeom prst="roundRect">
          <a:avLst/>
        </a:prstGeom>
      </dgm:spPr>
    </dgm:pt>
    <dgm:pt modelId="{C3CA0957-EF4F-46A9-B14B-C34909532529}" type="pres">
      <dgm:prSet presAssocID="{03FEEBAF-B492-4AB8-89C6-4B4628CA1E26}" presName="descendantText" presStyleLbl="alignAccFollowNode1" presStyleIdx="1" presStyleCnt="5" custScaleX="2000000" custScaleY="621583">
        <dgm:presLayoutVars>
          <dgm:bulletEnabled val="1"/>
        </dgm:presLayoutVars>
      </dgm:prSet>
      <dgm:spPr>
        <a:prstGeom prst="roundRect">
          <a:avLst/>
        </a:prstGeom>
      </dgm:spPr>
    </dgm:pt>
    <dgm:pt modelId="{C9293F8E-C675-4E36-A65B-AAAC8006C733}" type="pres">
      <dgm:prSet presAssocID="{46A33D61-164A-49AF-AE7D-CEFC1DBAB295}" presName="sp" presStyleCnt="0"/>
      <dgm:spPr/>
    </dgm:pt>
    <dgm:pt modelId="{61D33F34-F888-4DD1-BA17-F953371D0B7A}" type="pres">
      <dgm:prSet presAssocID="{96260E3C-6263-485C-AAD5-4834D4569D00}" presName="linNode" presStyleCnt="0"/>
      <dgm:spPr/>
    </dgm:pt>
    <dgm:pt modelId="{E2E438A6-5F37-4E34-923A-0CA8673CDF3A}" type="pres">
      <dgm:prSet presAssocID="{96260E3C-6263-485C-AAD5-4834D4569D00}" presName="parentText" presStyleLbl="node1" presStyleIdx="2" presStyleCnt="5" custScaleX="86660" custScaleY="712013">
        <dgm:presLayoutVars>
          <dgm:chMax val="1"/>
          <dgm:bulletEnabled val="1"/>
        </dgm:presLayoutVars>
      </dgm:prSet>
      <dgm:spPr/>
    </dgm:pt>
    <dgm:pt modelId="{42205B36-F6FD-4A61-8A6C-F7C8A06C6790}" type="pres">
      <dgm:prSet presAssocID="{96260E3C-6263-485C-AAD5-4834D4569D00}" presName="descendantText" presStyleLbl="alignAccFollowNode1" presStyleIdx="2" presStyleCnt="5" custScaleX="122177" custScaleY="895099">
        <dgm:presLayoutVars>
          <dgm:bulletEnabled val="1"/>
        </dgm:presLayoutVars>
      </dgm:prSet>
      <dgm:spPr>
        <a:prstGeom prst="roundRect">
          <a:avLst/>
        </a:prstGeom>
      </dgm:spPr>
    </dgm:pt>
    <dgm:pt modelId="{CDDFDC90-580B-485A-9FC2-5DB7FE6F7287}" type="pres">
      <dgm:prSet presAssocID="{9118D841-7835-4425-89DF-5E2FF676BD2C}" presName="sp" presStyleCnt="0"/>
      <dgm:spPr/>
    </dgm:pt>
    <dgm:pt modelId="{73F3CA5A-E1C8-4A93-9B4D-EA5329F4F21A}" type="pres">
      <dgm:prSet presAssocID="{52BD68D0-EAE3-4487-ADC7-C30AD0C149E7}" presName="linNode" presStyleCnt="0"/>
      <dgm:spPr/>
    </dgm:pt>
    <dgm:pt modelId="{C8A9DE35-1CD6-4E88-9A7A-CD82966A87BF}" type="pres">
      <dgm:prSet presAssocID="{52BD68D0-EAE3-4487-ADC7-C30AD0C149E7}" presName="parentText" presStyleLbl="node1" presStyleIdx="3" presStyleCnt="5" custScaleX="114730" custScaleY="249807">
        <dgm:presLayoutVars>
          <dgm:chMax val="1"/>
          <dgm:bulletEnabled val="1"/>
        </dgm:presLayoutVars>
      </dgm:prSet>
      <dgm:spPr/>
    </dgm:pt>
    <dgm:pt modelId="{600B0FCE-F633-4F00-B20F-1253DB6B5E6E}" type="pres">
      <dgm:prSet presAssocID="{52BD68D0-EAE3-4487-ADC7-C30AD0C149E7}" presName="descendantText" presStyleLbl="alignAccFollowNode1" presStyleIdx="3" presStyleCnt="5" custScaleX="161690" custScaleY="311749">
        <dgm:presLayoutVars>
          <dgm:bulletEnabled val="1"/>
        </dgm:presLayoutVars>
      </dgm:prSet>
      <dgm:spPr>
        <a:prstGeom prst="roundRect">
          <a:avLst/>
        </a:prstGeom>
      </dgm:spPr>
    </dgm:pt>
    <dgm:pt modelId="{1A51CAE2-8F35-4B86-BC85-6FAB03C10C9B}" type="pres">
      <dgm:prSet presAssocID="{C8ED1CA2-595E-436E-B860-29E61D658492}" presName="sp" presStyleCnt="0"/>
      <dgm:spPr/>
    </dgm:pt>
    <dgm:pt modelId="{930F362C-C84D-4BD3-B965-79AFCF7BEE58}" type="pres">
      <dgm:prSet presAssocID="{52B98E0D-74B5-47F3-93A9-75219B6BCE70}" presName="linNode" presStyleCnt="0"/>
      <dgm:spPr/>
    </dgm:pt>
    <dgm:pt modelId="{36DCF81B-4ED1-4AD8-B27C-5FE0EF7F2B66}" type="pres">
      <dgm:prSet presAssocID="{52B98E0D-74B5-47F3-93A9-75219B6BCE70}" presName="parentText" presStyleLbl="node1" presStyleIdx="4" presStyleCnt="5" custScaleX="111007" custScaleY="232709">
        <dgm:presLayoutVars>
          <dgm:chMax val="1"/>
          <dgm:bulletEnabled val="1"/>
        </dgm:presLayoutVars>
      </dgm:prSet>
      <dgm:spPr/>
    </dgm:pt>
    <dgm:pt modelId="{BCBFAC89-216D-4DFF-897D-8C47A404ADDC}" type="pres">
      <dgm:prSet presAssocID="{52B98E0D-74B5-47F3-93A9-75219B6BCE70}" presName="descendantText" presStyleLbl="alignAccFollowNode1" presStyleIdx="4" presStyleCnt="5" custScaleX="156728" custScaleY="254747">
        <dgm:presLayoutVars>
          <dgm:bulletEnabled val="1"/>
        </dgm:presLayoutVars>
      </dgm:prSet>
      <dgm:spPr>
        <a:prstGeom prst="roundRect">
          <a:avLst/>
        </a:prstGeom>
      </dgm:spPr>
    </dgm:pt>
  </dgm:ptLst>
  <dgm:cxnLst>
    <dgm:cxn modelId="{9AA0FE0C-3498-4DEF-BAAA-9ECEAC181F28}" type="presOf" srcId="{FFCB392C-E190-4000-BC2B-8923E66F8E05}" destId="{27648138-B716-41A0-A76C-626220E2874C}" srcOrd="0" destOrd="0" presId="urn:microsoft.com/office/officeart/2005/8/layout/vList5"/>
    <dgm:cxn modelId="{8DB13611-D17D-4779-84EF-763DF9E3547C}" srcId="{E6EFA897-0431-492F-B65F-D429EF9274CB}" destId="{0B0E29F8-58DA-4B85-A037-33270222EDB5}" srcOrd="0" destOrd="0" parTransId="{6932F5EC-2FFE-483B-A29C-A66067ED0F62}" sibTransId="{B3303F4A-0797-479A-ADE6-B072AA2FE5D1}"/>
    <dgm:cxn modelId="{F95F9C27-E753-418D-AD5D-C296FAADD4BD}" type="presOf" srcId="{0A2167F3-4E3C-49E8-8F53-F429B724897B}" destId="{42205B36-F6FD-4A61-8A6C-F7C8A06C6790}" srcOrd="0" destOrd="0" presId="urn:microsoft.com/office/officeart/2005/8/layout/vList5"/>
    <dgm:cxn modelId="{A5523B2B-2528-40F6-A9F1-D7FD3059D53C}" type="presOf" srcId="{5B68FBBB-097B-4FC1-AC52-7BCB9A82E434}" destId="{C3CA0957-EF4F-46A9-B14B-C34909532529}" srcOrd="0" destOrd="0" presId="urn:microsoft.com/office/officeart/2005/8/layout/vList5"/>
    <dgm:cxn modelId="{7556572C-1576-45DC-8DE4-D82FE790378D}" type="presOf" srcId="{53FE2405-E0FF-4494-B701-2D1448A7176D}" destId="{42205B36-F6FD-4A61-8A6C-F7C8A06C6790}" srcOrd="0" destOrd="2" presId="urn:microsoft.com/office/officeart/2005/8/layout/vList5"/>
    <dgm:cxn modelId="{92F75A5B-779F-4B6B-9DC9-466C31D92B4C}" srcId="{96260E3C-6263-485C-AAD5-4834D4569D00}" destId="{0A2167F3-4E3C-49E8-8F53-F429B724897B}" srcOrd="0" destOrd="0" parTransId="{C31FCFD9-9839-42B9-909B-53DFE97C6A9D}" sibTransId="{981FCCCA-D06E-451D-858E-6E6DE23A18B8}"/>
    <dgm:cxn modelId="{CED7E969-D16B-49AC-9025-0639DE7A44EA}" srcId="{03FEEBAF-B492-4AB8-89C6-4B4628CA1E26}" destId="{5B68FBBB-097B-4FC1-AC52-7BCB9A82E434}" srcOrd="0" destOrd="0" parTransId="{659E152D-55D2-44AD-AE67-588F8779BF6F}" sibTransId="{2DEC8DEC-3F82-4CCC-A411-7762AAC03FEB}"/>
    <dgm:cxn modelId="{A2EBAA4A-A589-47C3-89A1-6D37255F9830}" srcId="{96260E3C-6263-485C-AAD5-4834D4569D00}" destId="{3B63841A-10F9-4E20-8B4E-5EFEA1FC2088}" srcOrd="1" destOrd="0" parTransId="{C59CB8ED-5295-4EDE-BE04-C3B07B860833}" sibTransId="{CBC09ED9-3B88-4858-93D2-98B543237BCB}"/>
    <dgm:cxn modelId="{2B5F364B-9F67-4EFD-A893-5ED40B6C87FC}" srcId="{52BD68D0-EAE3-4487-ADC7-C30AD0C149E7}" destId="{9769D350-8FE4-4236-B37A-51F281FB0440}" srcOrd="0" destOrd="0" parTransId="{B162A309-DDB3-4E45-92DD-CDBE1CC908D1}" sibTransId="{E3E4F325-38EC-4BAF-80AB-9E71F04CCABD}"/>
    <dgm:cxn modelId="{1509224C-949A-4985-91E6-632C845AFD4E}" type="presOf" srcId="{3B63841A-10F9-4E20-8B4E-5EFEA1FC2088}" destId="{42205B36-F6FD-4A61-8A6C-F7C8A06C6790}" srcOrd="0" destOrd="1" presId="urn:microsoft.com/office/officeart/2005/8/layout/vList5"/>
    <dgm:cxn modelId="{4C02BB6C-62E0-4B38-BABC-C6745075E7FB}" srcId="{52B98E0D-74B5-47F3-93A9-75219B6BCE70}" destId="{0304314D-5BF1-42A8-BE34-2A2F0E95F676}" srcOrd="0" destOrd="0" parTransId="{804FF43D-A32E-451E-A676-9BB53C66ECED}" sibTransId="{45B9690B-B485-4BD2-A80E-FBB267D431B6}"/>
    <dgm:cxn modelId="{C9682A4E-F57B-4634-8E51-44FAB228FA44}" type="presOf" srcId="{52B98E0D-74B5-47F3-93A9-75219B6BCE70}" destId="{36DCF81B-4ED1-4AD8-B27C-5FE0EF7F2B66}" srcOrd="0" destOrd="0" presId="urn:microsoft.com/office/officeart/2005/8/layout/vList5"/>
    <dgm:cxn modelId="{84E6D674-155B-4E0C-98FA-DD06EBDC25BA}" srcId="{FFCB392C-E190-4000-BC2B-8923E66F8E05}" destId="{03FEEBAF-B492-4AB8-89C6-4B4628CA1E26}" srcOrd="1" destOrd="0" parTransId="{36E648EC-D32B-449E-9167-67FC1B8DDF49}" sibTransId="{46A33D61-164A-49AF-AE7D-CEFC1DBAB295}"/>
    <dgm:cxn modelId="{8FB67975-88C8-4985-A948-6B99F2BAED8A}" srcId="{E6EFA897-0431-492F-B65F-D429EF9274CB}" destId="{073A5E4C-5EAB-412C-B859-581502619FCF}" srcOrd="2" destOrd="0" parTransId="{6B8D8823-C4B3-4D9A-8A7B-4F79F7D4FEB6}" sibTransId="{4162579A-5668-403B-AF99-814BD26F6789}"/>
    <dgm:cxn modelId="{0F86B056-3311-4459-BD74-20601199A5F5}" type="presOf" srcId="{28C88DEF-C24A-4076-859E-C74D0E044991}" destId="{42205B36-F6FD-4A61-8A6C-F7C8A06C6790}" srcOrd="0" destOrd="3" presId="urn:microsoft.com/office/officeart/2005/8/layout/vList5"/>
    <dgm:cxn modelId="{F4407357-DA74-4905-8D57-999A75C49954}" srcId="{FFCB392C-E190-4000-BC2B-8923E66F8E05}" destId="{96260E3C-6263-485C-AAD5-4834D4569D00}" srcOrd="2" destOrd="0" parTransId="{2B5F8176-600B-448A-BAC4-07CC9809E5E1}" sibTransId="{9118D841-7835-4425-89DF-5E2FF676BD2C}"/>
    <dgm:cxn modelId="{2E6C1579-6082-4E33-A723-E845F8FBA423}" srcId="{FFCB392C-E190-4000-BC2B-8923E66F8E05}" destId="{E6EFA897-0431-492F-B65F-D429EF9274CB}" srcOrd="0" destOrd="0" parTransId="{3F2A00E6-14CF-4B7B-83A8-308789775694}" sibTransId="{7AEB0645-723A-40EF-ABFC-A5BB952678BD}"/>
    <dgm:cxn modelId="{1261B27E-0369-4095-9661-BBC2129CF9E6}" type="presOf" srcId="{9769D350-8FE4-4236-B37A-51F281FB0440}" destId="{600B0FCE-F633-4F00-B20F-1253DB6B5E6E}" srcOrd="0" destOrd="0" presId="urn:microsoft.com/office/officeart/2005/8/layout/vList5"/>
    <dgm:cxn modelId="{F1270984-F461-4C12-ACC0-75C88A60C205}" srcId="{FFCB392C-E190-4000-BC2B-8923E66F8E05}" destId="{52BD68D0-EAE3-4487-ADC7-C30AD0C149E7}" srcOrd="3" destOrd="0" parTransId="{BB9FE834-9348-4C65-ABF7-D62613A39635}" sibTransId="{C8ED1CA2-595E-436E-B860-29E61D658492}"/>
    <dgm:cxn modelId="{F4AE0B8F-C03C-4B18-BFD0-82617CBBED97}" type="presOf" srcId="{0B0E29F8-58DA-4B85-A037-33270222EDB5}" destId="{D4830C8F-A2AE-4990-90BF-6D9758F800E7}" srcOrd="0" destOrd="0" presId="urn:microsoft.com/office/officeart/2005/8/layout/vList5"/>
    <dgm:cxn modelId="{87DACFA3-4640-4489-AE34-E40D6CB1FEA1}" srcId="{E6EFA897-0431-492F-B65F-D429EF9274CB}" destId="{80F244DC-7996-4785-AD40-8D91218B6B73}" srcOrd="1" destOrd="0" parTransId="{C0FA6BC8-A0D1-4BCA-AB31-092760A65299}" sibTransId="{D3D1F993-BF64-4789-BCE7-57582C9547C7}"/>
    <dgm:cxn modelId="{D3AE8BA8-912D-4430-B6A4-0388AEA8C0B6}" type="presOf" srcId="{073A5E4C-5EAB-412C-B859-581502619FCF}" destId="{D4830C8F-A2AE-4990-90BF-6D9758F800E7}" srcOrd="0" destOrd="2" presId="urn:microsoft.com/office/officeart/2005/8/layout/vList5"/>
    <dgm:cxn modelId="{263C4EAA-D4D0-4B02-AF63-BE0538B98B26}" type="presOf" srcId="{80F244DC-7996-4785-AD40-8D91218B6B73}" destId="{D4830C8F-A2AE-4990-90BF-6D9758F800E7}" srcOrd="0" destOrd="1" presId="urn:microsoft.com/office/officeart/2005/8/layout/vList5"/>
    <dgm:cxn modelId="{B6EACBB4-A375-443D-902C-3E742EA6A7AB}" type="presOf" srcId="{0304314D-5BF1-42A8-BE34-2A2F0E95F676}" destId="{BCBFAC89-216D-4DFF-897D-8C47A404ADDC}" srcOrd="0" destOrd="0" presId="urn:microsoft.com/office/officeart/2005/8/layout/vList5"/>
    <dgm:cxn modelId="{63E0AEB6-5CA9-4601-B05E-15DA2DE71DE1}" type="presOf" srcId="{03FEEBAF-B492-4AB8-89C6-4B4628CA1E26}" destId="{6282B259-D810-400D-AF6A-A79E8F7BBC6B}" srcOrd="0" destOrd="0" presId="urn:microsoft.com/office/officeart/2005/8/layout/vList5"/>
    <dgm:cxn modelId="{D933C9B6-8D1E-4F13-BD95-2B67081F96FA}" srcId="{E6EFA897-0431-492F-B65F-D429EF9274CB}" destId="{6D585214-0C10-4A28-AD84-C7FD7BF8CC5E}" srcOrd="3" destOrd="0" parTransId="{810BDF74-7D8D-409E-9A98-8BE908574C84}" sibTransId="{D1757439-C23F-475D-AD50-BF48A1FC8147}"/>
    <dgm:cxn modelId="{CBF403B7-6E13-4E06-8378-C5FE8A7E1751}" type="presOf" srcId="{42B23BB2-0EEF-42DB-8C5F-3060B9C7361F}" destId="{C3CA0957-EF4F-46A9-B14B-C34909532529}" srcOrd="0" destOrd="1" presId="urn:microsoft.com/office/officeart/2005/8/layout/vList5"/>
    <dgm:cxn modelId="{63EFADC4-3C95-4F3B-B27C-8A0F9FFC6392}" srcId="{03FEEBAF-B492-4AB8-89C6-4B4628CA1E26}" destId="{42B23BB2-0EEF-42DB-8C5F-3060B9C7361F}" srcOrd="1" destOrd="0" parTransId="{B1652538-E188-4562-B615-E91D5D6577B0}" sibTransId="{51D54372-FAE3-453C-8A84-63173F54C38C}"/>
    <dgm:cxn modelId="{186ADDC8-E13B-497A-B8CC-268BA4BB6882}" type="presOf" srcId="{E6EFA897-0431-492F-B65F-D429EF9274CB}" destId="{9C1950A7-783E-48B6-8E92-F40F44EBAD14}" srcOrd="0" destOrd="0" presId="urn:microsoft.com/office/officeart/2005/8/layout/vList5"/>
    <dgm:cxn modelId="{3A754EC9-4700-4E62-8D18-497E27C681AD}" type="presOf" srcId="{96260E3C-6263-485C-AAD5-4834D4569D00}" destId="{E2E438A6-5F37-4E34-923A-0CA8673CDF3A}" srcOrd="0" destOrd="0" presId="urn:microsoft.com/office/officeart/2005/8/layout/vList5"/>
    <dgm:cxn modelId="{D1F667D8-14A3-4E44-9A2F-89B7790A620D}" type="presOf" srcId="{6D585214-0C10-4A28-AD84-C7FD7BF8CC5E}" destId="{D4830C8F-A2AE-4990-90BF-6D9758F800E7}" srcOrd="0" destOrd="3" presId="urn:microsoft.com/office/officeart/2005/8/layout/vList5"/>
    <dgm:cxn modelId="{75ADEAD8-A4DE-4F0F-B38C-5AE59B8E31AE}" srcId="{96260E3C-6263-485C-AAD5-4834D4569D00}" destId="{28C88DEF-C24A-4076-859E-C74D0E044991}" srcOrd="3" destOrd="0" parTransId="{DBDB9BEE-251A-4AF9-BC8D-6B00ECE7E961}" sibTransId="{B8AC53D8-820B-4066-A77E-2A206B3CAA75}"/>
    <dgm:cxn modelId="{ABAFECDC-449D-4D07-9045-9B6BBF5D33E9}" type="presOf" srcId="{52BD68D0-EAE3-4487-ADC7-C30AD0C149E7}" destId="{C8A9DE35-1CD6-4E88-9A7A-CD82966A87BF}" srcOrd="0" destOrd="0" presId="urn:microsoft.com/office/officeart/2005/8/layout/vList5"/>
    <dgm:cxn modelId="{954AB5ED-19D8-4B9F-9274-A07D3F0B86DC}" srcId="{FFCB392C-E190-4000-BC2B-8923E66F8E05}" destId="{52B98E0D-74B5-47F3-93A9-75219B6BCE70}" srcOrd="4" destOrd="0" parTransId="{98C1EE2D-85CD-4DF7-BA31-B2037EADB0D7}" sibTransId="{CD1C99D8-452D-4FB0-BFC1-18CE9E5E8FC6}"/>
    <dgm:cxn modelId="{EE3149F1-E95F-4361-8DA7-18DAE59BA175}" srcId="{96260E3C-6263-485C-AAD5-4834D4569D00}" destId="{53FE2405-E0FF-4494-B701-2D1448A7176D}" srcOrd="2" destOrd="0" parTransId="{B0740E7D-969E-4287-AA6A-30F58EA51267}" sibTransId="{67F7EA4B-651D-4BE2-85D6-6A019C4D626A}"/>
    <dgm:cxn modelId="{36623C55-CE13-4AD6-BE4E-AD62A1CBA121}" type="presParOf" srcId="{27648138-B716-41A0-A76C-626220E2874C}" destId="{1ADF6C26-1B25-4A78-B388-B1C46C817D76}" srcOrd="0" destOrd="0" presId="urn:microsoft.com/office/officeart/2005/8/layout/vList5"/>
    <dgm:cxn modelId="{4DECFFBA-D269-4BF6-BE7C-8704F340A47C}" type="presParOf" srcId="{1ADF6C26-1B25-4A78-B388-B1C46C817D76}" destId="{9C1950A7-783E-48B6-8E92-F40F44EBAD14}" srcOrd="0" destOrd="0" presId="urn:microsoft.com/office/officeart/2005/8/layout/vList5"/>
    <dgm:cxn modelId="{49D490F8-05D0-4A47-83E7-1EE4A6BF73D4}" type="presParOf" srcId="{1ADF6C26-1B25-4A78-B388-B1C46C817D76}" destId="{D4830C8F-A2AE-4990-90BF-6D9758F800E7}" srcOrd="1" destOrd="0" presId="urn:microsoft.com/office/officeart/2005/8/layout/vList5"/>
    <dgm:cxn modelId="{5B9BC308-3876-4978-BF6D-848C851655F5}" type="presParOf" srcId="{27648138-B716-41A0-A76C-626220E2874C}" destId="{9203D1ED-D34A-4B16-8646-7FE2F50473D2}" srcOrd="1" destOrd="0" presId="urn:microsoft.com/office/officeart/2005/8/layout/vList5"/>
    <dgm:cxn modelId="{76438024-2C90-4EBC-ABBD-DF4056D36DDD}" type="presParOf" srcId="{27648138-B716-41A0-A76C-626220E2874C}" destId="{53851687-2ABD-4E48-9F25-DB16955D1D90}" srcOrd="2" destOrd="0" presId="urn:microsoft.com/office/officeart/2005/8/layout/vList5"/>
    <dgm:cxn modelId="{EDDEF264-1614-484B-B8FD-C8A0587F3E52}" type="presParOf" srcId="{53851687-2ABD-4E48-9F25-DB16955D1D90}" destId="{6282B259-D810-400D-AF6A-A79E8F7BBC6B}" srcOrd="0" destOrd="0" presId="urn:microsoft.com/office/officeart/2005/8/layout/vList5"/>
    <dgm:cxn modelId="{D30CBBBF-CA02-44E5-99C0-F6F65FB68257}" type="presParOf" srcId="{53851687-2ABD-4E48-9F25-DB16955D1D90}" destId="{C3CA0957-EF4F-46A9-B14B-C34909532529}" srcOrd="1" destOrd="0" presId="urn:microsoft.com/office/officeart/2005/8/layout/vList5"/>
    <dgm:cxn modelId="{BDFEC1CA-78BC-4DE1-9EB9-E38E7B8E9596}" type="presParOf" srcId="{27648138-B716-41A0-A76C-626220E2874C}" destId="{C9293F8E-C675-4E36-A65B-AAAC8006C733}" srcOrd="3" destOrd="0" presId="urn:microsoft.com/office/officeart/2005/8/layout/vList5"/>
    <dgm:cxn modelId="{C4B2619F-7DA6-4658-AA77-2FDF39975197}" type="presParOf" srcId="{27648138-B716-41A0-A76C-626220E2874C}" destId="{61D33F34-F888-4DD1-BA17-F953371D0B7A}" srcOrd="4" destOrd="0" presId="urn:microsoft.com/office/officeart/2005/8/layout/vList5"/>
    <dgm:cxn modelId="{2FD8CD44-C7F9-43AD-9B52-630B7CC91C5C}" type="presParOf" srcId="{61D33F34-F888-4DD1-BA17-F953371D0B7A}" destId="{E2E438A6-5F37-4E34-923A-0CA8673CDF3A}" srcOrd="0" destOrd="0" presId="urn:microsoft.com/office/officeart/2005/8/layout/vList5"/>
    <dgm:cxn modelId="{5F124C72-3FD6-4255-B876-8999C771D87C}" type="presParOf" srcId="{61D33F34-F888-4DD1-BA17-F953371D0B7A}" destId="{42205B36-F6FD-4A61-8A6C-F7C8A06C6790}" srcOrd="1" destOrd="0" presId="urn:microsoft.com/office/officeart/2005/8/layout/vList5"/>
    <dgm:cxn modelId="{5E0D6B70-5F2F-45A3-86AA-183C13C1A6AA}" type="presParOf" srcId="{27648138-B716-41A0-A76C-626220E2874C}" destId="{CDDFDC90-580B-485A-9FC2-5DB7FE6F7287}" srcOrd="5" destOrd="0" presId="urn:microsoft.com/office/officeart/2005/8/layout/vList5"/>
    <dgm:cxn modelId="{6F253042-D7C8-4B7D-9FEF-FB031CBF6CC5}" type="presParOf" srcId="{27648138-B716-41A0-A76C-626220E2874C}" destId="{73F3CA5A-E1C8-4A93-9B4D-EA5329F4F21A}" srcOrd="6" destOrd="0" presId="urn:microsoft.com/office/officeart/2005/8/layout/vList5"/>
    <dgm:cxn modelId="{4245BE60-5409-4B2F-AD96-F4F63CC1432C}" type="presParOf" srcId="{73F3CA5A-E1C8-4A93-9B4D-EA5329F4F21A}" destId="{C8A9DE35-1CD6-4E88-9A7A-CD82966A87BF}" srcOrd="0" destOrd="0" presId="urn:microsoft.com/office/officeart/2005/8/layout/vList5"/>
    <dgm:cxn modelId="{E8E8B4AE-4F7E-4AD5-8A15-D14916C48492}" type="presParOf" srcId="{73F3CA5A-E1C8-4A93-9B4D-EA5329F4F21A}" destId="{600B0FCE-F633-4F00-B20F-1253DB6B5E6E}" srcOrd="1" destOrd="0" presId="urn:microsoft.com/office/officeart/2005/8/layout/vList5"/>
    <dgm:cxn modelId="{BAD311A2-24F2-4CE9-8646-DFB9F5F6B5A3}" type="presParOf" srcId="{27648138-B716-41A0-A76C-626220E2874C}" destId="{1A51CAE2-8F35-4B86-BC85-6FAB03C10C9B}" srcOrd="7" destOrd="0" presId="urn:microsoft.com/office/officeart/2005/8/layout/vList5"/>
    <dgm:cxn modelId="{4A598431-260C-4E6E-83BF-52CFC9204234}" type="presParOf" srcId="{27648138-B716-41A0-A76C-626220E2874C}" destId="{930F362C-C84D-4BD3-B965-79AFCF7BEE58}" srcOrd="8" destOrd="0" presId="urn:microsoft.com/office/officeart/2005/8/layout/vList5"/>
    <dgm:cxn modelId="{6E3D6817-2E12-447E-B66E-93CED88B1220}" type="presParOf" srcId="{930F362C-C84D-4BD3-B965-79AFCF7BEE58}" destId="{36DCF81B-4ED1-4AD8-B27C-5FE0EF7F2B66}" srcOrd="0" destOrd="0" presId="urn:microsoft.com/office/officeart/2005/8/layout/vList5"/>
    <dgm:cxn modelId="{6C99B66F-E916-4FEB-B3E8-02761F76055D}" type="presParOf" srcId="{930F362C-C84D-4BD3-B965-79AFCF7BEE58}" destId="{BCBFAC89-216D-4DFF-897D-8C47A404ADDC}"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8.xml><?xml version="1.0" encoding="utf-8"?>
<dgm:dataModel xmlns:dgm="http://schemas.openxmlformats.org/drawingml/2006/diagram" xmlns:a="http://schemas.openxmlformats.org/drawingml/2006/main">
  <dgm:ptLst>
    <dgm:pt modelId="{FFCB392C-E190-4000-BC2B-8923E66F8E05}"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GB"/>
        </a:p>
      </dgm:t>
    </dgm:pt>
    <dgm:pt modelId="{E6EFA897-0431-492F-B65F-D429EF9274CB}">
      <dgm:prSet phldrT="[Text]" custT="1"/>
      <dgm:spPr>
        <a:solidFill>
          <a:srgbClr val="FC5B2F"/>
        </a:solidFill>
        <a:ln w="63500">
          <a:solidFill>
            <a:schemeClr val="bg1"/>
          </a:solidFill>
        </a:ln>
      </dgm:spPr>
      <dgm:t>
        <a:bodyPr/>
        <a:lstStyle/>
        <a:p>
          <a:r>
            <a:rPr lang="de-DE" sz="2000" b="1"/>
            <a:t>WAS?</a:t>
          </a:r>
          <a:endParaRPr lang="en-GB" sz="2000" b="1"/>
        </a:p>
      </dgm:t>
    </dgm:pt>
    <dgm:pt modelId="{3F2A00E6-14CF-4B7B-83A8-308789775694}" type="parTrans" cxnId="{2E6C1579-6082-4E33-A723-E845F8FBA423}">
      <dgm:prSet/>
      <dgm:spPr/>
      <dgm:t>
        <a:bodyPr/>
        <a:lstStyle/>
        <a:p>
          <a:endParaRPr lang="en-GB"/>
        </a:p>
      </dgm:t>
    </dgm:pt>
    <dgm:pt modelId="{7AEB0645-723A-40EF-ABFC-A5BB952678BD}" type="sibTrans" cxnId="{2E6C1579-6082-4E33-A723-E845F8FBA423}">
      <dgm:prSet/>
      <dgm:spPr/>
      <dgm:t>
        <a:bodyPr/>
        <a:lstStyle/>
        <a:p>
          <a:endParaRPr lang="en-GB"/>
        </a:p>
      </dgm:t>
    </dgm:pt>
    <dgm:pt modelId="{03FEEBAF-B492-4AB8-89C6-4B4628CA1E26}">
      <dgm:prSet phldrT="[Text]" custT="1"/>
      <dgm:spPr>
        <a:solidFill>
          <a:srgbClr val="FC5B2F"/>
        </a:solidFill>
        <a:ln w="63500">
          <a:solidFill>
            <a:schemeClr val="bg1"/>
          </a:solidFill>
        </a:ln>
      </dgm:spPr>
      <dgm:t>
        <a:bodyPr/>
        <a:lstStyle/>
        <a:p>
          <a:r>
            <a:rPr lang="de-DE" sz="2000" b="1"/>
            <a:t>WER?</a:t>
          </a:r>
          <a:endParaRPr lang="en-GB" sz="2000" b="1"/>
        </a:p>
      </dgm:t>
    </dgm:pt>
    <dgm:pt modelId="{36E648EC-D32B-449E-9167-67FC1B8DDF49}" type="parTrans" cxnId="{84E6D674-155B-4E0C-98FA-DD06EBDC25BA}">
      <dgm:prSet/>
      <dgm:spPr/>
      <dgm:t>
        <a:bodyPr/>
        <a:lstStyle/>
        <a:p>
          <a:endParaRPr lang="en-GB"/>
        </a:p>
      </dgm:t>
    </dgm:pt>
    <dgm:pt modelId="{46A33D61-164A-49AF-AE7D-CEFC1DBAB295}" type="sibTrans" cxnId="{84E6D674-155B-4E0C-98FA-DD06EBDC25BA}">
      <dgm:prSet/>
      <dgm:spPr/>
      <dgm:t>
        <a:bodyPr/>
        <a:lstStyle/>
        <a:p>
          <a:endParaRPr lang="en-GB"/>
        </a:p>
      </dgm:t>
    </dgm:pt>
    <dgm:pt modelId="{96260E3C-6263-485C-AAD5-4834D4569D00}">
      <dgm:prSet phldrT="[Text]" custT="1"/>
      <dgm:spPr>
        <a:solidFill>
          <a:srgbClr val="FC5B2F"/>
        </a:solidFill>
        <a:ln w="63500">
          <a:solidFill>
            <a:schemeClr val="bg1"/>
          </a:solidFill>
        </a:ln>
      </dgm:spPr>
      <dgm:t>
        <a:bodyPr/>
        <a:lstStyle/>
        <a:p>
          <a:r>
            <a:rPr lang="de-DE" sz="2000" b="1"/>
            <a:t>WIE VIEL?</a:t>
          </a:r>
          <a:endParaRPr lang="en-GB" sz="2000" b="1"/>
        </a:p>
      </dgm:t>
    </dgm:pt>
    <dgm:pt modelId="{2B5F8176-600B-448A-BAC4-07CC9809E5E1}" type="parTrans" cxnId="{F4407357-DA74-4905-8D57-999A75C49954}">
      <dgm:prSet/>
      <dgm:spPr/>
      <dgm:t>
        <a:bodyPr/>
        <a:lstStyle/>
        <a:p>
          <a:endParaRPr lang="en-GB"/>
        </a:p>
      </dgm:t>
    </dgm:pt>
    <dgm:pt modelId="{9118D841-7835-4425-89DF-5E2FF676BD2C}" type="sibTrans" cxnId="{F4407357-DA74-4905-8D57-999A75C49954}">
      <dgm:prSet/>
      <dgm:spPr/>
      <dgm:t>
        <a:bodyPr/>
        <a:lstStyle/>
        <a:p>
          <a:endParaRPr lang="en-GB"/>
        </a:p>
      </dgm:t>
    </dgm:pt>
    <dgm:pt modelId="{0A2167F3-4E3C-49E8-8F53-F429B724897B}">
      <dgm:prSet phldrT="[Text]" custT="1"/>
      <dgm:spPr>
        <a:solidFill>
          <a:srgbClr val="FEEAE8">
            <a:alpha val="90000"/>
          </a:srgbClr>
        </a:solidFill>
        <a:ln w="63500" cap="rnd">
          <a:solidFill>
            <a:schemeClr val="bg1"/>
          </a:solidFill>
          <a:round/>
        </a:ln>
      </dgm:spPr>
      <dgm:t>
        <a:bodyPr/>
        <a:lstStyle/>
        <a:p>
          <a:pPr>
            <a:buFont typeface="Arial" panose="020B0604020202020204" pitchFamily="34" charset="0"/>
            <a:buChar char="•"/>
          </a:pPr>
          <a:r>
            <a:rPr lang="en-GB" sz="1200" err="1">
              <a:latin typeface="+mn-lt"/>
            </a:rPr>
            <a:t>Teilmodul</a:t>
          </a:r>
          <a:r>
            <a:rPr lang="en-GB" sz="1200">
              <a:latin typeface="+mn-lt"/>
            </a:rPr>
            <a:t> 1: max. 30 Mio. </a:t>
          </a:r>
          <a:r>
            <a:rPr lang="de-DE" altLang="de-DE" sz="1200">
              <a:latin typeface="+mn-lt"/>
            </a:rPr>
            <a:t>€ pro Unternehmen, bis zu 40% der förderfähigen Kosten, bis zu 50% wenn Projekte zu 100% direkte THG-Emissionen verringern</a:t>
          </a:r>
          <a:endParaRPr lang="en-GB" sz="1200">
            <a:latin typeface="+mn-lt"/>
          </a:endParaRPr>
        </a:p>
      </dgm:t>
    </dgm:pt>
    <dgm:pt modelId="{C31FCFD9-9839-42B9-909B-53DFE97C6A9D}" type="parTrans" cxnId="{92F75A5B-779F-4B6B-9DC9-466C31D92B4C}">
      <dgm:prSet/>
      <dgm:spPr/>
      <dgm:t>
        <a:bodyPr/>
        <a:lstStyle/>
        <a:p>
          <a:endParaRPr lang="en-GB"/>
        </a:p>
      </dgm:t>
    </dgm:pt>
    <dgm:pt modelId="{981FCCCA-D06E-451D-858E-6E6DE23A18B8}" type="sibTrans" cxnId="{92F75A5B-779F-4B6B-9DC9-466C31D92B4C}">
      <dgm:prSet/>
      <dgm:spPr/>
      <dgm:t>
        <a:bodyPr/>
        <a:lstStyle/>
        <a:p>
          <a:endParaRPr lang="en-GB"/>
        </a:p>
      </dgm:t>
    </dgm:pt>
    <dgm:pt modelId="{52BD68D0-EAE3-4487-ADC7-C30AD0C149E7}">
      <dgm:prSet phldrT="[Text]" custT="1"/>
      <dgm:spPr>
        <a:solidFill>
          <a:srgbClr val="FC5B2F"/>
        </a:solidFill>
        <a:ln w="63500">
          <a:solidFill>
            <a:schemeClr val="bg1"/>
          </a:solidFill>
        </a:ln>
      </dgm:spPr>
      <dgm:t>
        <a:bodyPr/>
        <a:lstStyle/>
        <a:p>
          <a:r>
            <a:rPr lang="de-DE" sz="2000" b="1"/>
            <a:t>WO?</a:t>
          </a:r>
          <a:endParaRPr lang="en-GB" sz="2000" b="1"/>
        </a:p>
      </dgm:t>
    </dgm:pt>
    <dgm:pt modelId="{BB9FE834-9348-4C65-ABF7-D62613A39635}" type="parTrans" cxnId="{F1270984-F461-4C12-ACC0-75C88A60C205}">
      <dgm:prSet/>
      <dgm:spPr/>
      <dgm:t>
        <a:bodyPr/>
        <a:lstStyle/>
        <a:p>
          <a:endParaRPr lang="en-GB"/>
        </a:p>
      </dgm:t>
    </dgm:pt>
    <dgm:pt modelId="{C8ED1CA2-595E-436E-B860-29E61D658492}" type="sibTrans" cxnId="{F1270984-F461-4C12-ACC0-75C88A60C205}">
      <dgm:prSet/>
      <dgm:spPr/>
      <dgm:t>
        <a:bodyPr/>
        <a:lstStyle/>
        <a:p>
          <a:endParaRPr lang="en-GB"/>
        </a:p>
      </dgm:t>
    </dgm:pt>
    <dgm:pt modelId="{52B98E0D-74B5-47F3-93A9-75219B6BCE70}">
      <dgm:prSet phldrT="[Text]" custT="1"/>
      <dgm:spPr>
        <a:solidFill>
          <a:srgbClr val="FC5B2F"/>
        </a:solidFill>
        <a:ln w="63500">
          <a:solidFill>
            <a:schemeClr val="bg1"/>
          </a:solidFill>
        </a:ln>
      </dgm:spPr>
      <dgm:t>
        <a:bodyPr/>
        <a:lstStyle/>
        <a:p>
          <a:r>
            <a:rPr lang="de-DE" sz="2000" b="1"/>
            <a:t>BIS WANN?</a:t>
          </a:r>
          <a:endParaRPr lang="en-GB" sz="2000" b="1"/>
        </a:p>
      </dgm:t>
    </dgm:pt>
    <dgm:pt modelId="{98C1EE2D-85CD-4DF7-BA31-B2037EADB0D7}" type="parTrans" cxnId="{954AB5ED-19D8-4B9F-9274-A07D3F0B86DC}">
      <dgm:prSet/>
      <dgm:spPr/>
      <dgm:t>
        <a:bodyPr/>
        <a:lstStyle/>
        <a:p>
          <a:endParaRPr lang="en-GB"/>
        </a:p>
      </dgm:t>
    </dgm:pt>
    <dgm:pt modelId="{CD1C99D8-452D-4FB0-BFC1-18CE9E5E8FC6}" type="sibTrans" cxnId="{954AB5ED-19D8-4B9F-9274-A07D3F0B86DC}">
      <dgm:prSet/>
      <dgm:spPr/>
      <dgm:t>
        <a:bodyPr/>
        <a:lstStyle/>
        <a:p>
          <a:endParaRPr lang="en-GB"/>
        </a:p>
      </dgm:t>
    </dgm:pt>
    <dgm:pt modelId="{0304314D-5BF1-42A8-BE34-2A2F0E95F676}">
      <dgm:prSet phldrT="[Text]" custT="1"/>
      <dgm:spPr>
        <a:solidFill>
          <a:srgbClr val="FEEAE8">
            <a:alpha val="90000"/>
          </a:srgbClr>
        </a:solidFill>
        <a:ln w="63500" cap="rnd">
          <a:solidFill>
            <a:schemeClr val="bg1"/>
          </a:solidFill>
          <a:round/>
        </a:ln>
      </dgm:spPr>
      <dgm:t>
        <a:bodyPr/>
        <a:lstStyle/>
        <a:p>
          <a:pPr>
            <a:buNone/>
          </a:pPr>
          <a:r>
            <a:rPr lang="en-GB" sz="1200" err="1">
              <a:latin typeface="+mn-lt"/>
            </a:rPr>
            <a:t>offen</a:t>
          </a:r>
          <a:endParaRPr lang="en-GB" sz="1200">
            <a:latin typeface="+mn-lt"/>
          </a:endParaRPr>
        </a:p>
      </dgm:t>
    </dgm:pt>
    <dgm:pt modelId="{804FF43D-A32E-451E-A676-9BB53C66ECED}" type="parTrans" cxnId="{4C02BB6C-62E0-4B38-BABC-C6745075E7FB}">
      <dgm:prSet/>
      <dgm:spPr/>
      <dgm:t>
        <a:bodyPr/>
        <a:lstStyle/>
        <a:p>
          <a:endParaRPr lang="en-GB"/>
        </a:p>
      </dgm:t>
    </dgm:pt>
    <dgm:pt modelId="{45B9690B-B485-4BD2-A80E-FBB267D431B6}" type="sibTrans" cxnId="{4C02BB6C-62E0-4B38-BABC-C6745075E7FB}">
      <dgm:prSet/>
      <dgm:spPr/>
      <dgm:t>
        <a:bodyPr/>
        <a:lstStyle/>
        <a:p>
          <a:endParaRPr lang="en-GB"/>
        </a:p>
      </dgm:t>
    </dgm:pt>
    <dgm:pt modelId="{5B68FBBB-097B-4FC1-AC52-7BCB9A82E434}">
      <dgm:prSet phldrT="[Text]" custT="1"/>
      <dgm:spPr>
        <a:solidFill>
          <a:srgbClr val="FEEAE8">
            <a:alpha val="90000"/>
          </a:srgbClr>
        </a:solidFill>
        <a:ln w="63500" cap="rnd">
          <a:solidFill>
            <a:schemeClr val="bg1"/>
          </a:solidFill>
          <a:round/>
        </a:ln>
      </dgm:spPr>
      <dgm:t>
        <a:bodyPr/>
        <a:lstStyle/>
        <a:p>
          <a:pPr>
            <a:buFont typeface="Arial" panose="020B0604020202020204" pitchFamily="34" charset="0"/>
            <a:buChar char="•"/>
          </a:pPr>
          <a:r>
            <a:rPr lang="de-DE" altLang="de-DE" sz="1200">
              <a:solidFill>
                <a:srgbClr val="000000"/>
              </a:solidFill>
              <a:latin typeface="+mn-lt"/>
              <a:cs typeface="Arial" charset="0"/>
            </a:rPr>
            <a:t>Unternehmen &amp; Konsortien</a:t>
          </a:r>
          <a:endParaRPr lang="en-GB" sz="1200">
            <a:latin typeface="+mn-lt"/>
          </a:endParaRPr>
        </a:p>
      </dgm:t>
    </dgm:pt>
    <dgm:pt modelId="{659E152D-55D2-44AD-AE67-588F8779BF6F}" type="parTrans" cxnId="{CED7E969-D16B-49AC-9025-0639DE7A44EA}">
      <dgm:prSet/>
      <dgm:spPr/>
      <dgm:t>
        <a:bodyPr/>
        <a:lstStyle/>
        <a:p>
          <a:endParaRPr lang="en-GB"/>
        </a:p>
      </dgm:t>
    </dgm:pt>
    <dgm:pt modelId="{2DEC8DEC-3F82-4CCC-A411-7762AAC03FEB}" type="sibTrans" cxnId="{CED7E969-D16B-49AC-9025-0639DE7A44EA}">
      <dgm:prSet/>
      <dgm:spPr/>
      <dgm:t>
        <a:bodyPr/>
        <a:lstStyle/>
        <a:p>
          <a:endParaRPr lang="en-GB"/>
        </a:p>
      </dgm:t>
    </dgm:pt>
    <dgm:pt modelId="{0B0E29F8-58DA-4B85-A037-33270222EDB5}">
      <dgm:prSet phldrT="[Text]" custT="1"/>
      <dgm:spPr>
        <a:solidFill>
          <a:srgbClr val="FEEAE8">
            <a:alpha val="90000"/>
          </a:srgbClr>
        </a:solidFill>
        <a:ln w="63500" cap="rnd" cmpd="sng">
          <a:solidFill>
            <a:schemeClr val="bg1"/>
          </a:solidFill>
          <a:round/>
        </a:ln>
      </dgm:spPr>
      <dgm:t>
        <a:bodyPr/>
        <a:lstStyle/>
        <a:p>
          <a:r>
            <a:rPr lang="de-DE" sz="1200" b="0" noProof="0">
              <a:ln>
                <a:noFill/>
              </a:ln>
              <a:latin typeface="+mn-lt"/>
            </a:rPr>
            <a:t>Teilmodul 2: Förderung von Projekten zur Dekarbonisierung industrieller Produktionsprozesse, u.a. durch Elektrifizierung, die Nutzung von Wasserstoff oder daraus gewonnenen Brennstoffe (Basis: </a:t>
          </a:r>
          <a:r>
            <a:rPr lang="de-DE" sz="1200" b="0" noProof="0">
              <a:ln>
                <a:noFill/>
              </a:ln>
              <a:latin typeface="+mn-lt"/>
              <a:hlinkClick xmlns:r="http://schemas.openxmlformats.org/officeDocument/2006/relationships" r:id="rId1"/>
            </a:rPr>
            <a:t>Ziffer 81, TCTF</a:t>
          </a:r>
          <a:r>
            <a:rPr lang="de-DE" sz="1200" b="0" noProof="0">
              <a:ln>
                <a:noFill/>
              </a:ln>
              <a:latin typeface="+mn-lt"/>
            </a:rPr>
            <a:t>)</a:t>
          </a:r>
        </a:p>
      </dgm:t>
    </dgm:pt>
    <dgm:pt modelId="{B3303F4A-0797-479A-ADE6-B072AA2FE5D1}" type="sibTrans" cxnId="{8DB13611-D17D-4779-84EF-763DF9E3547C}">
      <dgm:prSet/>
      <dgm:spPr/>
      <dgm:t>
        <a:bodyPr/>
        <a:lstStyle/>
        <a:p>
          <a:endParaRPr lang="en-GB"/>
        </a:p>
      </dgm:t>
    </dgm:pt>
    <dgm:pt modelId="{6932F5EC-2FFE-483B-A29C-A66067ED0F62}" type="parTrans" cxnId="{8DB13611-D17D-4779-84EF-763DF9E3547C}">
      <dgm:prSet/>
      <dgm:spPr/>
      <dgm:t>
        <a:bodyPr/>
        <a:lstStyle/>
        <a:p>
          <a:endParaRPr lang="en-GB"/>
        </a:p>
      </dgm:t>
    </dgm:pt>
    <dgm:pt modelId="{42B23BB2-0EEF-42DB-8C5F-3060B9C7361F}">
      <dgm:prSet custT="1"/>
      <dgm:spPr/>
      <dgm:t>
        <a:bodyPr/>
        <a:lstStyle/>
        <a:p>
          <a:pPr>
            <a:buFont typeface="Arial" panose="020B0604020202020204" pitchFamily="34" charset="0"/>
            <a:buChar char="•"/>
          </a:pPr>
          <a:r>
            <a:rPr lang="de-DE" altLang="de-DE" sz="1200">
              <a:solidFill>
                <a:srgbClr val="000000"/>
              </a:solidFill>
              <a:latin typeface="+mn-lt"/>
              <a:cs typeface="Arial" charset="0"/>
            </a:rPr>
            <a:t>Bedingungen: Betriebsstätte/Niederlassung und Umsetzung in Deutschland; Bestätigung, dass Eigenanteil getragen werden kann; Investitionen müssen nach Abschluss mind. 3 Jahre (nicht-KMU) bzw. 5 Jahre (KMU) im betreffenden Gebiet erhalten werden</a:t>
          </a:r>
          <a:endParaRPr lang="en-GB" altLang="de-DE" sz="1200">
            <a:solidFill>
              <a:srgbClr val="000000"/>
            </a:solidFill>
            <a:latin typeface="+mn-lt"/>
            <a:cs typeface="Arial" charset="0"/>
          </a:endParaRPr>
        </a:p>
      </dgm:t>
    </dgm:pt>
    <dgm:pt modelId="{B1652538-E188-4562-B615-E91D5D6577B0}" type="parTrans" cxnId="{63EFADC4-3C95-4F3B-B27C-8A0F9FFC6392}">
      <dgm:prSet/>
      <dgm:spPr/>
      <dgm:t>
        <a:bodyPr/>
        <a:lstStyle/>
        <a:p>
          <a:endParaRPr lang="en-GB"/>
        </a:p>
      </dgm:t>
    </dgm:pt>
    <dgm:pt modelId="{51D54372-FAE3-453C-8A84-63173F54C38C}" type="sibTrans" cxnId="{63EFADC4-3C95-4F3B-B27C-8A0F9FFC6392}">
      <dgm:prSet/>
      <dgm:spPr/>
      <dgm:t>
        <a:bodyPr/>
        <a:lstStyle/>
        <a:p>
          <a:endParaRPr lang="en-GB"/>
        </a:p>
      </dgm:t>
    </dgm:pt>
    <dgm:pt modelId="{661B75C3-742D-431E-ACD8-CBA59C42910B}">
      <dgm:prSet phldrT="[Text]" custT="1"/>
      <dgm:spPr>
        <a:solidFill>
          <a:srgbClr val="FEEAE8">
            <a:alpha val="90000"/>
          </a:srgbClr>
        </a:solidFill>
        <a:ln w="63500" cap="rnd">
          <a:solidFill>
            <a:schemeClr val="bg1"/>
          </a:solidFill>
          <a:round/>
        </a:ln>
      </dgm:spPr>
      <dgm:t>
        <a:bodyPr/>
        <a:lstStyle/>
        <a:p>
          <a:pPr>
            <a:buFont typeface="Arial" panose="020B0604020202020204" pitchFamily="34" charset="0"/>
            <a:buChar char="•"/>
          </a:pPr>
          <a:r>
            <a:rPr lang="en-GB" sz="1200" err="1">
              <a:latin typeface="+mn-lt"/>
            </a:rPr>
            <a:t>Teilmodul</a:t>
          </a:r>
          <a:r>
            <a:rPr lang="en-GB" sz="1200">
              <a:latin typeface="+mn-lt"/>
            </a:rPr>
            <a:t> 2: max. 200 Mio. </a:t>
          </a:r>
          <a:r>
            <a:rPr lang="de-DE" altLang="de-DE" sz="1200">
              <a:latin typeface="+mn-lt"/>
            </a:rPr>
            <a:t>€ pro Unternehmen, bis zu 30% für Elektrifizierungsprojekte, bis zu 60% wenn aus Projekten zur Wasser-/Brennstoff Umstellung Wasserstoff gewonnen wird </a:t>
          </a:r>
          <a:endParaRPr lang="en-GB" sz="1200">
            <a:latin typeface="+mn-lt"/>
          </a:endParaRPr>
        </a:p>
      </dgm:t>
    </dgm:pt>
    <dgm:pt modelId="{93A56FFE-B9E5-43F4-8289-B0CB3AD7E051}" type="parTrans" cxnId="{A65DEEA6-22F0-4778-8C2D-726BAA4135FB}">
      <dgm:prSet/>
      <dgm:spPr/>
      <dgm:t>
        <a:bodyPr/>
        <a:lstStyle/>
        <a:p>
          <a:endParaRPr lang="en-GB"/>
        </a:p>
      </dgm:t>
    </dgm:pt>
    <dgm:pt modelId="{CF715E78-0A72-455D-8383-1C2D164FBBEA}" type="sibTrans" cxnId="{A65DEEA6-22F0-4778-8C2D-726BAA4135FB}">
      <dgm:prSet/>
      <dgm:spPr/>
      <dgm:t>
        <a:bodyPr/>
        <a:lstStyle/>
        <a:p>
          <a:endParaRPr lang="en-GB"/>
        </a:p>
      </dgm:t>
    </dgm:pt>
    <dgm:pt modelId="{6A617864-B568-47FB-9CBA-8216615FD7C7}">
      <dgm:prSet phldrT="[Text]" custT="1"/>
      <dgm:spPr>
        <a:solidFill>
          <a:srgbClr val="FEEAE8">
            <a:alpha val="90000"/>
          </a:srgbClr>
        </a:solidFill>
        <a:ln w="63500" cap="rnd">
          <a:solidFill>
            <a:schemeClr val="bg1"/>
          </a:solidFill>
          <a:round/>
        </a:ln>
      </dgm:spPr>
      <dgm:t>
        <a:bodyPr/>
        <a:lstStyle/>
        <a:p>
          <a:pPr>
            <a:buFont typeface="Arial" panose="020B0604020202020204" pitchFamily="34" charset="0"/>
            <a:buChar char="•"/>
          </a:pPr>
          <a:r>
            <a:rPr lang="en-GB" sz="1200" err="1">
              <a:latin typeface="+mn-lt"/>
            </a:rPr>
            <a:t>Teilmodul</a:t>
          </a:r>
          <a:r>
            <a:rPr lang="en-GB" sz="1200">
              <a:latin typeface="+mn-lt"/>
            </a:rPr>
            <a:t> 3: max. 35 Mio </a:t>
          </a:r>
          <a:r>
            <a:rPr lang="de-DE" altLang="de-DE" sz="1200">
              <a:latin typeface="+mn-lt"/>
            </a:rPr>
            <a:t>€ für industrielle Forschung, bis zu 25 Mio. € für experimentelle Entwicklung, bis zu 8,25 Mio. €  für Durchführbarkeitsstudien</a:t>
          </a:r>
          <a:endParaRPr lang="en-GB" sz="1200">
            <a:latin typeface="+mn-lt"/>
          </a:endParaRPr>
        </a:p>
      </dgm:t>
    </dgm:pt>
    <dgm:pt modelId="{35628F51-56F6-4FD2-89C3-9BCBF90CB85E}" type="parTrans" cxnId="{021E76EB-CCC2-4D2B-8AFA-573CD7B7906B}">
      <dgm:prSet/>
      <dgm:spPr/>
      <dgm:t>
        <a:bodyPr/>
        <a:lstStyle/>
        <a:p>
          <a:endParaRPr lang="en-GB"/>
        </a:p>
      </dgm:t>
    </dgm:pt>
    <dgm:pt modelId="{B408DCDE-AF10-4E9C-99C1-C16AFFB11EAD}" type="sibTrans" cxnId="{021E76EB-CCC2-4D2B-8AFA-573CD7B7906B}">
      <dgm:prSet/>
      <dgm:spPr/>
      <dgm:t>
        <a:bodyPr/>
        <a:lstStyle/>
        <a:p>
          <a:endParaRPr lang="en-GB"/>
        </a:p>
      </dgm:t>
    </dgm:pt>
    <dgm:pt modelId="{9769D350-8FE4-4236-B37A-51F281FB0440}">
      <dgm:prSet phldrT="[Text]" custT="1"/>
      <dgm:spPr>
        <a:solidFill>
          <a:srgbClr val="FEEAE8">
            <a:alpha val="90000"/>
          </a:srgbClr>
        </a:solidFill>
        <a:ln w="63500" cap="rnd">
          <a:solidFill>
            <a:schemeClr val="bg1">
              <a:alpha val="90000"/>
            </a:schemeClr>
          </a:solidFill>
          <a:round/>
        </a:ln>
      </dgm:spPr>
      <dgm:t>
        <a:bodyPr/>
        <a:lstStyle/>
        <a:p>
          <a:pPr>
            <a:buNone/>
          </a:pPr>
          <a:r>
            <a:rPr lang="de-DE" sz="1200">
              <a:solidFill>
                <a:schemeClr val="tx1"/>
              </a:solidFill>
              <a:latin typeface="+mn-lt"/>
              <a:hlinkClick xmlns:r="http://schemas.openxmlformats.org/officeDocument/2006/relationships" r:id="rId2"/>
            </a:rPr>
            <a:t>https://www.klimaschutz-industrie.de/foerderung/bundesfoerderung-industrie-und-klimaschutz-modul-1/</a:t>
          </a:r>
          <a:r>
            <a:rPr lang="de-DE" sz="1200">
              <a:solidFill>
                <a:schemeClr val="tx1"/>
              </a:solidFill>
              <a:latin typeface="+mn-lt"/>
            </a:rPr>
            <a:t> </a:t>
          </a:r>
          <a:endParaRPr lang="en-GB" sz="1200">
            <a:solidFill>
              <a:schemeClr val="tx1"/>
            </a:solidFill>
            <a:latin typeface="+mn-lt"/>
          </a:endParaRPr>
        </a:p>
      </dgm:t>
    </dgm:pt>
    <dgm:pt modelId="{E3E4F325-38EC-4BAF-80AB-9E71F04CCABD}" type="sibTrans" cxnId="{2B5F364B-9F67-4EFD-A893-5ED40B6C87FC}">
      <dgm:prSet/>
      <dgm:spPr/>
      <dgm:t>
        <a:bodyPr/>
        <a:lstStyle/>
        <a:p>
          <a:endParaRPr lang="en-GB"/>
        </a:p>
      </dgm:t>
    </dgm:pt>
    <dgm:pt modelId="{B162A309-DDB3-4E45-92DD-CDBE1CC908D1}" type="parTrans" cxnId="{2B5F364B-9F67-4EFD-A893-5ED40B6C87FC}">
      <dgm:prSet/>
      <dgm:spPr/>
      <dgm:t>
        <a:bodyPr/>
        <a:lstStyle/>
        <a:p>
          <a:endParaRPr lang="en-GB"/>
        </a:p>
      </dgm:t>
    </dgm:pt>
    <dgm:pt modelId="{C7AC626C-C3D5-451F-836B-36BD5802845E}">
      <dgm:prSet phldrT="[Text]" custT="1"/>
      <dgm:spPr>
        <a:solidFill>
          <a:srgbClr val="FEEAE8">
            <a:alpha val="90000"/>
          </a:srgbClr>
        </a:solidFill>
        <a:ln w="63500" cap="rnd" cmpd="sng">
          <a:solidFill>
            <a:schemeClr val="bg1"/>
          </a:solidFill>
          <a:round/>
        </a:ln>
      </dgm:spPr>
      <dgm:t>
        <a:bodyPr/>
        <a:lstStyle/>
        <a:p>
          <a:r>
            <a:rPr lang="de-DE" sz="1200" b="0" noProof="0">
              <a:ln>
                <a:noFill/>
              </a:ln>
              <a:latin typeface="+mn-lt"/>
            </a:rPr>
            <a:t>Teilmodul 3: Förderung von Forschungs- &amp; Entwicklungsprojekten, die anwenderorientierte Technologien für die Dekarbonisierung industrieller Produktionsprozesse entwickeln (Basis: </a:t>
          </a:r>
          <a:r>
            <a:rPr lang="de-DE" sz="1200" b="0" noProof="0">
              <a:ln>
                <a:noFill/>
              </a:ln>
              <a:latin typeface="+mn-lt"/>
              <a:hlinkClick xmlns:r="http://schemas.openxmlformats.org/officeDocument/2006/relationships" r:id="rId3"/>
            </a:rPr>
            <a:t>Art. 25, AGVO</a:t>
          </a:r>
          <a:r>
            <a:rPr lang="de-DE" sz="1200" b="0" noProof="0">
              <a:ln>
                <a:noFill/>
              </a:ln>
              <a:latin typeface="+mn-lt"/>
            </a:rPr>
            <a:t>)</a:t>
          </a:r>
        </a:p>
      </dgm:t>
    </dgm:pt>
    <dgm:pt modelId="{2EDA273C-8B50-450E-BDFE-D3453FE40FD3}" type="parTrans" cxnId="{60290713-2D7A-4576-A853-01AB1F484372}">
      <dgm:prSet/>
      <dgm:spPr/>
      <dgm:t>
        <a:bodyPr/>
        <a:lstStyle/>
        <a:p>
          <a:endParaRPr lang="de-DE"/>
        </a:p>
      </dgm:t>
    </dgm:pt>
    <dgm:pt modelId="{2E6F7E74-81DF-458B-B032-5D52DBA42A09}" type="sibTrans" cxnId="{60290713-2D7A-4576-A853-01AB1F484372}">
      <dgm:prSet/>
      <dgm:spPr/>
      <dgm:t>
        <a:bodyPr/>
        <a:lstStyle/>
        <a:p>
          <a:endParaRPr lang="de-DE"/>
        </a:p>
      </dgm:t>
    </dgm:pt>
    <dgm:pt modelId="{9A8436EC-ACD1-4FAC-ACA6-F944290F1D45}">
      <dgm:prSet phldrT="[Text]" custT="1"/>
      <dgm:spPr>
        <a:solidFill>
          <a:srgbClr val="FEEAE8">
            <a:alpha val="90000"/>
          </a:srgbClr>
        </a:solidFill>
        <a:ln w="63500" cap="rnd" cmpd="sng">
          <a:solidFill>
            <a:schemeClr val="bg1"/>
          </a:solidFill>
          <a:round/>
        </a:ln>
      </dgm:spPr>
      <dgm:t>
        <a:bodyPr/>
        <a:lstStyle/>
        <a:p>
          <a:r>
            <a:rPr lang="de-DE" sz="1200" b="0" noProof="0">
              <a:ln>
                <a:noFill/>
              </a:ln>
              <a:latin typeface="+mn-lt"/>
            </a:rPr>
            <a:t>Teilmodul 1: Dekarbonisierung industrieller Produktionsprozesse (Basis: </a:t>
          </a:r>
          <a:r>
            <a:rPr lang="de-DE" sz="1200" b="0" noProof="0">
              <a:ln>
                <a:noFill/>
              </a:ln>
              <a:latin typeface="+mn-lt"/>
              <a:hlinkClick xmlns:r="http://schemas.openxmlformats.org/officeDocument/2006/relationships" r:id="rId4"/>
            </a:rPr>
            <a:t>Art. 36, AGVO</a:t>
          </a:r>
          <a:r>
            <a:rPr lang="de-DE" sz="1200" b="0" noProof="0">
              <a:ln>
                <a:noFill/>
              </a:ln>
              <a:latin typeface="+mn-lt"/>
            </a:rPr>
            <a:t>)</a:t>
          </a:r>
        </a:p>
      </dgm:t>
    </dgm:pt>
    <dgm:pt modelId="{2D288222-1C34-4811-B5CF-074B6B81190D}" type="parTrans" cxnId="{646407D6-38D4-4B41-B150-D7E5FACA53DA}">
      <dgm:prSet/>
      <dgm:spPr/>
    </dgm:pt>
    <dgm:pt modelId="{DE7CC8B6-DAB2-45FF-A5FD-9E922426D19B}" type="sibTrans" cxnId="{646407D6-38D4-4B41-B150-D7E5FACA53DA}">
      <dgm:prSet/>
      <dgm:spPr/>
    </dgm:pt>
    <dgm:pt modelId="{27648138-B716-41A0-A76C-626220E2874C}" type="pres">
      <dgm:prSet presAssocID="{FFCB392C-E190-4000-BC2B-8923E66F8E05}" presName="Name0" presStyleCnt="0">
        <dgm:presLayoutVars>
          <dgm:dir/>
          <dgm:animLvl val="lvl"/>
          <dgm:resizeHandles val="exact"/>
        </dgm:presLayoutVars>
      </dgm:prSet>
      <dgm:spPr/>
    </dgm:pt>
    <dgm:pt modelId="{1ADF6C26-1B25-4A78-B388-B1C46C817D76}" type="pres">
      <dgm:prSet presAssocID="{E6EFA897-0431-492F-B65F-D429EF9274CB}" presName="linNode" presStyleCnt="0"/>
      <dgm:spPr/>
    </dgm:pt>
    <dgm:pt modelId="{9C1950A7-783E-48B6-8E92-F40F44EBAD14}" type="pres">
      <dgm:prSet presAssocID="{E6EFA897-0431-492F-B65F-D429EF9274CB}" presName="parentText" presStyleLbl="node1" presStyleIdx="0" presStyleCnt="5" custScaleX="1418391" custScaleY="493230">
        <dgm:presLayoutVars>
          <dgm:chMax val="1"/>
          <dgm:bulletEnabled val="1"/>
        </dgm:presLayoutVars>
      </dgm:prSet>
      <dgm:spPr/>
    </dgm:pt>
    <dgm:pt modelId="{D4830C8F-A2AE-4990-90BF-6D9758F800E7}" type="pres">
      <dgm:prSet presAssocID="{E6EFA897-0431-492F-B65F-D429EF9274CB}" presName="descendantText" presStyleLbl="alignAccFollowNode1" presStyleIdx="0" presStyleCnt="5" custAng="0" custScaleX="2000000" custScaleY="678971">
        <dgm:presLayoutVars>
          <dgm:bulletEnabled val="1"/>
        </dgm:presLayoutVars>
      </dgm:prSet>
      <dgm:spPr>
        <a:prstGeom prst="roundRect">
          <a:avLst/>
        </a:prstGeom>
      </dgm:spPr>
    </dgm:pt>
    <dgm:pt modelId="{9203D1ED-D34A-4B16-8646-7FE2F50473D2}" type="pres">
      <dgm:prSet presAssocID="{7AEB0645-723A-40EF-ABFC-A5BB952678BD}" presName="sp" presStyleCnt="0"/>
      <dgm:spPr/>
    </dgm:pt>
    <dgm:pt modelId="{53851687-2ABD-4E48-9F25-DB16955D1D90}" type="pres">
      <dgm:prSet presAssocID="{03FEEBAF-B492-4AB8-89C6-4B4628CA1E26}" presName="linNode" presStyleCnt="0"/>
      <dgm:spPr/>
    </dgm:pt>
    <dgm:pt modelId="{6282B259-D810-400D-AF6A-A79E8F7BBC6B}" type="pres">
      <dgm:prSet presAssocID="{03FEEBAF-B492-4AB8-89C6-4B4628CA1E26}" presName="parentText" presStyleLbl="node1" presStyleIdx="1" presStyleCnt="5" custScaleX="1418391" custScaleY="498700">
        <dgm:presLayoutVars>
          <dgm:chMax val="1"/>
          <dgm:bulletEnabled val="1"/>
        </dgm:presLayoutVars>
      </dgm:prSet>
      <dgm:spPr>
        <a:prstGeom prst="roundRect">
          <a:avLst/>
        </a:prstGeom>
      </dgm:spPr>
    </dgm:pt>
    <dgm:pt modelId="{C3CA0957-EF4F-46A9-B14B-C34909532529}" type="pres">
      <dgm:prSet presAssocID="{03FEEBAF-B492-4AB8-89C6-4B4628CA1E26}" presName="descendantText" presStyleLbl="alignAccFollowNode1" presStyleIdx="1" presStyleCnt="5" custScaleX="2000000" custScaleY="621583">
        <dgm:presLayoutVars>
          <dgm:bulletEnabled val="1"/>
        </dgm:presLayoutVars>
      </dgm:prSet>
      <dgm:spPr>
        <a:prstGeom prst="roundRect">
          <a:avLst/>
        </a:prstGeom>
      </dgm:spPr>
    </dgm:pt>
    <dgm:pt modelId="{C9293F8E-C675-4E36-A65B-AAAC8006C733}" type="pres">
      <dgm:prSet presAssocID="{46A33D61-164A-49AF-AE7D-CEFC1DBAB295}" presName="sp" presStyleCnt="0"/>
      <dgm:spPr/>
    </dgm:pt>
    <dgm:pt modelId="{61D33F34-F888-4DD1-BA17-F953371D0B7A}" type="pres">
      <dgm:prSet presAssocID="{96260E3C-6263-485C-AAD5-4834D4569D00}" presName="linNode" presStyleCnt="0"/>
      <dgm:spPr/>
    </dgm:pt>
    <dgm:pt modelId="{E2E438A6-5F37-4E34-923A-0CA8673CDF3A}" type="pres">
      <dgm:prSet presAssocID="{96260E3C-6263-485C-AAD5-4834D4569D00}" presName="parentText" presStyleLbl="node1" presStyleIdx="2" presStyleCnt="5" custScaleX="86660" custScaleY="667269">
        <dgm:presLayoutVars>
          <dgm:chMax val="1"/>
          <dgm:bulletEnabled val="1"/>
        </dgm:presLayoutVars>
      </dgm:prSet>
      <dgm:spPr/>
    </dgm:pt>
    <dgm:pt modelId="{42205B36-F6FD-4A61-8A6C-F7C8A06C6790}" type="pres">
      <dgm:prSet presAssocID="{96260E3C-6263-485C-AAD5-4834D4569D00}" presName="descendantText" presStyleLbl="alignAccFollowNode1" presStyleIdx="2" presStyleCnt="5" custScaleX="122177" custScaleY="833199">
        <dgm:presLayoutVars>
          <dgm:bulletEnabled val="1"/>
        </dgm:presLayoutVars>
      </dgm:prSet>
      <dgm:spPr>
        <a:prstGeom prst="roundRect">
          <a:avLst/>
        </a:prstGeom>
      </dgm:spPr>
    </dgm:pt>
    <dgm:pt modelId="{CDDFDC90-580B-485A-9FC2-5DB7FE6F7287}" type="pres">
      <dgm:prSet presAssocID="{9118D841-7835-4425-89DF-5E2FF676BD2C}" presName="sp" presStyleCnt="0"/>
      <dgm:spPr/>
    </dgm:pt>
    <dgm:pt modelId="{73F3CA5A-E1C8-4A93-9B4D-EA5329F4F21A}" type="pres">
      <dgm:prSet presAssocID="{52BD68D0-EAE3-4487-ADC7-C30AD0C149E7}" presName="linNode" presStyleCnt="0"/>
      <dgm:spPr/>
    </dgm:pt>
    <dgm:pt modelId="{C8A9DE35-1CD6-4E88-9A7A-CD82966A87BF}" type="pres">
      <dgm:prSet presAssocID="{52BD68D0-EAE3-4487-ADC7-C30AD0C149E7}" presName="parentText" presStyleLbl="node1" presStyleIdx="3" presStyleCnt="5" custScaleX="114730" custScaleY="249807">
        <dgm:presLayoutVars>
          <dgm:chMax val="1"/>
          <dgm:bulletEnabled val="1"/>
        </dgm:presLayoutVars>
      </dgm:prSet>
      <dgm:spPr/>
    </dgm:pt>
    <dgm:pt modelId="{600B0FCE-F633-4F00-B20F-1253DB6B5E6E}" type="pres">
      <dgm:prSet presAssocID="{52BD68D0-EAE3-4487-ADC7-C30AD0C149E7}" presName="descendantText" presStyleLbl="alignAccFollowNode1" presStyleIdx="3" presStyleCnt="5" custScaleX="161690" custScaleY="311749">
        <dgm:presLayoutVars>
          <dgm:bulletEnabled val="1"/>
        </dgm:presLayoutVars>
      </dgm:prSet>
      <dgm:spPr>
        <a:prstGeom prst="roundRect">
          <a:avLst/>
        </a:prstGeom>
      </dgm:spPr>
    </dgm:pt>
    <dgm:pt modelId="{1A51CAE2-8F35-4B86-BC85-6FAB03C10C9B}" type="pres">
      <dgm:prSet presAssocID="{C8ED1CA2-595E-436E-B860-29E61D658492}" presName="sp" presStyleCnt="0"/>
      <dgm:spPr/>
    </dgm:pt>
    <dgm:pt modelId="{930F362C-C84D-4BD3-B965-79AFCF7BEE58}" type="pres">
      <dgm:prSet presAssocID="{52B98E0D-74B5-47F3-93A9-75219B6BCE70}" presName="linNode" presStyleCnt="0"/>
      <dgm:spPr/>
    </dgm:pt>
    <dgm:pt modelId="{36DCF81B-4ED1-4AD8-B27C-5FE0EF7F2B66}" type="pres">
      <dgm:prSet presAssocID="{52B98E0D-74B5-47F3-93A9-75219B6BCE70}" presName="parentText" presStyleLbl="node1" presStyleIdx="4" presStyleCnt="5" custScaleX="111007" custScaleY="204259">
        <dgm:presLayoutVars>
          <dgm:chMax val="1"/>
          <dgm:bulletEnabled val="1"/>
        </dgm:presLayoutVars>
      </dgm:prSet>
      <dgm:spPr/>
    </dgm:pt>
    <dgm:pt modelId="{BCBFAC89-216D-4DFF-897D-8C47A404ADDC}" type="pres">
      <dgm:prSet presAssocID="{52B98E0D-74B5-47F3-93A9-75219B6BCE70}" presName="descendantText" presStyleLbl="alignAccFollowNode1" presStyleIdx="4" presStyleCnt="5" custScaleX="156728" custScaleY="254747">
        <dgm:presLayoutVars>
          <dgm:bulletEnabled val="1"/>
        </dgm:presLayoutVars>
      </dgm:prSet>
      <dgm:spPr>
        <a:prstGeom prst="roundRect">
          <a:avLst/>
        </a:prstGeom>
      </dgm:spPr>
    </dgm:pt>
  </dgm:ptLst>
  <dgm:cxnLst>
    <dgm:cxn modelId="{9AA0FE0C-3498-4DEF-BAAA-9ECEAC181F28}" type="presOf" srcId="{FFCB392C-E190-4000-BC2B-8923E66F8E05}" destId="{27648138-B716-41A0-A76C-626220E2874C}" srcOrd="0" destOrd="0" presId="urn:microsoft.com/office/officeart/2005/8/layout/vList5"/>
    <dgm:cxn modelId="{8DB13611-D17D-4779-84EF-763DF9E3547C}" srcId="{E6EFA897-0431-492F-B65F-D429EF9274CB}" destId="{0B0E29F8-58DA-4B85-A037-33270222EDB5}" srcOrd="1" destOrd="0" parTransId="{6932F5EC-2FFE-483B-A29C-A66067ED0F62}" sibTransId="{B3303F4A-0797-479A-ADE6-B072AA2FE5D1}"/>
    <dgm:cxn modelId="{60290713-2D7A-4576-A853-01AB1F484372}" srcId="{E6EFA897-0431-492F-B65F-D429EF9274CB}" destId="{C7AC626C-C3D5-451F-836B-36BD5802845E}" srcOrd="2" destOrd="0" parTransId="{2EDA273C-8B50-450E-BDFE-D3453FE40FD3}" sibTransId="{2E6F7E74-81DF-458B-B032-5D52DBA42A09}"/>
    <dgm:cxn modelId="{F95F9C27-E753-418D-AD5D-C296FAADD4BD}" type="presOf" srcId="{0A2167F3-4E3C-49E8-8F53-F429B724897B}" destId="{42205B36-F6FD-4A61-8A6C-F7C8A06C6790}" srcOrd="0" destOrd="0" presId="urn:microsoft.com/office/officeart/2005/8/layout/vList5"/>
    <dgm:cxn modelId="{A5523B2B-2528-40F6-A9F1-D7FD3059D53C}" type="presOf" srcId="{5B68FBBB-097B-4FC1-AC52-7BCB9A82E434}" destId="{C3CA0957-EF4F-46A9-B14B-C34909532529}" srcOrd="0" destOrd="0" presId="urn:microsoft.com/office/officeart/2005/8/layout/vList5"/>
    <dgm:cxn modelId="{92F75A5B-779F-4B6B-9DC9-466C31D92B4C}" srcId="{96260E3C-6263-485C-AAD5-4834D4569D00}" destId="{0A2167F3-4E3C-49E8-8F53-F429B724897B}" srcOrd="0" destOrd="0" parTransId="{C31FCFD9-9839-42B9-909B-53DFE97C6A9D}" sibTransId="{981FCCCA-D06E-451D-858E-6E6DE23A18B8}"/>
    <dgm:cxn modelId="{CED7E969-D16B-49AC-9025-0639DE7A44EA}" srcId="{03FEEBAF-B492-4AB8-89C6-4B4628CA1E26}" destId="{5B68FBBB-097B-4FC1-AC52-7BCB9A82E434}" srcOrd="0" destOrd="0" parTransId="{659E152D-55D2-44AD-AE67-588F8779BF6F}" sibTransId="{2DEC8DEC-3F82-4CCC-A411-7762AAC03FEB}"/>
    <dgm:cxn modelId="{2B5F364B-9F67-4EFD-A893-5ED40B6C87FC}" srcId="{52BD68D0-EAE3-4487-ADC7-C30AD0C149E7}" destId="{9769D350-8FE4-4236-B37A-51F281FB0440}" srcOrd="0" destOrd="0" parTransId="{B162A309-DDB3-4E45-92DD-CDBE1CC908D1}" sibTransId="{E3E4F325-38EC-4BAF-80AB-9E71F04CCABD}"/>
    <dgm:cxn modelId="{4C02BB6C-62E0-4B38-BABC-C6745075E7FB}" srcId="{52B98E0D-74B5-47F3-93A9-75219B6BCE70}" destId="{0304314D-5BF1-42A8-BE34-2A2F0E95F676}" srcOrd="0" destOrd="0" parTransId="{804FF43D-A32E-451E-A676-9BB53C66ECED}" sibTransId="{45B9690B-B485-4BD2-A80E-FBB267D431B6}"/>
    <dgm:cxn modelId="{C9682A4E-F57B-4634-8E51-44FAB228FA44}" type="presOf" srcId="{52B98E0D-74B5-47F3-93A9-75219B6BCE70}" destId="{36DCF81B-4ED1-4AD8-B27C-5FE0EF7F2B66}" srcOrd="0" destOrd="0" presId="urn:microsoft.com/office/officeart/2005/8/layout/vList5"/>
    <dgm:cxn modelId="{84E6D674-155B-4E0C-98FA-DD06EBDC25BA}" srcId="{FFCB392C-E190-4000-BC2B-8923E66F8E05}" destId="{03FEEBAF-B492-4AB8-89C6-4B4628CA1E26}" srcOrd="1" destOrd="0" parTransId="{36E648EC-D32B-449E-9167-67FC1B8DDF49}" sibTransId="{46A33D61-164A-49AF-AE7D-CEFC1DBAB295}"/>
    <dgm:cxn modelId="{0010E074-0E73-47F8-BAC4-00D75725BF0C}" type="presOf" srcId="{661B75C3-742D-431E-ACD8-CBA59C42910B}" destId="{42205B36-F6FD-4A61-8A6C-F7C8A06C6790}" srcOrd="0" destOrd="1" presId="urn:microsoft.com/office/officeart/2005/8/layout/vList5"/>
    <dgm:cxn modelId="{F4407357-DA74-4905-8D57-999A75C49954}" srcId="{FFCB392C-E190-4000-BC2B-8923E66F8E05}" destId="{96260E3C-6263-485C-AAD5-4834D4569D00}" srcOrd="2" destOrd="0" parTransId="{2B5F8176-600B-448A-BAC4-07CC9809E5E1}" sibTransId="{9118D841-7835-4425-89DF-5E2FF676BD2C}"/>
    <dgm:cxn modelId="{2E6C1579-6082-4E33-A723-E845F8FBA423}" srcId="{FFCB392C-E190-4000-BC2B-8923E66F8E05}" destId="{E6EFA897-0431-492F-B65F-D429EF9274CB}" srcOrd="0" destOrd="0" parTransId="{3F2A00E6-14CF-4B7B-83A8-308789775694}" sibTransId="{7AEB0645-723A-40EF-ABFC-A5BB952678BD}"/>
    <dgm:cxn modelId="{1261B27E-0369-4095-9661-BBC2129CF9E6}" type="presOf" srcId="{9769D350-8FE4-4236-B37A-51F281FB0440}" destId="{600B0FCE-F633-4F00-B20F-1253DB6B5E6E}" srcOrd="0" destOrd="0" presId="urn:microsoft.com/office/officeart/2005/8/layout/vList5"/>
    <dgm:cxn modelId="{F1270984-F461-4C12-ACC0-75C88A60C205}" srcId="{FFCB392C-E190-4000-BC2B-8923E66F8E05}" destId="{52BD68D0-EAE3-4487-ADC7-C30AD0C149E7}" srcOrd="3" destOrd="0" parTransId="{BB9FE834-9348-4C65-ABF7-D62613A39635}" sibTransId="{C8ED1CA2-595E-436E-B860-29E61D658492}"/>
    <dgm:cxn modelId="{F4AE0B8F-C03C-4B18-BFD0-82617CBBED97}" type="presOf" srcId="{0B0E29F8-58DA-4B85-A037-33270222EDB5}" destId="{D4830C8F-A2AE-4990-90BF-6D9758F800E7}" srcOrd="0" destOrd="1" presId="urn:microsoft.com/office/officeart/2005/8/layout/vList5"/>
    <dgm:cxn modelId="{A65DEEA6-22F0-4778-8C2D-726BAA4135FB}" srcId="{96260E3C-6263-485C-AAD5-4834D4569D00}" destId="{661B75C3-742D-431E-ACD8-CBA59C42910B}" srcOrd="1" destOrd="0" parTransId="{93A56FFE-B9E5-43F4-8289-B0CB3AD7E051}" sibTransId="{CF715E78-0A72-455D-8383-1C2D164FBBEA}"/>
    <dgm:cxn modelId="{F3B4FAA6-1F23-4640-9316-DAA271496315}" type="presOf" srcId="{9A8436EC-ACD1-4FAC-ACA6-F944290F1D45}" destId="{D4830C8F-A2AE-4990-90BF-6D9758F800E7}" srcOrd="0" destOrd="0" presId="urn:microsoft.com/office/officeart/2005/8/layout/vList5"/>
    <dgm:cxn modelId="{B6EACBB4-A375-443D-902C-3E742EA6A7AB}" type="presOf" srcId="{0304314D-5BF1-42A8-BE34-2A2F0E95F676}" destId="{BCBFAC89-216D-4DFF-897D-8C47A404ADDC}" srcOrd="0" destOrd="0" presId="urn:microsoft.com/office/officeart/2005/8/layout/vList5"/>
    <dgm:cxn modelId="{63E0AEB6-5CA9-4601-B05E-15DA2DE71DE1}" type="presOf" srcId="{03FEEBAF-B492-4AB8-89C6-4B4628CA1E26}" destId="{6282B259-D810-400D-AF6A-A79E8F7BBC6B}" srcOrd="0" destOrd="0" presId="urn:microsoft.com/office/officeart/2005/8/layout/vList5"/>
    <dgm:cxn modelId="{CBF403B7-6E13-4E06-8378-C5FE8A7E1751}" type="presOf" srcId="{42B23BB2-0EEF-42DB-8C5F-3060B9C7361F}" destId="{C3CA0957-EF4F-46A9-B14B-C34909532529}" srcOrd="0" destOrd="1" presId="urn:microsoft.com/office/officeart/2005/8/layout/vList5"/>
    <dgm:cxn modelId="{63EFADC4-3C95-4F3B-B27C-8A0F9FFC6392}" srcId="{03FEEBAF-B492-4AB8-89C6-4B4628CA1E26}" destId="{42B23BB2-0EEF-42DB-8C5F-3060B9C7361F}" srcOrd="1" destOrd="0" parTransId="{B1652538-E188-4562-B615-E91D5D6577B0}" sibTransId="{51D54372-FAE3-453C-8A84-63173F54C38C}"/>
    <dgm:cxn modelId="{186ADDC8-E13B-497A-B8CC-268BA4BB6882}" type="presOf" srcId="{E6EFA897-0431-492F-B65F-D429EF9274CB}" destId="{9C1950A7-783E-48B6-8E92-F40F44EBAD14}" srcOrd="0" destOrd="0" presId="urn:microsoft.com/office/officeart/2005/8/layout/vList5"/>
    <dgm:cxn modelId="{3A754EC9-4700-4E62-8D18-497E27C681AD}" type="presOf" srcId="{96260E3C-6263-485C-AAD5-4834D4569D00}" destId="{E2E438A6-5F37-4E34-923A-0CA8673CDF3A}" srcOrd="0" destOrd="0" presId="urn:microsoft.com/office/officeart/2005/8/layout/vList5"/>
    <dgm:cxn modelId="{2F2084CE-814B-480D-8BF4-3530B66A683E}" type="presOf" srcId="{6A617864-B568-47FB-9CBA-8216615FD7C7}" destId="{42205B36-F6FD-4A61-8A6C-F7C8A06C6790}" srcOrd="0" destOrd="2" presId="urn:microsoft.com/office/officeart/2005/8/layout/vList5"/>
    <dgm:cxn modelId="{646407D6-38D4-4B41-B150-D7E5FACA53DA}" srcId="{E6EFA897-0431-492F-B65F-D429EF9274CB}" destId="{9A8436EC-ACD1-4FAC-ACA6-F944290F1D45}" srcOrd="0" destOrd="0" parTransId="{2D288222-1C34-4811-B5CF-074B6B81190D}" sibTransId="{DE7CC8B6-DAB2-45FF-A5FD-9E922426D19B}"/>
    <dgm:cxn modelId="{ABAFECDC-449D-4D07-9045-9B6BBF5D33E9}" type="presOf" srcId="{52BD68D0-EAE3-4487-ADC7-C30AD0C149E7}" destId="{C8A9DE35-1CD6-4E88-9A7A-CD82966A87BF}" srcOrd="0" destOrd="0" presId="urn:microsoft.com/office/officeart/2005/8/layout/vList5"/>
    <dgm:cxn modelId="{021E76EB-CCC2-4D2B-8AFA-573CD7B7906B}" srcId="{96260E3C-6263-485C-AAD5-4834D4569D00}" destId="{6A617864-B568-47FB-9CBA-8216615FD7C7}" srcOrd="2" destOrd="0" parTransId="{35628F51-56F6-4FD2-89C3-9BCBF90CB85E}" sibTransId="{B408DCDE-AF10-4E9C-99C1-C16AFFB11EAD}"/>
    <dgm:cxn modelId="{954AB5ED-19D8-4B9F-9274-A07D3F0B86DC}" srcId="{FFCB392C-E190-4000-BC2B-8923E66F8E05}" destId="{52B98E0D-74B5-47F3-93A9-75219B6BCE70}" srcOrd="4" destOrd="0" parTransId="{98C1EE2D-85CD-4DF7-BA31-B2037EADB0D7}" sibTransId="{CD1C99D8-452D-4FB0-BFC1-18CE9E5E8FC6}"/>
    <dgm:cxn modelId="{398D7EF1-C0F8-40EA-BD9C-D32E8BDA768B}" type="presOf" srcId="{C7AC626C-C3D5-451F-836B-36BD5802845E}" destId="{D4830C8F-A2AE-4990-90BF-6D9758F800E7}" srcOrd="0" destOrd="2" presId="urn:microsoft.com/office/officeart/2005/8/layout/vList5"/>
    <dgm:cxn modelId="{36623C55-CE13-4AD6-BE4E-AD62A1CBA121}" type="presParOf" srcId="{27648138-B716-41A0-A76C-626220E2874C}" destId="{1ADF6C26-1B25-4A78-B388-B1C46C817D76}" srcOrd="0" destOrd="0" presId="urn:microsoft.com/office/officeart/2005/8/layout/vList5"/>
    <dgm:cxn modelId="{4DECFFBA-D269-4BF6-BE7C-8704F340A47C}" type="presParOf" srcId="{1ADF6C26-1B25-4A78-B388-B1C46C817D76}" destId="{9C1950A7-783E-48B6-8E92-F40F44EBAD14}" srcOrd="0" destOrd="0" presId="urn:microsoft.com/office/officeart/2005/8/layout/vList5"/>
    <dgm:cxn modelId="{49D490F8-05D0-4A47-83E7-1EE4A6BF73D4}" type="presParOf" srcId="{1ADF6C26-1B25-4A78-B388-B1C46C817D76}" destId="{D4830C8F-A2AE-4990-90BF-6D9758F800E7}" srcOrd="1" destOrd="0" presId="urn:microsoft.com/office/officeart/2005/8/layout/vList5"/>
    <dgm:cxn modelId="{5B9BC308-3876-4978-BF6D-848C851655F5}" type="presParOf" srcId="{27648138-B716-41A0-A76C-626220E2874C}" destId="{9203D1ED-D34A-4B16-8646-7FE2F50473D2}" srcOrd="1" destOrd="0" presId="urn:microsoft.com/office/officeart/2005/8/layout/vList5"/>
    <dgm:cxn modelId="{76438024-2C90-4EBC-ABBD-DF4056D36DDD}" type="presParOf" srcId="{27648138-B716-41A0-A76C-626220E2874C}" destId="{53851687-2ABD-4E48-9F25-DB16955D1D90}" srcOrd="2" destOrd="0" presId="urn:microsoft.com/office/officeart/2005/8/layout/vList5"/>
    <dgm:cxn modelId="{EDDEF264-1614-484B-B8FD-C8A0587F3E52}" type="presParOf" srcId="{53851687-2ABD-4E48-9F25-DB16955D1D90}" destId="{6282B259-D810-400D-AF6A-A79E8F7BBC6B}" srcOrd="0" destOrd="0" presId="urn:microsoft.com/office/officeart/2005/8/layout/vList5"/>
    <dgm:cxn modelId="{D30CBBBF-CA02-44E5-99C0-F6F65FB68257}" type="presParOf" srcId="{53851687-2ABD-4E48-9F25-DB16955D1D90}" destId="{C3CA0957-EF4F-46A9-B14B-C34909532529}" srcOrd="1" destOrd="0" presId="urn:microsoft.com/office/officeart/2005/8/layout/vList5"/>
    <dgm:cxn modelId="{BDFEC1CA-78BC-4DE1-9EB9-E38E7B8E9596}" type="presParOf" srcId="{27648138-B716-41A0-A76C-626220E2874C}" destId="{C9293F8E-C675-4E36-A65B-AAAC8006C733}" srcOrd="3" destOrd="0" presId="urn:microsoft.com/office/officeart/2005/8/layout/vList5"/>
    <dgm:cxn modelId="{C4B2619F-7DA6-4658-AA77-2FDF39975197}" type="presParOf" srcId="{27648138-B716-41A0-A76C-626220E2874C}" destId="{61D33F34-F888-4DD1-BA17-F953371D0B7A}" srcOrd="4" destOrd="0" presId="urn:microsoft.com/office/officeart/2005/8/layout/vList5"/>
    <dgm:cxn modelId="{2FD8CD44-C7F9-43AD-9B52-630B7CC91C5C}" type="presParOf" srcId="{61D33F34-F888-4DD1-BA17-F953371D0B7A}" destId="{E2E438A6-5F37-4E34-923A-0CA8673CDF3A}" srcOrd="0" destOrd="0" presId="urn:microsoft.com/office/officeart/2005/8/layout/vList5"/>
    <dgm:cxn modelId="{5F124C72-3FD6-4255-B876-8999C771D87C}" type="presParOf" srcId="{61D33F34-F888-4DD1-BA17-F953371D0B7A}" destId="{42205B36-F6FD-4A61-8A6C-F7C8A06C6790}" srcOrd="1" destOrd="0" presId="urn:microsoft.com/office/officeart/2005/8/layout/vList5"/>
    <dgm:cxn modelId="{5E0D6B70-5F2F-45A3-86AA-183C13C1A6AA}" type="presParOf" srcId="{27648138-B716-41A0-A76C-626220E2874C}" destId="{CDDFDC90-580B-485A-9FC2-5DB7FE6F7287}" srcOrd="5" destOrd="0" presId="urn:microsoft.com/office/officeart/2005/8/layout/vList5"/>
    <dgm:cxn modelId="{6F253042-D7C8-4B7D-9FEF-FB031CBF6CC5}" type="presParOf" srcId="{27648138-B716-41A0-A76C-626220E2874C}" destId="{73F3CA5A-E1C8-4A93-9B4D-EA5329F4F21A}" srcOrd="6" destOrd="0" presId="urn:microsoft.com/office/officeart/2005/8/layout/vList5"/>
    <dgm:cxn modelId="{4245BE60-5409-4B2F-AD96-F4F63CC1432C}" type="presParOf" srcId="{73F3CA5A-E1C8-4A93-9B4D-EA5329F4F21A}" destId="{C8A9DE35-1CD6-4E88-9A7A-CD82966A87BF}" srcOrd="0" destOrd="0" presId="urn:microsoft.com/office/officeart/2005/8/layout/vList5"/>
    <dgm:cxn modelId="{E8E8B4AE-4F7E-4AD5-8A15-D14916C48492}" type="presParOf" srcId="{73F3CA5A-E1C8-4A93-9B4D-EA5329F4F21A}" destId="{600B0FCE-F633-4F00-B20F-1253DB6B5E6E}" srcOrd="1" destOrd="0" presId="urn:microsoft.com/office/officeart/2005/8/layout/vList5"/>
    <dgm:cxn modelId="{BAD311A2-24F2-4CE9-8646-DFB9F5F6B5A3}" type="presParOf" srcId="{27648138-B716-41A0-A76C-626220E2874C}" destId="{1A51CAE2-8F35-4B86-BC85-6FAB03C10C9B}" srcOrd="7" destOrd="0" presId="urn:microsoft.com/office/officeart/2005/8/layout/vList5"/>
    <dgm:cxn modelId="{4A598431-260C-4E6E-83BF-52CFC9204234}" type="presParOf" srcId="{27648138-B716-41A0-A76C-626220E2874C}" destId="{930F362C-C84D-4BD3-B965-79AFCF7BEE58}" srcOrd="8" destOrd="0" presId="urn:microsoft.com/office/officeart/2005/8/layout/vList5"/>
    <dgm:cxn modelId="{6E3D6817-2E12-447E-B66E-93CED88B1220}" type="presParOf" srcId="{930F362C-C84D-4BD3-B965-79AFCF7BEE58}" destId="{36DCF81B-4ED1-4AD8-B27C-5FE0EF7F2B66}" srcOrd="0" destOrd="0" presId="urn:microsoft.com/office/officeart/2005/8/layout/vList5"/>
    <dgm:cxn modelId="{6C99B66F-E916-4FEB-B3E8-02761F76055D}" type="presParOf" srcId="{930F362C-C84D-4BD3-B965-79AFCF7BEE58}" destId="{BCBFAC89-216D-4DFF-897D-8C47A404ADDC}"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9.xml><?xml version="1.0" encoding="utf-8"?>
<dgm:dataModel xmlns:dgm="http://schemas.openxmlformats.org/drawingml/2006/diagram" xmlns:a="http://schemas.openxmlformats.org/drawingml/2006/main">
  <dgm:ptLst>
    <dgm:pt modelId="{FFCB392C-E190-4000-BC2B-8923E66F8E05}"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GB"/>
        </a:p>
      </dgm:t>
    </dgm:pt>
    <dgm:pt modelId="{E6EFA897-0431-492F-B65F-D429EF9274CB}">
      <dgm:prSet phldrT="[Text]" custT="1"/>
      <dgm:spPr>
        <a:solidFill>
          <a:srgbClr val="FC5B2F"/>
        </a:solidFill>
        <a:ln w="63500">
          <a:solidFill>
            <a:schemeClr val="bg1"/>
          </a:solidFill>
        </a:ln>
      </dgm:spPr>
      <dgm:t>
        <a:bodyPr/>
        <a:lstStyle/>
        <a:p>
          <a:r>
            <a:rPr lang="de-DE" sz="2000" b="1"/>
            <a:t>WAS?</a:t>
          </a:r>
          <a:endParaRPr lang="en-GB" sz="2000" b="1"/>
        </a:p>
      </dgm:t>
    </dgm:pt>
    <dgm:pt modelId="{3F2A00E6-14CF-4B7B-83A8-308789775694}" type="parTrans" cxnId="{2E6C1579-6082-4E33-A723-E845F8FBA423}">
      <dgm:prSet/>
      <dgm:spPr/>
      <dgm:t>
        <a:bodyPr/>
        <a:lstStyle/>
        <a:p>
          <a:endParaRPr lang="en-GB"/>
        </a:p>
      </dgm:t>
    </dgm:pt>
    <dgm:pt modelId="{7AEB0645-723A-40EF-ABFC-A5BB952678BD}" type="sibTrans" cxnId="{2E6C1579-6082-4E33-A723-E845F8FBA423}">
      <dgm:prSet/>
      <dgm:spPr/>
      <dgm:t>
        <a:bodyPr/>
        <a:lstStyle/>
        <a:p>
          <a:endParaRPr lang="en-GB"/>
        </a:p>
      </dgm:t>
    </dgm:pt>
    <dgm:pt modelId="{03FEEBAF-B492-4AB8-89C6-4B4628CA1E26}">
      <dgm:prSet phldrT="[Text]" custT="1"/>
      <dgm:spPr>
        <a:solidFill>
          <a:srgbClr val="FC5B2F"/>
        </a:solidFill>
        <a:ln w="63500">
          <a:solidFill>
            <a:schemeClr val="bg1"/>
          </a:solidFill>
        </a:ln>
      </dgm:spPr>
      <dgm:t>
        <a:bodyPr/>
        <a:lstStyle/>
        <a:p>
          <a:r>
            <a:rPr lang="de-DE" sz="2000" b="1"/>
            <a:t>WER?</a:t>
          </a:r>
          <a:endParaRPr lang="en-GB" sz="2000" b="1"/>
        </a:p>
      </dgm:t>
    </dgm:pt>
    <dgm:pt modelId="{36E648EC-D32B-449E-9167-67FC1B8DDF49}" type="parTrans" cxnId="{84E6D674-155B-4E0C-98FA-DD06EBDC25BA}">
      <dgm:prSet/>
      <dgm:spPr/>
      <dgm:t>
        <a:bodyPr/>
        <a:lstStyle/>
        <a:p>
          <a:endParaRPr lang="en-GB"/>
        </a:p>
      </dgm:t>
    </dgm:pt>
    <dgm:pt modelId="{46A33D61-164A-49AF-AE7D-CEFC1DBAB295}" type="sibTrans" cxnId="{84E6D674-155B-4E0C-98FA-DD06EBDC25BA}">
      <dgm:prSet/>
      <dgm:spPr/>
      <dgm:t>
        <a:bodyPr/>
        <a:lstStyle/>
        <a:p>
          <a:endParaRPr lang="en-GB"/>
        </a:p>
      </dgm:t>
    </dgm:pt>
    <dgm:pt modelId="{96260E3C-6263-485C-AAD5-4834D4569D00}">
      <dgm:prSet phldrT="[Text]" custT="1"/>
      <dgm:spPr>
        <a:solidFill>
          <a:srgbClr val="FC5B2F"/>
        </a:solidFill>
        <a:ln w="63500">
          <a:solidFill>
            <a:schemeClr val="bg1"/>
          </a:solidFill>
        </a:ln>
      </dgm:spPr>
      <dgm:t>
        <a:bodyPr/>
        <a:lstStyle/>
        <a:p>
          <a:r>
            <a:rPr lang="de-DE" sz="2000" b="1"/>
            <a:t>WIE VIEL?</a:t>
          </a:r>
          <a:endParaRPr lang="en-GB" sz="2000" b="1"/>
        </a:p>
      </dgm:t>
    </dgm:pt>
    <dgm:pt modelId="{2B5F8176-600B-448A-BAC4-07CC9809E5E1}" type="parTrans" cxnId="{F4407357-DA74-4905-8D57-999A75C49954}">
      <dgm:prSet/>
      <dgm:spPr/>
      <dgm:t>
        <a:bodyPr/>
        <a:lstStyle/>
        <a:p>
          <a:endParaRPr lang="en-GB"/>
        </a:p>
      </dgm:t>
    </dgm:pt>
    <dgm:pt modelId="{9118D841-7835-4425-89DF-5E2FF676BD2C}" type="sibTrans" cxnId="{F4407357-DA74-4905-8D57-999A75C49954}">
      <dgm:prSet/>
      <dgm:spPr/>
      <dgm:t>
        <a:bodyPr/>
        <a:lstStyle/>
        <a:p>
          <a:endParaRPr lang="en-GB"/>
        </a:p>
      </dgm:t>
    </dgm:pt>
    <dgm:pt modelId="{0A2167F3-4E3C-49E8-8F53-F429B724897B}">
      <dgm:prSet phldrT="[Text]" custT="1"/>
      <dgm:spPr>
        <a:solidFill>
          <a:srgbClr val="FEEAE8">
            <a:alpha val="90000"/>
          </a:srgbClr>
        </a:solidFill>
        <a:ln w="63500" cap="rnd">
          <a:solidFill>
            <a:schemeClr val="bg1"/>
          </a:solidFill>
          <a:round/>
        </a:ln>
      </dgm:spPr>
      <dgm:t>
        <a:bodyPr/>
        <a:lstStyle/>
        <a:p>
          <a:r>
            <a:rPr lang="en-GB" sz="1200" err="1">
              <a:latin typeface="+mn-lt"/>
            </a:rPr>
            <a:t>genauer</a:t>
          </a:r>
          <a:r>
            <a:rPr lang="en-GB" sz="1200">
              <a:latin typeface="+mn-lt"/>
            </a:rPr>
            <a:t> </a:t>
          </a:r>
          <a:r>
            <a:rPr lang="en-GB" sz="1200" err="1">
              <a:latin typeface="+mn-lt"/>
            </a:rPr>
            <a:t>Betrag</a:t>
          </a:r>
          <a:r>
            <a:rPr lang="en-GB" sz="1200">
              <a:latin typeface="+mn-lt"/>
            </a:rPr>
            <a:t> </a:t>
          </a:r>
          <a:r>
            <a:rPr lang="en-GB" sz="1200" err="1">
              <a:latin typeface="+mn-lt"/>
            </a:rPr>
            <a:t>abhängig</a:t>
          </a:r>
          <a:r>
            <a:rPr lang="en-GB" sz="1200">
              <a:latin typeface="+mn-lt"/>
            </a:rPr>
            <a:t> von </a:t>
          </a:r>
          <a:r>
            <a:rPr lang="en-GB" sz="1200" err="1">
              <a:latin typeface="+mn-lt"/>
            </a:rPr>
            <a:t>abgeschlossenem</a:t>
          </a:r>
          <a:r>
            <a:rPr lang="en-GB" sz="1200">
              <a:latin typeface="+mn-lt"/>
            </a:rPr>
            <a:t> </a:t>
          </a:r>
          <a:r>
            <a:rPr lang="en-GB" sz="1200" err="1">
              <a:latin typeface="+mn-lt"/>
            </a:rPr>
            <a:t>Vertrag</a:t>
          </a:r>
          <a:endParaRPr lang="en-GB" sz="1200">
            <a:latin typeface="+mn-lt"/>
          </a:endParaRPr>
        </a:p>
      </dgm:t>
    </dgm:pt>
    <dgm:pt modelId="{C31FCFD9-9839-42B9-909B-53DFE97C6A9D}" type="parTrans" cxnId="{92F75A5B-779F-4B6B-9DC9-466C31D92B4C}">
      <dgm:prSet/>
      <dgm:spPr/>
      <dgm:t>
        <a:bodyPr/>
        <a:lstStyle/>
        <a:p>
          <a:endParaRPr lang="en-GB"/>
        </a:p>
      </dgm:t>
    </dgm:pt>
    <dgm:pt modelId="{981FCCCA-D06E-451D-858E-6E6DE23A18B8}" type="sibTrans" cxnId="{92F75A5B-779F-4B6B-9DC9-466C31D92B4C}">
      <dgm:prSet/>
      <dgm:spPr/>
      <dgm:t>
        <a:bodyPr/>
        <a:lstStyle/>
        <a:p>
          <a:endParaRPr lang="en-GB"/>
        </a:p>
      </dgm:t>
    </dgm:pt>
    <dgm:pt modelId="{52BD68D0-EAE3-4487-ADC7-C30AD0C149E7}">
      <dgm:prSet phldrT="[Text]" custT="1"/>
      <dgm:spPr>
        <a:solidFill>
          <a:srgbClr val="FC5B2F"/>
        </a:solidFill>
        <a:ln w="63500">
          <a:solidFill>
            <a:schemeClr val="bg1"/>
          </a:solidFill>
        </a:ln>
      </dgm:spPr>
      <dgm:t>
        <a:bodyPr/>
        <a:lstStyle/>
        <a:p>
          <a:r>
            <a:rPr lang="de-DE" sz="2000" b="1"/>
            <a:t>WO?</a:t>
          </a:r>
          <a:endParaRPr lang="en-GB" sz="2000" b="1"/>
        </a:p>
      </dgm:t>
    </dgm:pt>
    <dgm:pt modelId="{BB9FE834-9348-4C65-ABF7-D62613A39635}" type="parTrans" cxnId="{F1270984-F461-4C12-ACC0-75C88A60C205}">
      <dgm:prSet/>
      <dgm:spPr/>
      <dgm:t>
        <a:bodyPr/>
        <a:lstStyle/>
        <a:p>
          <a:endParaRPr lang="en-GB"/>
        </a:p>
      </dgm:t>
    </dgm:pt>
    <dgm:pt modelId="{C8ED1CA2-595E-436E-B860-29E61D658492}" type="sibTrans" cxnId="{F1270984-F461-4C12-ACC0-75C88A60C205}">
      <dgm:prSet/>
      <dgm:spPr/>
      <dgm:t>
        <a:bodyPr/>
        <a:lstStyle/>
        <a:p>
          <a:endParaRPr lang="en-GB"/>
        </a:p>
      </dgm:t>
    </dgm:pt>
    <dgm:pt modelId="{52B98E0D-74B5-47F3-93A9-75219B6BCE70}">
      <dgm:prSet phldrT="[Text]" custT="1"/>
      <dgm:spPr>
        <a:solidFill>
          <a:srgbClr val="FC5B2F"/>
        </a:solidFill>
        <a:ln w="63500">
          <a:solidFill>
            <a:schemeClr val="bg1"/>
          </a:solidFill>
        </a:ln>
      </dgm:spPr>
      <dgm:t>
        <a:bodyPr/>
        <a:lstStyle/>
        <a:p>
          <a:r>
            <a:rPr lang="de-DE" sz="2000" b="1"/>
            <a:t>BIS WANN?</a:t>
          </a:r>
          <a:endParaRPr lang="en-GB" sz="2000" b="1"/>
        </a:p>
      </dgm:t>
    </dgm:pt>
    <dgm:pt modelId="{98C1EE2D-85CD-4DF7-BA31-B2037EADB0D7}" type="parTrans" cxnId="{954AB5ED-19D8-4B9F-9274-A07D3F0B86DC}">
      <dgm:prSet/>
      <dgm:spPr/>
      <dgm:t>
        <a:bodyPr/>
        <a:lstStyle/>
        <a:p>
          <a:endParaRPr lang="en-GB"/>
        </a:p>
      </dgm:t>
    </dgm:pt>
    <dgm:pt modelId="{CD1C99D8-452D-4FB0-BFC1-18CE9E5E8FC6}" type="sibTrans" cxnId="{954AB5ED-19D8-4B9F-9274-A07D3F0B86DC}">
      <dgm:prSet/>
      <dgm:spPr/>
      <dgm:t>
        <a:bodyPr/>
        <a:lstStyle/>
        <a:p>
          <a:endParaRPr lang="en-GB"/>
        </a:p>
      </dgm:t>
    </dgm:pt>
    <dgm:pt modelId="{0304314D-5BF1-42A8-BE34-2A2F0E95F676}">
      <dgm:prSet phldrT="[Text]" custT="1"/>
      <dgm:spPr>
        <a:solidFill>
          <a:srgbClr val="FEEAE8">
            <a:alpha val="90000"/>
          </a:srgbClr>
        </a:solidFill>
        <a:ln w="63500" cap="rnd">
          <a:solidFill>
            <a:schemeClr val="bg1"/>
          </a:solidFill>
          <a:round/>
        </a:ln>
      </dgm:spPr>
      <dgm:t>
        <a:bodyPr/>
        <a:lstStyle/>
        <a:p>
          <a:pPr>
            <a:buFont typeface="Times New Roman" panose="02020603050405020304" pitchFamily="18" charset="0"/>
            <a:buNone/>
          </a:pPr>
          <a:r>
            <a:rPr lang="en-GB" sz="1200" kern="1200" dirty="0">
              <a:latin typeface="+mn-lt"/>
            </a:rPr>
            <a:t>6.10 – 1.12. </a:t>
          </a:r>
          <a:r>
            <a:rPr lang="en-GB" sz="1200" kern="1200" dirty="0" err="1">
              <a:latin typeface="+mn-lt"/>
            </a:rPr>
            <a:t>Vorbereitendes</a:t>
          </a:r>
          <a:r>
            <a:rPr lang="en-GB" sz="1200" kern="1200" dirty="0">
              <a:latin typeface="+mn-lt"/>
            </a:rPr>
            <a:t> </a:t>
          </a:r>
          <a:r>
            <a:rPr lang="en-GB" sz="1200" kern="1200" dirty="0" err="1">
              <a:latin typeface="+mn-lt"/>
            </a:rPr>
            <a:t>Verfahren</a:t>
          </a:r>
          <a:r>
            <a:rPr lang="en-GB" sz="1200" kern="1200" dirty="0">
              <a:latin typeface="+mn-lt"/>
            </a:rPr>
            <a:t> für </a:t>
          </a:r>
          <a:r>
            <a:rPr lang="en-GB" sz="1200" kern="1200" dirty="0" err="1">
              <a:latin typeface="+mn-lt"/>
            </a:rPr>
            <a:t>Gebotsverfahren</a:t>
          </a:r>
          <a:r>
            <a:rPr lang="en-GB" sz="1200" kern="1200" dirty="0">
              <a:latin typeface="+mn-lt"/>
            </a:rPr>
            <a:t> 2026, </a:t>
          </a:r>
          <a:r>
            <a:rPr lang="en-GB" sz="1200" kern="1200" dirty="0" err="1">
              <a:latin typeface="+mn-lt"/>
            </a:rPr>
            <a:t>Gebotsverfahren</a:t>
          </a:r>
          <a:r>
            <a:rPr lang="en-GB" sz="1200" kern="1200" dirty="0">
              <a:latin typeface="+mn-lt"/>
            </a:rPr>
            <a:t> </a:t>
          </a:r>
          <a:r>
            <a:rPr lang="en-GB" sz="1200" kern="1200" dirty="0" err="1">
              <a:latin typeface="+mn-lt"/>
            </a:rPr>
            <a:t>startet</a:t>
          </a:r>
          <a:r>
            <a:rPr lang="en-GB" sz="1200" kern="1200" dirty="0">
              <a:latin typeface="+mn-lt"/>
            </a:rPr>
            <a:t> </a:t>
          </a:r>
          <a:r>
            <a:rPr lang="en-GB" sz="1200" kern="1200" dirty="0" err="1">
              <a:latin typeface="+mn-lt"/>
            </a:rPr>
            <a:t>vrstl</a:t>
          </a:r>
          <a:r>
            <a:rPr lang="en-GB" sz="1200" kern="1200" dirty="0">
              <a:latin typeface="+mn-lt"/>
            </a:rPr>
            <a:t>. Mitte 2026</a:t>
          </a:r>
        </a:p>
      </dgm:t>
    </dgm:pt>
    <dgm:pt modelId="{804FF43D-A32E-451E-A676-9BB53C66ECED}" type="parTrans" cxnId="{4C02BB6C-62E0-4B38-BABC-C6745075E7FB}">
      <dgm:prSet/>
      <dgm:spPr/>
      <dgm:t>
        <a:bodyPr/>
        <a:lstStyle/>
        <a:p>
          <a:endParaRPr lang="en-GB"/>
        </a:p>
      </dgm:t>
    </dgm:pt>
    <dgm:pt modelId="{45B9690B-B485-4BD2-A80E-FBB267D431B6}" type="sibTrans" cxnId="{4C02BB6C-62E0-4B38-BABC-C6745075E7FB}">
      <dgm:prSet/>
      <dgm:spPr/>
      <dgm:t>
        <a:bodyPr/>
        <a:lstStyle/>
        <a:p>
          <a:endParaRPr lang="en-GB"/>
        </a:p>
      </dgm:t>
    </dgm:pt>
    <dgm:pt modelId="{5B68FBBB-097B-4FC1-AC52-7BCB9A82E434}">
      <dgm:prSet phldrT="[Text]" custT="1"/>
      <dgm:spPr>
        <a:solidFill>
          <a:srgbClr val="FEEAE8">
            <a:alpha val="90000"/>
          </a:srgbClr>
        </a:solidFill>
        <a:ln w="63500" cap="rnd">
          <a:solidFill>
            <a:schemeClr val="bg1"/>
          </a:solidFill>
          <a:round/>
        </a:ln>
      </dgm:spPr>
      <dgm:t>
        <a:bodyPr/>
        <a:lstStyle/>
        <a:p>
          <a:pPr>
            <a:buFont typeface="Times New Roman" panose="02020603050405020304" pitchFamily="18" charset="0"/>
            <a:buChar char="•"/>
          </a:pPr>
          <a:r>
            <a:rPr lang="de-DE" sz="1200" kern="1200"/>
            <a:t>Unternehmen aus emissionsintensiven Branchen</a:t>
          </a:r>
          <a:r>
            <a:rPr lang="de-DE" sz="1200" b="1" kern="1200"/>
            <a:t> </a:t>
          </a:r>
          <a:r>
            <a:rPr lang="de-DE" sz="1200" b="1" kern="1200">
              <a:sym typeface="Wingdings" panose="05000000000000000000" pitchFamily="2" charset="2"/>
            </a:rPr>
            <a:t></a:t>
          </a:r>
          <a:r>
            <a:rPr lang="de-DE" sz="1200" b="1" kern="1200"/>
            <a:t> </a:t>
          </a:r>
          <a:r>
            <a:rPr lang="de-DE" sz="1200" kern="1200"/>
            <a:t>Mindestgröße: 5 kt CO2-Äquivalente pro Kalenderjahr</a:t>
          </a:r>
          <a:endParaRPr lang="en-GB" sz="1200" kern="1200">
            <a:latin typeface="+mn-lt"/>
          </a:endParaRPr>
        </a:p>
      </dgm:t>
    </dgm:pt>
    <dgm:pt modelId="{659E152D-55D2-44AD-AE67-588F8779BF6F}" type="parTrans" cxnId="{CED7E969-D16B-49AC-9025-0639DE7A44EA}">
      <dgm:prSet/>
      <dgm:spPr/>
      <dgm:t>
        <a:bodyPr/>
        <a:lstStyle/>
        <a:p>
          <a:endParaRPr lang="en-GB"/>
        </a:p>
      </dgm:t>
    </dgm:pt>
    <dgm:pt modelId="{2DEC8DEC-3F82-4CCC-A411-7762AAC03FEB}" type="sibTrans" cxnId="{CED7E969-D16B-49AC-9025-0639DE7A44EA}">
      <dgm:prSet/>
      <dgm:spPr/>
      <dgm:t>
        <a:bodyPr/>
        <a:lstStyle/>
        <a:p>
          <a:endParaRPr lang="en-GB"/>
        </a:p>
      </dgm:t>
    </dgm:pt>
    <dgm:pt modelId="{0B0E29F8-58DA-4B85-A037-33270222EDB5}">
      <dgm:prSet phldrT="[Text]" custT="1"/>
      <dgm:spPr>
        <a:solidFill>
          <a:srgbClr val="FEEAE8">
            <a:alpha val="90000"/>
          </a:srgbClr>
        </a:solidFill>
        <a:ln w="63500" cap="rnd" cmpd="sng">
          <a:solidFill>
            <a:schemeClr val="bg1"/>
          </a:solidFill>
          <a:round/>
        </a:ln>
      </dgm:spPr>
      <dgm:t>
        <a:bodyPr/>
        <a:lstStyle/>
        <a:p>
          <a:r>
            <a:rPr lang="de-DE" sz="1200" kern="1200">
              <a:solidFill>
                <a:prstClr val="black">
                  <a:hueOff val="0"/>
                  <a:satOff val="0"/>
                  <a:lumOff val="0"/>
                  <a:alphaOff val="0"/>
                </a:prstClr>
              </a:solidFill>
              <a:latin typeface="Segoe UI"/>
              <a:ea typeface="+mn-ea"/>
              <a:cs typeface="+mn-cs"/>
            </a:rPr>
            <a:t>Zuwendungen für Mehrkosten transformativer Produktionsverfahren auf Basis von Klimaschutzverträgen für emissionsintensive Branchen (basierend auf dem Konzept von CO2-Differenzverträgen)</a:t>
          </a:r>
          <a:endParaRPr lang="en-GB" sz="1200" b="0" kern="1200">
            <a:ln>
              <a:noFill/>
            </a:ln>
            <a:latin typeface="+mn-lt"/>
          </a:endParaRPr>
        </a:p>
      </dgm:t>
    </dgm:pt>
    <dgm:pt modelId="{B3303F4A-0797-479A-ADE6-B072AA2FE5D1}" type="sibTrans" cxnId="{8DB13611-D17D-4779-84EF-763DF9E3547C}">
      <dgm:prSet/>
      <dgm:spPr/>
      <dgm:t>
        <a:bodyPr/>
        <a:lstStyle/>
        <a:p>
          <a:endParaRPr lang="en-GB"/>
        </a:p>
      </dgm:t>
    </dgm:pt>
    <dgm:pt modelId="{6932F5EC-2FFE-483B-A29C-A66067ED0F62}" type="parTrans" cxnId="{8DB13611-D17D-4779-84EF-763DF9E3547C}">
      <dgm:prSet/>
      <dgm:spPr/>
      <dgm:t>
        <a:bodyPr/>
        <a:lstStyle/>
        <a:p>
          <a:endParaRPr lang="en-GB"/>
        </a:p>
      </dgm:t>
    </dgm:pt>
    <dgm:pt modelId="{9769D350-8FE4-4236-B37A-51F281FB0440}">
      <dgm:prSet phldrT="[Text]" custT="1"/>
      <dgm:spPr>
        <a:solidFill>
          <a:srgbClr val="FEEAE8">
            <a:alpha val="90000"/>
          </a:srgbClr>
        </a:solidFill>
        <a:ln w="63500" cap="rnd">
          <a:solidFill>
            <a:schemeClr val="bg1">
              <a:alpha val="90000"/>
            </a:schemeClr>
          </a:solidFill>
          <a:round/>
        </a:ln>
      </dgm:spPr>
      <dgm:t>
        <a:bodyPr/>
        <a:lstStyle/>
        <a:p>
          <a:pPr>
            <a:buNone/>
          </a:pPr>
          <a:r>
            <a:rPr lang="de-DE" sz="1200">
              <a:solidFill>
                <a:schemeClr val="tx1"/>
              </a:solidFill>
              <a:latin typeface="+mn-lt"/>
              <a:hlinkClick xmlns:r="http://schemas.openxmlformats.org/officeDocument/2006/relationships" r:id="rId1"/>
            </a:rPr>
            <a:t>https://www.klimaschutzvertraege.info/</a:t>
          </a:r>
          <a:r>
            <a:rPr lang="de-DE" sz="1200">
              <a:solidFill>
                <a:schemeClr val="tx1"/>
              </a:solidFill>
              <a:latin typeface="+mn-lt"/>
            </a:rPr>
            <a:t> </a:t>
          </a:r>
          <a:endParaRPr lang="en-GB" sz="1200">
            <a:solidFill>
              <a:schemeClr val="tx1"/>
            </a:solidFill>
            <a:latin typeface="+mn-lt"/>
          </a:endParaRPr>
        </a:p>
      </dgm:t>
    </dgm:pt>
    <dgm:pt modelId="{E3E4F325-38EC-4BAF-80AB-9E71F04CCABD}" type="sibTrans" cxnId="{2B5F364B-9F67-4EFD-A893-5ED40B6C87FC}">
      <dgm:prSet/>
      <dgm:spPr/>
      <dgm:t>
        <a:bodyPr/>
        <a:lstStyle/>
        <a:p>
          <a:endParaRPr lang="en-GB"/>
        </a:p>
      </dgm:t>
    </dgm:pt>
    <dgm:pt modelId="{B162A309-DDB3-4E45-92DD-CDBE1CC908D1}" type="parTrans" cxnId="{2B5F364B-9F67-4EFD-A893-5ED40B6C87FC}">
      <dgm:prSet/>
      <dgm:spPr/>
      <dgm:t>
        <a:bodyPr/>
        <a:lstStyle/>
        <a:p>
          <a:endParaRPr lang="en-GB"/>
        </a:p>
      </dgm:t>
    </dgm:pt>
    <dgm:pt modelId="{7B1F854E-404E-4444-A0D2-49590DA82755}">
      <dgm:prSet custT="1"/>
      <dgm:spPr/>
      <dgm:t>
        <a:bodyPr/>
        <a:lstStyle/>
        <a:p>
          <a:pPr>
            <a:buFont typeface="Times New Roman" panose="02020603050405020304" pitchFamily="18" charset="0"/>
            <a:buChar char="•"/>
          </a:pPr>
          <a:r>
            <a:rPr lang="de-DE" sz="1200" kern="1200">
              <a:solidFill>
                <a:prstClr val="black">
                  <a:hueOff val="0"/>
                  <a:satOff val="0"/>
                  <a:lumOff val="0"/>
                  <a:alphaOff val="0"/>
                </a:prstClr>
              </a:solidFill>
              <a:latin typeface="Segoe UI"/>
              <a:ea typeface="+mn-ea"/>
              <a:cs typeface="+mn-cs"/>
            </a:rPr>
            <a:t>Konsortium möglich (technologischer Verbund der Herstellungsprozesse)</a:t>
          </a:r>
        </a:p>
      </dgm:t>
    </dgm:pt>
    <dgm:pt modelId="{5BEA1439-A86E-46C6-862F-B5501419BF3B}" type="parTrans" cxnId="{81C8F8BE-6BE8-4927-ACF7-24E645406DE0}">
      <dgm:prSet/>
      <dgm:spPr/>
      <dgm:t>
        <a:bodyPr/>
        <a:lstStyle/>
        <a:p>
          <a:endParaRPr lang="de-DE"/>
        </a:p>
      </dgm:t>
    </dgm:pt>
    <dgm:pt modelId="{4C7D8C34-4DFA-477F-A9B3-A6A8B4FB4F82}" type="sibTrans" cxnId="{81C8F8BE-6BE8-4927-ACF7-24E645406DE0}">
      <dgm:prSet/>
      <dgm:spPr/>
      <dgm:t>
        <a:bodyPr/>
        <a:lstStyle/>
        <a:p>
          <a:endParaRPr lang="de-DE"/>
        </a:p>
      </dgm:t>
    </dgm:pt>
    <dgm:pt modelId="{5EF3E9D2-8099-4A41-B5FD-DAD4A236558F}">
      <dgm:prSet custT="1"/>
      <dgm:spPr/>
      <dgm:t>
        <a:bodyPr/>
        <a:lstStyle/>
        <a:p>
          <a:pPr>
            <a:buFont typeface="Times New Roman" panose="02020603050405020304" pitchFamily="18" charset="0"/>
            <a:buChar char="•"/>
          </a:pPr>
          <a:r>
            <a:rPr lang="de-DE" sz="1200" kern="1200">
              <a:solidFill>
                <a:prstClr val="black">
                  <a:hueOff val="0"/>
                  <a:satOff val="0"/>
                  <a:lumOff val="0"/>
                  <a:alphaOff val="0"/>
                </a:prstClr>
              </a:solidFill>
              <a:latin typeface="Segoe UI"/>
              <a:ea typeface="+mn-ea"/>
              <a:cs typeface="+mn-cs"/>
            </a:rPr>
            <a:t>Prozesse mit hohen Wertschöpfungskettenintegration, Einfügung in die Industrie- und Energiestrategie der Bundesregierung und globale Klimafreundlichkeit (Maßnahmen müssen zu hohen THG-Einsparungen führen)</a:t>
          </a:r>
        </a:p>
      </dgm:t>
    </dgm:pt>
    <dgm:pt modelId="{08E8C30C-5E79-4528-A05E-5BA034221B62}" type="parTrans" cxnId="{32658D4E-E5E5-4EC5-80EA-A92A992C4CC2}">
      <dgm:prSet/>
      <dgm:spPr/>
      <dgm:t>
        <a:bodyPr/>
        <a:lstStyle/>
        <a:p>
          <a:endParaRPr lang="de-DE"/>
        </a:p>
      </dgm:t>
    </dgm:pt>
    <dgm:pt modelId="{C231C135-2F08-4AE3-8131-89D8FCC1F7C5}" type="sibTrans" cxnId="{32658D4E-E5E5-4EC5-80EA-A92A992C4CC2}">
      <dgm:prSet/>
      <dgm:spPr/>
      <dgm:t>
        <a:bodyPr/>
        <a:lstStyle/>
        <a:p>
          <a:endParaRPr lang="de-DE"/>
        </a:p>
      </dgm:t>
    </dgm:pt>
    <dgm:pt modelId="{BB82657C-5A2C-457B-AA72-220C99B47CA1}">
      <dgm:prSet custT="1"/>
      <dgm:spPr/>
      <dgm:t>
        <a:bodyPr/>
        <a:lstStyle/>
        <a:p>
          <a:pPr>
            <a:buFont typeface="Times New Roman" panose="02020603050405020304" pitchFamily="18" charset="0"/>
            <a:buChar char="•"/>
          </a:pPr>
          <a:r>
            <a:rPr lang="de-DE" sz="1200" kern="1200" dirty="0">
              <a:solidFill>
                <a:prstClr val="black">
                  <a:hueOff val="0"/>
                  <a:satOff val="0"/>
                  <a:lumOff val="0"/>
                  <a:alphaOff val="0"/>
                </a:prstClr>
              </a:solidFill>
              <a:latin typeface="Segoe UI"/>
              <a:ea typeface="+mn-ea"/>
              <a:cs typeface="+mn-cs"/>
            </a:rPr>
            <a:t>Ausgleich der Mehrkosten in der Herstellung von Produkten (aufgrund von klimafreundlicheren Anlagen oder dem Umbau zu klimafreundlicheren Anlagen (CAPEX) und dem Betrieb (OPEX))</a:t>
          </a:r>
        </a:p>
      </dgm:t>
    </dgm:pt>
    <dgm:pt modelId="{C1DEBE02-4667-4071-821D-5E739A34FF1E}" type="parTrans" cxnId="{0E0296F2-11A0-44DC-82CB-A94F7A2C7BC3}">
      <dgm:prSet/>
      <dgm:spPr/>
      <dgm:t>
        <a:bodyPr/>
        <a:lstStyle/>
        <a:p>
          <a:endParaRPr lang="de-DE"/>
        </a:p>
      </dgm:t>
    </dgm:pt>
    <dgm:pt modelId="{8F86CB98-A8E6-4688-A224-D47778C595AC}" type="sibTrans" cxnId="{0E0296F2-11A0-44DC-82CB-A94F7A2C7BC3}">
      <dgm:prSet/>
      <dgm:spPr/>
      <dgm:t>
        <a:bodyPr/>
        <a:lstStyle/>
        <a:p>
          <a:endParaRPr lang="de-DE"/>
        </a:p>
      </dgm:t>
    </dgm:pt>
    <dgm:pt modelId="{6F413F65-F82F-4E82-8F00-1D2C199A15A6}">
      <dgm:prSet custT="1"/>
      <dgm:spPr/>
      <dgm:t>
        <a:bodyPr/>
        <a:lstStyle/>
        <a:p>
          <a:pPr>
            <a:buFont typeface="Times New Roman" panose="02020603050405020304" pitchFamily="18" charset="0"/>
            <a:buChar char="•"/>
          </a:pPr>
          <a:r>
            <a:rPr lang="de-DE" sz="1200" kern="1200" dirty="0">
              <a:solidFill>
                <a:prstClr val="black">
                  <a:hueOff val="0"/>
                  <a:satOff val="0"/>
                  <a:lumOff val="0"/>
                  <a:alphaOff val="0"/>
                </a:prstClr>
              </a:solidFill>
              <a:latin typeface="Segoe UI"/>
              <a:ea typeface="+mn-ea"/>
              <a:cs typeface="+mn-cs"/>
            </a:rPr>
            <a:t>Marktetablierung von transformativen Produktionsverfahren</a:t>
          </a:r>
        </a:p>
      </dgm:t>
    </dgm:pt>
    <dgm:pt modelId="{0DC9E19F-62A7-4D1C-9F1B-A9D1B9605178}" type="parTrans" cxnId="{93272379-E7C3-41DC-8767-AC80EAE06B41}">
      <dgm:prSet/>
      <dgm:spPr/>
      <dgm:t>
        <a:bodyPr/>
        <a:lstStyle/>
        <a:p>
          <a:endParaRPr lang="de-DE"/>
        </a:p>
      </dgm:t>
    </dgm:pt>
    <dgm:pt modelId="{9A44604D-ABC0-4010-B2ED-1B4E07E9C855}" type="sibTrans" cxnId="{93272379-E7C3-41DC-8767-AC80EAE06B41}">
      <dgm:prSet/>
      <dgm:spPr/>
      <dgm:t>
        <a:bodyPr/>
        <a:lstStyle/>
        <a:p>
          <a:endParaRPr lang="de-DE"/>
        </a:p>
      </dgm:t>
    </dgm:pt>
    <dgm:pt modelId="{BC671E88-CC4B-4481-9F86-625EF50A7D4A}">
      <dgm:prSet custT="1"/>
      <dgm:spPr/>
      <dgm:t>
        <a:bodyPr/>
        <a:lstStyle/>
        <a:p>
          <a:pPr>
            <a:buFont typeface="Times New Roman" panose="02020603050405020304" pitchFamily="18" charset="0"/>
            <a:buChar char="•"/>
          </a:pPr>
          <a:r>
            <a:rPr lang="de-DE" sz="1200" kern="1200" dirty="0">
              <a:solidFill>
                <a:prstClr val="black">
                  <a:hueOff val="0"/>
                  <a:satOff val="0"/>
                  <a:lumOff val="0"/>
                  <a:alphaOff val="0"/>
                </a:prstClr>
              </a:solidFill>
              <a:latin typeface="Segoe UI"/>
              <a:ea typeface="+mn-ea"/>
              <a:cs typeface="+mn-cs"/>
            </a:rPr>
            <a:t>Laufzeit der Verträge: 15 Jahre</a:t>
          </a:r>
        </a:p>
      </dgm:t>
    </dgm:pt>
    <dgm:pt modelId="{E171C33D-040D-4858-A537-EF0D646EFAEB}" type="parTrans" cxnId="{9DBDA043-1BBB-4115-99AF-8DA829A392EF}">
      <dgm:prSet/>
      <dgm:spPr/>
      <dgm:t>
        <a:bodyPr/>
        <a:lstStyle/>
        <a:p>
          <a:endParaRPr lang="de-DE"/>
        </a:p>
      </dgm:t>
    </dgm:pt>
    <dgm:pt modelId="{3292A2FB-60A1-493D-827A-D15E6FB5869D}" type="sibTrans" cxnId="{9DBDA043-1BBB-4115-99AF-8DA829A392EF}">
      <dgm:prSet/>
      <dgm:spPr/>
      <dgm:t>
        <a:bodyPr/>
        <a:lstStyle/>
        <a:p>
          <a:endParaRPr lang="de-DE"/>
        </a:p>
      </dgm:t>
    </dgm:pt>
    <dgm:pt modelId="{EA912D18-C99B-440F-96BC-EDB280184630}">
      <dgm:prSet phldrT="[Text]" custT="1"/>
      <dgm:spPr>
        <a:solidFill>
          <a:srgbClr val="FEEAE8">
            <a:alpha val="90000"/>
          </a:srgbClr>
        </a:solidFill>
        <a:ln w="63500" cap="rnd">
          <a:solidFill>
            <a:schemeClr val="bg1"/>
          </a:solidFill>
          <a:round/>
        </a:ln>
      </dgm:spPr>
      <dgm:t>
        <a:bodyPr/>
        <a:lstStyle/>
        <a:p>
          <a:r>
            <a:rPr lang="de-DE" sz="1200">
              <a:latin typeface="+mn-lt"/>
            </a:rPr>
            <a:t>Meilensteine für CO2-Einsparung (60% ab 3. Jahr, 90% im letzten Jahr der Laufzeit der Verträge)</a:t>
          </a:r>
          <a:endParaRPr lang="en-GB" sz="1200">
            <a:latin typeface="+mn-lt"/>
          </a:endParaRPr>
        </a:p>
      </dgm:t>
    </dgm:pt>
    <dgm:pt modelId="{C4FF9D43-70DC-4835-B2D7-CE57DEBDC065}" type="parTrans" cxnId="{0932C176-C4AC-42E4-9070-26B5468A3536}">
      <dgm:prSet/>
      <dgm:spPr/>
      <dgm:t>
        <a:bodyPr/>
        <a:lstStyle/>
        <a:p>
          <a:endParaRPr lang="en-GB"/>
        </a:p>
      </dgm:t>
    </dgm:pt>
    <dgm:pt modelId="{1F7F027E-951D-489B-97D1-2568C15C093E}" type="sibTrans" cxnId="{0932C176-C4AC-42E4-9070-26B5468A3536}">
      <dgm:prSet/>
      <dgm:spPr/>
      <dgm:t>
        <a:bodyPr/>
        <a:lstStyle/>
        <a:p>
          <a:endParaRPr lang="en-GB"/>
        </a:p>
      </dgm:t>
    </dgm:pt>
    <dgm:pt modelId="{D964FA65-DEE3-4E01-85F6-E8EC215D839B}">
      <dgm:prSet custT="1"/>
      <dgm:spPr/>
      <dgm:t>
        <a:bodyPr/>
        <a:lstStyle/>
        <a:p>
          <a:pPr>
            <a:buFont typeface="Times New Roman" panose="02020603050405020304" pitchFamily="18" charset="0"/>
            <a:buChar char="•"/>
          </a:pPr>
          <a:r>
            <a:rPr lang="de-DE" sz="1200" kern="1200" dirty="0">
              <a:solidFill>
                <a:prstClr val="black">
                  <a:hueOff val="0"/>
                  <a:satOff val="0"/>
                  <a:lumOff val="0"/>
                  <a:alphaOff val="0"/>
                </a:prstClr>
              </a:solidFill>
              <a:latin typeface="Segoe UI"/>
              <a:ea typeface="+mn-ea"/>
              <a:cs typeface="+mn-cs"/>
            </a:rPr>
            <a:t>Auch für mittelständische Unternehmen mit kleineren Produktionsanlagen</a:t>
          </a:r>
        </a:p>
      </dgm:t>
    </dgm:pt>
    <dgm:pt modelId="{E4FB080B-534A-43BD-A798-4EC761D3F61B}" type="parTrans" cxnId="{DEF8CB97-D23C-4FDD-A3FB-FAD6BE46EAD8}">
      <dgm:prSet/>
      <dgm:spPr/>
      <dgm:t>
        <a:bodyPr/>
        <a:lstStyle/>
        <a:p>
          <a:endParaRPr lang="en-GB"/>
        </a:p>
      </dgm:t>
    </dgm:pt>
    <dgm:pt modelId="{3E2F86FB-1C1A-47E0-8E6F-620349505786}" type="sibTrans" cxnId="{DEF8CB97-D23C-4FDD-A3FB-FAD6BE46EAD8}">
      <dgm:prSet/>
      <dgm:spPr/>
      <dgm:t>
        <a:bodyPr/>
        <a:lstStyle/>
        <a:p>
          <a:endParaRPr lang="en-GB"/>
        </a:p>
      </dgm:t>
    </dgm:pt>
    <dgm:pt modelId="{18A9A212-212E-4168-B540-BFCFB387051B}">
      <dgm:prSet custT="1"/>
      <dgm:spPr/>
      <dgm:t>
        <a:bodyPr/>
        <a:lstStyle/>
        <a:p>
          <a:pPr>
            <a:buFont typeface="Times New Roman" panose="02020603050405020304" pitchFamily="18" charset="0"/>
            <a:buChar char="•"/>
          </a:pPr>
          <a:r>
            <a:rPr lang="de-DE" sz="1200" kern="1200" dirty="0">
              <a:solidFill>
                <a:prstClr val="black">
                  <a:hueOff val="0"/>
                  <a:satOff val="0"/>
                  <a:lumOff val="0"/>
                  <a:alphaOff val="0"/>
                </a:prstClr>
              </a:solidFill>
              <a:latin typeface="Segoe UI"/>
              <a:ea typeface="+mn-ea"/>
              <a:cs typeface="+mn-cs"/>
            </a:rPr>
            <a:t>Hinweis: auch </a:t>
          </a:r>
          <a:r>
            <a:rPr lang="de-DE" sz="1200" kern="1200" dirty="0">
              <a:solidFill>
                <a:schemeClr val="tx1"/>
              </a:solidFill>
              <a:effectLst/>
              <a:latin typeface="+mj-lt"/>
              <a:ea typeface="Aptos" panose="020B0004020202020204" pitchFamily="34" charset="0"/>
              <a:cs typeface="Aptos" panose="020B0004020202020204" pitchFamily="34" charset="0"/>
            </a:rPr>
            <a:t>Installation und Betrieb von Strom-/Wärmespeicher ist förderbar, Unternehmen können darüber möglicherweise gleichzeitig bessere Energiebezugskonditionen bei ihrem Versorger erzielen</a:t>
          </a:r>
          <a:endParaRPr lang="de-DE" sz="1200" kern="1200" dirty="0">
            <a:solidFill>
              <a:schemeClr val="tx1"/>
            </a:solidFill>
            <a:latin typeface="Segoe UI"/>
            <a:ea typeface="+mn-ea"/>
            <a:cs typeface="+mn-cs"/>
          </a:endParaRPr>
        </a:p>
      </dgm:t>
    </dgm:pt>
    <dgm:pt modelId="{081BE9CF-0D63-4FEC-9670-2EF68034144A}" type="parTrans" cxnId="{79382796-137B-4B33-97DA-095EF8B2B91E}">
      <dgm:prSet/>
      <dgm:spPr/>
      <dgm:t>
        <a:bodyPr/>
        <a:lstStyle/>
        <a:p>
          <a:endParaRPr lang="en-GB"/>
        </a:p>
      </dgm:t>
    </dgm:pt>
    <dgm:pt modelId="{1E6195F0-9D7B-488F-91CA-83F0F36B80B3}" type="sibTrans" cxnId="{79382796-137B-4B33-97DA-095EF8B2B91E}">
      <dgm:prSet/>
      <dgm:spPr/>
      <dgm:t>
        <a:bodyPr/>
        <a:lstStyle/>
        <a:p>
          <a:endParaRPr lang="en-GB"/>
        </a:p>
      </dgm:t>
    </dgm:pt>
    <dgm:pt modelId="{27648138-B716-41A0-A76C-626220E2874C}" type="pres">
      <dgm:prSet presAssocID="{FFCB392C-E190-4000-BC2B-8923E66F8E05}" presName="Name0" presStyleCnt="0">
        <dgm:presLayoutVars>
          <dgm:dir/>
          <dgm:animLvl val="lvl"/>
          <dgm:resizeHandles val="exact"/>
        </dgm:presLayoutVars>
      </dgm:prSet>
      <dgm:spPr/>
    </dgm:pt>
    <dgm:pt modelId="{1ADF6C26-1B25-4A78-B388-B1C46C817D76}" type="pres">
      <dgm:prSet presAssocID="{E6EFA897-0431-492F-B65F-D429EF9274CB}" presName="linNode" presStyleCnt="0"/>
      <dgm:spPr/>
    </dgm:pt>
    <dgm:pt modelId="{9C1950A7-783E-48B6-8E92-F40F44EBAD14}" type="pres">
      <dgm:prSet presAssocID="{E6EFA897-0431-492F-B65F-D429EF9274CB}" presName="parentText" presStyleLbl="node1" presStyleIdx="0" presStyleCnt="5" custScaleX="1418391" custScaleY="733178">
        <dgm:presLayoutVars>
          <dgm:chMax val="1"/>
          <dgm:bulletEnabled val="1"/>
        </dgm:presLayoutVars>
      </dgm:prSet>
      <dgm:spPr/>
    </dgm:pt>
    <dgm:pt modelId="{D4830C8F-A2AE-4990-90BF-6D9758F800E7}" type="pres">
      <dgm:prSet presAssocID="{E6EFA897-0431-492F-B65F-D429EF9274CB}" presName="descendantText" presStyleLbl="alignAccFollowNode1" presStyleIdx="0" presStyleCnt="5" custAng="0" custScaleX="2000000" custScaleY="916134">
        <dgm:presLayoutVars>
          <dgm:bulletEnabled val="1"/>
        </dgm:presLayoutVars>
      </dgm:prSet>
      <dgm:spPr>
        <a:prstGeom prst="roundRect">
          <a:avLst/>
        </a:prstGeom>
      </dgm:spPr>
    </dgm:pt>
    <dgm:pt modelId="{9203D1ED-D34A-4B16-8646-7FE2F50473D2}" type="pres">
      <dgm:prSet presAssocID="{7AEB0645-723A-40EF-ABFC-A5BB952678BD}" presName="sp" presStyleCnt="0"/>
      <dgm:spPr/>
    </dgm:pt>
    <dgm:pt modelId="{53851687-2ABD-4E48-9F25-DB16955D1D90}" type="pres">
      <dgm:prSet presAssocID="{03FEEBAF-B492-4AB8-89C6-4B4628CA1E26}" presName="linNode" presStyleCnt="0"/>
      <dgm:spPr/>
    </dgm:pt>
    <dgm:pt modelId="{6282B259-D810-400D-AF6A-A79E8F7BBC6B}" type="pres">
      <dgm:prSet presAssocID="{03FEEBAF-B492-4AB8-89C6-4B4628CA1E26}" presName="parentText" presStyleLbl="node1" presStyleIdx="1" presStyleCnt="5" custScaleX="1418391" custScaleY="498700">
        <dgm:presLayoutVars>
          <dgm:chMax val="1"/>
          <dgm:bulletEnabled val="1"/>
        </dgm:presLayoutVars>
      </dgm:prSet>
      <dgm:spPr>
        <a:prstGeom prst="roundRect">
          <a:avLst/>
        </a:prstGeom>
      </dgm:spPr>
    </dgm:pt>
    <dgm:pt modelId="{C3CA0957-EF4F-46A9-B14B-C34909532529}" type="pres">
      <dgm:prSet presAssocID="{03FEEBAF-B492-4AB8-89C6-4B4628CA1E26}" presName="descendantText" presStyleLbl="alignAccFollowNode1" presStyleIdx="1" presStyleCnt="5" custScaleX="2000000" custScaleY="621583">
        <dgm:presLayoutVars>
          <dgm:bulletEnabled val="1"/>
        </dgm:presLayoutVars>
      </dgm:prSet>
      <dgm:spPr>
        <a:prstGeom prst="roundRect">
          <a:avLst/>
        </a:prstGeom>
      </dgm:spPr>
    </dgm:pt>
    <dgm:pt modelId="{C9293F8E-C675-4E36-A65B-AAAC8006C733}" type="pres">
      <dgm:prSet presAssocID="{46A33D61-164A-49AF-AE7D-CEFC1DBAB295}" presName="sp" presStyleCnt="0"/>
      <dgm:spPr/>
    </dgm:pt>
    <dgm:pt modelId="{61D33F34-F888-4DD1-BA17-F953371D0B7A}" type="pres">
      <dgm:prSet presAssocID="{96260E3C-6263-485C-AAD5-4834D4569D00}" presName="linNode" presStyleCnt="0"/>
      <dgm:spPr/>
    </dgm:pt>
    <dgm:pt modelId="{E2E438A6-5F37-4E34-923A-0CA8673CDF3A}" type="pres">
      <dgm:prSet presAssocID="{96260E3C-6263-485C-AAD5-4834D4569D00}" presName="parentText" presStyleLbl="node1" presStyleIdx="2" presStyleCnt="5" custScaleX="86660" custScaleY="228740">
        <dgm:presLayoutVars>
          <dgm:chMax val="1"/>
          <dgm:bulletEnabled val="1"/>
        </dgm:presLayoutVars>
      </dgm:prSet>
      <dgm:spPr/>
    </dgm:pt>
    <dgm:pt modelId="{42205B36-F6FD-4A61-8A6C-F7C8A06C6790}" type="pres">
      <dgm:prSet presAssocID="{96260E3C-6263-485C-AAD5-4834D4569D00}" presName="descendantText" presStyleLbl="alignAccFollowNode1" presStyleIdx="2" presStyleCnt="5" custScaleX="122177" custScaleY="301006">
        <dgm:presLayoutVars>
          <dgm:bulletEnabled val="1"/>
        </dgm:presLayoutVars>
      </dgm:prSet>
      <dgm:spPr>
        <a:prstGeom prst="roundRect">
          <a:avLst/>
        </a:prstGeom>
      </dgm:spPr>
    </dgm:pt>
    <dgm:pt modelId="{CDDFDC90-580B-485A-9FC2-5DB7FE6F7287}" type="pres">
      <dgm:prSet presAssocID="{9118D841-7835-4425-89DF-5E2FF676BD2C}" presName="sp" presStyleCnt="0"/>
      <dgm:spPr/>
    </dgm:pt>
    <dgm:pt modelId="{73F3CA5A-E1C8-4A93-9B4D-EA5329F4F21A}" type="pres">
      <dgm:prSet presAssocID="{52BD68D0-EAE3-4487-ADC7-C30AD0C149E7}" presName="linNode" presStyleCnt="0"/>
      <dgm:spPr/>
    </dgm:pt>
    <dgm:pt modelId="{C8A9DE35-1CD6-4E88-9A7A-CD82966A87BF}" type="pres">
      <dgm:prSet presAssocID="{52BD68D0-EAE3-4487-ADC7-C30AD0C149E7}" presName="parentText" presStyleLbl="node1" presStyleIdx="3" presStyleCnt="5" custScaleX="114730" custScaleY="160103">
        <dgm:presLayoutVars>
          <dgm:chMax val="1"/>
          <dgm:bulletEnabled val="1"/>
        </dgm:presLayoutVars>
      </dgm:prSet>
      <dgm:spPr/>
    </dgm:pt>
    <dgm:pt modelId="{600B0FCE-F633-4F00-B20F-1253DB6B5E6E}" type="pres">
      <dgm:prSet presAssocID="{52BD68D0-EAE3-4487-ADC7-C30AD0C149E7}" presName="descendantText" presStyleLbl="alignAccFollowNode1" presStyleIdx="3" presStyleCnt="5" custScaleX="161690" custScaleY="180927">
        <dgm:presLayoutVars>
          <dgm:bulletEnabled val="1"/>
        </dgm:presLayoutVars>
      </dgm:prSet>
      <dgm:spPr>
        <a:prstGeom prst="roundRect">
          <a:avLst/>
        </a:prstGeom>
      </dgm:spPr>
    </dgm:pt>
    <dgm:pt modelId="{1A51CAE2-8F35-4B86-BC85-6FAB03C10C9B}" type="pres">
      <dgm:prSet presAssocID="{C8ED1CA2-595E-436E-B860-29E61D658492}" presName="sp" presStyleCnt="0"/>
      <dgm:spPr/>
    </dgm:pt>
    <dgm:pt modelId="{930F362C-C84D-4BD3-B965-79AFCF7BEE58}" type="pres">
      <dgm:prSet presAssocID="{52B98E0D-74B5-47F3-93A9-75219B6BCE70}" presName="linNode" presStyleCnt="0"/>
      <dgm:spPr/>
    </dgm:pt>
    <dgm:pt modelId="{36DCF81B-4ED1-4AD8-B27C-5FE0EF7F2B66}" type="pres">
      <dgm:prSet presAssocID="{52B98E0D-74B5-47F3-93A9-75219B6BCE70}" presName="parentText" presStyleLbl="node1" presStyleIdx="4" presStyleCnt="5" custScaleX="111007" custScaleY="139685">
        <dgm:presLayoutVars>
          <dgm:chMax val="1"/>
          <dgm:bulletEnabled val="1"/>
        </dgm:presLayoutVars>
      </dgm:prSet>
      <dgm:spPr/>
    </dgm:pt>
    <dgm:pt modelId="{BCBFAC89-216D-4DFF-897D-8C47A404ADDC}" type="pres">
      <dgm:prSet presAssocID="{52B98E0D-74B5-47F3-93A9-75219B6BCE70}" presName="descendantText" presStyleLbl="alignAccFollowNode1" presStyleIdx="4" presStyleCnt="5" custScaleX="156728" custScaleY="174213">
        <dgm:presLayoutVars>
          <dgm:bulletEnabled val="1"/>
        </dgm:presLayoutVars>
      </dgm:prSet>
      <dgm:spPr>
        <a:prstGeom prst="roundRect">
          <a:avLst/>
        </a:prstGeom>
      </dgm:spPr>
    </dgm:pt>
  </dgm:ptLst>
  <dgm:cxnLst>
    <dgm:cxn modelId="{6BAEE50B-B3F0-4D5B-8247-D972EF72EB54}" type="presOf" srcId="{6F413F65-F82F-4E82-8F00-1D2C199A15A6}" destId="{D4830C8F-A2AE-4990-90BF-6D9758F800E7}" srcOrd="0" destOrd="2" presId="urn:microsoft.com/office/officeart/2005/8/layout/vList5"/>
    <dgm:cxn modelId="{9AA0FE0C-3498-4DEF-BAAA-9ECEAC181F28}" type="presOf" srcId="{FFCB392C-E190-4000-BC2B-8923E66F8E05}" destId="{27648138-B716-41A0-A76C-626220E2874C}" srcOrd="0" destOrd="0" presId="urn:microsoft.com/office/officeart/2005/8/layout/vList5"/>
    <dgm:cxn modelId="{8DB13611-D17D-4779-84EF-763DF9E3547C}" srcId="{E6EFA897-0431-492F-B65F-D429EF9274CB}" destId="{0B0E29F8-58DA-4B85-A037-33270222EDB5}" srcOrd="0" destOrd="0" parTransId="{6932F5EC-2FFE-483B-A29C-A66067ED0F62}" sibTransId="{B3303F4A-0797-479A-ADE6-B072AA2FE5D1}"/>
    <dgm:cxn modelId="{3CFBAB1E-A6CF-43FF-AE1B-7265E3C7ECDC}" type="presOf" srcId="{7B1F854E-404E-4444-A0D2-49590DA82755}" destId="{C3CA0957-EF4F-46A9-B14B-C34909532529}" srcOrd="0" destOrd="1" presId="urn:microsoft.com/office/officeart/2005/8/layout/vList5"/>
    <dgm:cxn modelId="{EE48A523-995A-4922-8D61-86729BC3F342}" type="presOf" srcId="{18A9A212-212E-4168-B540-BFCFB387051B}" destId="{D4830C8F-A2AE-4990-90BF-6D9758F800E7}" srcOrd="0" destOrd="3" presId="urn:microsoft.com/office/officeart/2005/8/layout/vList5"/>
    <dgm:cxn modelId="{F95F9C27-E753-418D-AD5D-C296FAADD4BD}" type="presOf" srcId="{0A2167F3-4E3C-49E8-8F53-F429B724897B}" destId="{42205B36-F6FD-4A61-8A6C-F7C8A06C6790}" srcOrd="0" destOrd="0" presId="urn:microsoft.com/office/officeart/2005/8/layout/vList5"/>
    <dgm:cxn modelId="{A5523B2B-2528-40F6-A9F1-D7FD3059D53C}" type="presOf" srcId="{5B68FBBB-097B-4FC1-AC52-7BCB9A82E434}" destId="{C3CA0957-EF4F-46A9-B14B-C34909532529}" srcOrd="0" destOrd="0" presId="urn:microsoft.com/office/officeart/2005/8/layout/vList5"/>
    <dgm:cxn modelId="{92F75A5B-779F-4B6B-9DC9-466C31D92B4C}" srcId="{96260E3C-6263-485C-AAD5-4834D4569D00}" destId="{0A2167F3-4E3C-49E8-8F53-F429B724897B}" srcOrd="0" destOrd="0" parTransId="{C31FCFD9-9839-42B9-909B-53DFE97C6A9D}" sibTransId="{981FCCCA-D06E-451D-858E-6E6DE23A18B8}"/>
    <dgm:cxn modelId="{9DBDA043-1BBB-4115-99AF-8DA829A392EF}" srcId="{E6EFA897-0431-492F-B65F-D429EF9274CB}" destId="{BC671E88-CC4B-4481-9F86-625EF50A7D4A}" srcOrd="4" destOrd="0" parTransId="{E171C33D-040D-4858-A537-EF0D646EFAEB}" sibTransId="{3292A2FB-60A1-493D-827A-D15E6FB5869D}"/>
    <dgm:cxn modelId="{CED7E969-D16B-49AC-9025-0639DE7A44EA}" srcId="{03FEEBAF-B492-4AB8-89C6-4B4628CA1E26}" destId="{5B68FBBB-097B-4FC1-AC52-7BCB9A82E434}" srcOrd="0" destOrd="0" parTransId="{659E152D-55D2-44AD-AE67-588F8779BF6F}" sibTransId="{2DEC8DEC-3F82-4CCC-A411-7762AAC03FEB}"/>
    <dgm:cxn modelId="{2B5F364B-9F67-4EFD-A893-5ED40B6C87FC}" srcId="{52BD68D0-EAE3-4487-ADC7-C30AD0C149E7}" destId="{9769D350-8FE4-4236-B37A-51F281FB0440}" srcOrd="0" destOrd="0" parTransId="{B162A309-DDB3-4E45-92DD-CDBE1CC908D1}" sibTransId="{E3E4F325-38EC-4BAF-80AB-9E71F04CCABD}"/>
    <dgm:cxn modelId="{4C02BB6C-62E0-4B38-BABC-C6745075E7FB}" srcId="{52B98E0D-74B5-47F3-93A9-75219B6BCE70}" destId="{0304314D-5BF1-42A8-BE34-2A2F0E95F676}" srcOrd="0" destOrd="0" parTransId="{804FF43D-A32E-451E-A676-9BB53C66ECED}" sibTransId="{45B9690B-B485-4BD2-A80E-FBB267D431B6}"/>
    <dgm:cxn modelId="{C9682A4E-F57B-4634-8E51-44FAB228FA44}" type="presOf" srcId="{52B98E0D-74B5-47F3-93A9-75219B6BCE70}" destId="{36DCF81B-4ED1-4AD8-B27C-5FE0EF7F2B66}" srcOrd="0" destOrd="0" presId="urn:microsoft.com/office/officeart/2005/8/layout/vList5"/>
    <dgm:cxn modelId="{32658D4E-E5E5-4EC5-80EA-A92A992C4CC2}" srcId="{03FEEBAF-B492-4AB8-89C6-4B4628CA1E26}" destId="{5EF3E9D2-8099-4A41-B5FD-DAD4A236558F}" srcOrd="2" destOrd="0" parTransId="{08E8C30C-5E79-4528-A05E-5BA034221B62}" sibTransId="{C231C135-2F08-4AE3-8131-89D8FCC1F7C5}"/>
    <dgm:cxn modelId="{65A83552-B92E-4476-B7D5-08F21C3A6458}" type="presOf" srcId="{BC671E88-CC4B-4481-9F86-625EF50A7D4A}" destId="{D4830C8F-A2AE-4990-90BF-6D9758F800E7}" srcOrd="0" destOrd="4" presId="urn:microsoft.com/office/officeart/2005/8/layout/vList5"/>
    <dgm:cxn modelId="{84E6D674-155B-4E0C-98FA-DD06EBDC25BA}" srcId="{FFCB392C-E190-4000-BC2B-8923E66F8E05}" destId="{03FEEBAF-B492-4AB8-89C6-4B4628CA1E26}" srcOrd="1" destOrd="0" parTransId="{36E648EC-D32B-449E-9167-67FC1B8DDF49}" sibTransId="{46A33D61-164A-49AF-AE7D-CEFC1DBAB295}"/>
    <dgm:cxn modelId="{7CCB1776-7750-4BCB-ADF6-C7F97344F048}" type="presOf" srcId="{BB82657C-5A2C-457B-AA72-220C99B47CA1}" destId="{D4830C8F-A2AE-4990-90BF-6D9758F800E7}" srcOrd="0" destOrd="1" presId="urn:microsoft.com/office/officeart/2005/8/layout/vList5"/>
    <dgm:cxn modelId="{0932C176-C4AC-42E4-9070-26B5468A3536}" srcId="{96260E3C-6263-485C-AAD5-4834D4569D00}" destId="{EA912D18-C99B-440F-96BC-EDB280184630}" srcOrd="1" destOrd="0" parTransId="{C4FF9D43-70DC-4835-B2D7-CE57DEBDC065}" sibTransId="{1F7F027E-951D-489B-97D1-2568C15C093E}"/>
    <dgm:cxn modelId="{F4407357-DA74-4905-8D57-999A75C49954}" srcId="{FFCB392C-E190-4000-BC2B-8923E66F8E05}" destId="{96260E3C-6263-485C-AAD5-4834D4569D00}" srcOrd="2" destOrd="0" parTransId="{2B5F8176-600B-448A-BAC4-07CC9809E5E1}" sibTransId="{9118D841-7835-4425-89DF-5E2FF676BD2C}"/>
    <dgm:cxn modelId="{2E6C1579-6082-4E33-A723-E845F8FBA423}" srcId="{FFCB392C-E190-4000-BC2B-8923E66F8E05}" destId="{E6EFA897-0431-492F-B65F-D429EF9274CB}" srcOrd="0" destOrd="0" parTransId="{3F2A00E6-14CF-4B7B-83A8-308789775694}" sibTransId="{7AEB0645-723A-40EF-ABFC-A5BB952678BD}"/>
    <dgm:cxn modelId="{93272379-E7C3-41DC-8767-AC80EAE06B41}" srcId="{E6EFA897-0431-492F-B65F-D429EF9274CB}" destId="{6F413F65-F82F-4E82-8F00-1D2C199A15A6}" srcOrd="2" destOrd="0" parTransId="{0DC9E19F-62A7-4D1C-9F1B-A9D1B9605178}" sibTransId="{9A44604D-ABC0-4010-B2ED-1B4E07E9C855}"/>
    <dgm:cxn modelId="{30AFAB5A-F40E-4B2D-95A2-8F42001AD03D}" type="presOf" srcId="{D964FA65-DEE3-4E01-85F6-E8EC215D839B}" destId="{C3CA0957-EF4F-46A9-B14B-C34909532529}" srcOrd="0" destOrd="3" presId="urn:microsoft.com/office/officeart/2005/8/layout/vList5"/>
    <dgm:cxn modelId="{1261B27E-0369-4095-9661-BBC2129CF9E6}" type="presOf" srcId="{9769D350-8FE4-4236-B37A-51F281FB0440}" destId="{600B0FCE-F633-4F00-B20F-1253DB6B5E6E}" srcOrd="0" destOrd="0" presId="urn:microsoft.com/office/officeart/2005/8/layout/vList5"/>
    <dgm:cxn modelId="{F1270984-F461-4C12-ACC0-75C88A60C205}" srcId="{FFCB392C-E190-4000-BC2B-8923E66F8E05}" destId="{52BD68D0-EAE3-4487-ADC7-C30AD0C149E7}" srcOrd="3" destOrd="0" parTransId="{BB9FE834-9348-4C65-ABF7-D62613A39635}" sibTransId="{C8ED1CA2-595E-436E-B860-29E61D658492}"/>
    <dgm:cxn modelId="{F4AE0B8F-C03C-4B18-BFD0-82617CBBED97}" type="presOf" srcId="{0B0E29F8-58DA-4B85-A037-33270222EDB5}" destId="{D4830C8F-A2AE-4990-90BF-6D9758F800E7}" srcOrd="0" destOrd="0" presId="urn:microsoft.com/office/officeart/2005/8/layout/vList5"/>
    <dgm:cxn modelId="{79382796-137B-4B33-97DA-095EF8B2B91E}" srcId="{E6EFA897-0431-492F-B65F-D429EF9274CB}" destId="{18A9A212-212E-4168-B540-BFCFB387051B}" srcOrd="3" destOrd="0" parTransId="{081BE9CF-0D63-4FEC-9670-2EF68034144A}" sibTransId="{1E6195F0-9D7B-488F-91CA-83F0F36B80B3}"/>
    <dgm:cxn modelId="{DEF8CB97-D23C-4FDD-A3FB-FAD6BE46EAD8}" srcId="{03FEEBAF-B492-4AB8-89C6-4B4628CA1E26}" destId="{D964FA65-DEE3-4E01-85F6-E8EC215D839B}" srcOrd="3" destOrd="0" parTransId="{E4FB080B-534A-43BD-A798-4EC761D3F61B}" sibTransId="{3E2F86FB-1C1A-47E0-8E6F-620349505786}"/>
    <dgm:cxn modelId="{85FBE99B-AA3F-4B8B-8A9C-671DBD8E829E}" type="presOf" srcId="{5EF3E9D2-8099-4A41-B5FD-DAD4A236558F}" destId="{C3CA0957-EF4F-46A9-B14B-C34909532529}" srcOrd="0" destOrd="2" presId="urn:microsoft.com/office/officeart/2005/8/layout/vList5"/>
    <dgm:cxn modelId="{952E6D9D-133C-4851-9F0C-3C688B30F50E}" type="presOf" srcId="{EA912D18-C99B-440F-96BC-EDB280184630}" destId="{42205B36-F6FD-4A61-8A6C-F7C8A06C6790}" srcOrd="0" destOrd="1" presId="urn:microsoft.com/office/officeart/2005/8/layout/vList5"/>
    <dgm:cxn modelId="{B6EACBB4-A375-443D-902C-3E742EA6A7AB}" type="presOf" srcId="{0304314D-5BF1-42A8-BE34-2A2F0E95F676}" destId="{BCBFAC89-216D-4DFF-897D-8C47A404ADDC}" srcOrd="0" destOrd="0" presId="urn:microsoft.com/office/officeart/2005/8/layout/vList5"/>
    <dgm:cxn modelId="{63E0AEB6-5CA9-4601-B05E-15DA2DE71DE1}" type="presOf" srcId="{03FEEBAF-B492-4AB8-89C6-4B4628CA1E26}" destId="{6282B259-D810-400D-AF6A-A79E8F7BBC6B}" srcOrd="0" destOrd="0" presId="urn:microsoft.com/office/officeart/2005/8/layout/vList5"/>
    <dgm:cxn modelId="{81C8F8BE-6BE8-4927-ACF7-24E645406DE0}" srcId="{03FEEBAF-B492-4AB8-89C6-4B4628CA1E26}" destId="{7B1F854E-404E-4444-A0D2-49590DA82755}" srcOrd="1" destOrd="0" parTransId="{5BEA1439-A86E-46C6-862F-B5501419BF3B}" sibTransId="{4C7D8C34-4DFA-477F-A9B3-A6A8B4FB4F82}"/>
    <dgm:cxn modelId="{186ADDC8-E13B-497A-B8CC-268BA4BB6882}" type="presOf" srcId="{E6EFA897-0431-492F-B65F-D429EF9274CB}" destId="{9C1950A7-783E-48B6-8E92-F40F44EBAD14}" srcOrd="0" destOrd="0" presId="urn:microsoft.com/office/officeart/2005/8/layout/vList5"/>
    <dgm:cxn modelId="{3A754EC9-4700-4E62-8D18-497E27C681AD}" type="presOf" srcId="{96260E3C-6263-485C-AAD5-4834D4569D00}" destId="{E2E438A6-5F37-4E34-923A-0CA8673CDF3A}" srcOrd="0" destOrd="0" presId="urn:microsoft.com/office/officeart/2005/8/layout/vList5"/>
    <dgm:cxn modelId="{ABAFECDC-449D-4D07-9045-9B6BBF5D33E9}" type="presOf" srcId="{52BD68D0-EAE3-4487-ADC7-C30AD0C149E7}" destId="{C8A9DE35-1CD6-4E88-9A7A-CD82966A87BF}" srcOrd="0" destOrd="0" presId="urn:microsoft.com/office/officeart/2005/8/layout/vList5"/>
    <dgm:cxn modelId="{954AB5ED-19D8-4B9F-9274-A07D3F0B86DC}" srcId="{FFCB392C-E190-4000-BC2B-8923E66F8E05}" destId="{52B98E0D-74B5-47F3-93A9-75219B6BCE70}" srcOrd="4" destOrd="0" parTransId="{98C1EE2D-85CD-4DF7-BA31-B2037EADB0D7}" sibTransId="{CD1C99D8-452D-4FB0-BFC1-18CE9E5E8FC6}"/>
    <dgm:cxn modelId="{0E0296F2-11A0-44DC-82CB-A94F7A2C7BC3}" srcId="{E6EFA897-0431-492F-B65F-D429EF9274CB}" destId="{BB82657C-5A2C-457B-AA72-220C99B47CA1}" srcOrd="1" destOrd="0" parTransId="{C1DEBE02-4667-4071-821D-5E739A34FF1E}" sibTransId="{8F86CB98-A8E6-4688-A224-D47778C595AC}"/>
    <dgm:cxn modelId="{36623C55-CE13-4AD6-BE4E-AD62A1CBA121}" type="presParOf" srcId="{27648138-B716-41A0-A76C-626220E2874C}" destId="{1ADF6C26-1B25-4A78-B388-B1C46C817D76}" srcOrd="0" destOrd="0" presId="urn:microsoft.com/office/officeart/2005/8/layout/vList5"/>
    <dgm:cxn modelId="{4DECFFBA-D269-4BF6-BE7C-8704F340A47C}" type="presParOf" srcId="{1ADF6C26-1B25-4A78-B388-B1C46C817D76}" destId="{9C1950A7-783E-48B6-8E92-F40F44EBAD14}" srcOrd="0" destOrd="0" presId="urn:microsoft.com/office/officeart/2005/8/layout/vList5"/>
    <dgm:cxn modelId="{49D490F8-05D0-4A47-83E7-1EE4A6BF73D4}" type="presParOf" srcId="{1ADF6C26-1B25-4A78-B388-B1C46C817D76}" destId="{D4830C8F-A2AE-4990-90BF-6D9758F800E7}" srcOrd="1" destOrd="0" presId="urn:microsoft.com/office/officeart/2005/8/layout/vList5"/>
    <dgm:cxn modelId="{5B9BC308-3876-4978-BF6D-848C851655F5}" type="presParOf" srcId="{27648138-B716-41A0-A76C-626220E2874C}" destId="{9203D1ED-D34A-4B16-8646-7FE2F50473D2}" srcOrd="1" destOrd="0" presId="urn:microsoft.com/office/officeart/2005/8/layout/vList5"/>
    <dgm:cxn modelId="{76438024-2C90-4EBC-ABBD-DF4056D36DDD}" type="presParOf" srcId="{27648138-B716-41A0-A76C-626220E2874C}" destId="{53851687-2ABD-4E48-9F25-DB16955D1D90}" srcOrd="2" destOrd="0" presId="urn:microsoft.com/office/officeart/2005/8/layout/vList5"/>
    <dgm:cxn modelId="{EDDEF264-1614-484B-B8FD-C8A0587F3E52}" type="presParOf" srcId="{53851687-2ABD-4E48-9F25-DB16955D1D90}" destId="{6282B259-D810-400D-AF6A-A79E8F7BBC6B}" srcOrd="0" destOrd="0" presId="urn:microsoft.com/office/officeart/2005/8/layout/vList5"/>
    <dgm:cxn modelId="{D30CBBBF-CA02-44E5-99C0-F6F65FB68257}" type="presParOf" srcId="{53851687-2ABD-4E48-9F25-DB16955D1D90}" destId="{C3CA0957-EF4F-46A9-B14B-C34909532529}" srcOrd="1" destOrd="0" presId="urn:microsoft.com/office/officeart/2005/8/layout/vList5"/>
    <dgm:cxn modelId="{BDFEC1CA-78BC-4DE1-9EB9-E38E7B8E9596}" type="presParOf" srcId="{27648138-B716-41A0-A76C-626220E2874C}" destId="{C9293F8E-C675-4E36-A65B-AAAC8006C733}" srcOrd="3" destOrd="0" presId="urn:microsoft.com/office/officeart/2005/8/layout/vList5"/>
    <dgm:cxn modelId="{C4B2619F-7DA6-4658-AA77-2FDF39975197}" type="presParOf" srcId="{27648138-B716-41A0-A76C-626220E2874C}" destId="{61D33F34-F888-4DD1-BA17-F953371D0B7A}" srcOrd="4" destOrd="0" presId="urn:microsoft.com/office/officeart/2005/8/layout/vList5"/>
    <dgm:cxn modelId="{2FD8CD44-C7F9-43AD-9B52-630B7CC91C5C}" type="presParOf" srcId="{61D33F34-F888-4DD1-BA17-F953371D0B7A}" destId="{E2E438A6-5F37-4E34-923A-0CA8673CDF3A}" srcOrd="0" destOrd="0" presId="urn:microsoft.com/office/officeart/2005/8/layout/vList5"/>
    <dgm:cxn modelId="{5F124C72-3FD6-4255-B876-8999C771D87C}" type="presParOf" srcId="{61D33F34-F888-4DD1-BA17-F953371D0B7A}" destId="{42205B36-F6FD-4A61-8A6C-F7C8A06C6790}" srcOrd="1" destOrd="0" presId="urn:microsoft.com/office/officeart/2005/8/layout/vList5"/>
    <dgm:cxn modelId="{5E0D6B70-5F2F-45A3-86AA-183C13C1A6AA}" type="presParOf" srcId="{27648138-B716-41A0-A76C-626220E2874C}" destId="{CDDFDC90-580B-485A-9FC2-5DB7FE6F7287}" srcOrd="5" destOrd="0" presId="urn:microsoft.com/office/officeart/2005/8/layout/vList5"/>
    <dgm:cxn modelId="{6F253042-D7C8-4B7D-9FEF-FB031CBF6CC5}" type="presParOf" srcId="{27648138-B716-41A0-A76C-626220E2874C}" destId="{73F3CA5A-E1C8-4A93-9B4D-EA5329F4F21A}" srcOrd="6" destOrd="0" presId="urn:microsoft.com/office/officeart/2005/8/layout/vList5"/>
    <dgm:cxn modelId="{4245BE60-5409-4B2F-AD96-F4F63CC1432C}" type="presParOf" srcId="{73F3CA5A-E1C8-4A93-9B4D-EA5329F4F21A}" destId="{C8A9DE35-1CD6-4E88-9A7A-CD82966A87BF}" srcOrd="0" destOrd="0" presId="urn:microsoft.com/office/officeart/2005/8/layout/vList5"/>
    <dgm:cxn modelId="{E8E8B4AE-4F7E-4AD5-8A15-D14916C48492}" type="presParOf" srcId="{73F3CA5A-E1C8-4A93-9B4D-EA5329F4F21A}" destId="{600B0FCE-F633-4F00-B20F-1253DB6B5E6E}" srcOrd="1" destOrd="0" presId="urn:microsoft.com/office/officeart/2005/8/layout/vList5"/>
    <dgm:cxn modelId="{BAD311A2-24F2-4CE9-8646-DFB9F5F6B5A3}" type="presParOf" srcId="{27648138-B716-41A0-A76C-626220E2874C}" destId="{1A51CAE2-8F35-4B86-BC85-6FAB03C10C9B}" srcOrd="7" destOrd="0" presId="urn:microsoft.com/office/officeart/2005/8/layout/vList5"/>
    <dgm:cxn modelId="{4A598431-260C-4E6E-83BF-52CFC9204234}" type="presParOf" srcId="{27648138-B716-41A0-A76C-626220E2874C}" destId="{930F362C-C84D-4BD3-B965-79AFCF7BEE58}" srcOrd="8" destOrd="0" presId="urn:microsoft.com/office/officeart/2005/8/layout/vList5"/>
    <dgm:cxn modelId="{6E3D6817-2E12-447E-B66E-93CED88B1220}" type="presParOf" srcId="{930F362C-C84D-4BD3-B965-79AFCF7BEE58}" destId="{36DCF81B-4ED1-4AD8-B27C-5FE0EF7F2B66}" srcOrd="0" destOrd="0" presId="urn:microsoft.com/office/officeart/2005/8/layout/vList5"/>
    <dgm:cxn modelId="{6C99B66F-E916-4FEB-B3E8-02761F76055D}" type="presParOf" srcId="{930F362C-C84D-4BD3-B965-79AFCF7BEE58}" destId="{BCBFAC89-216D-4DFF-897D-8C47A404ADDC}"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830C8F-A2AE-4990-90BF-6D9758F800E7}">
      <dsp:nvSpPr>
        <dsp:cNvPr id="0" name=""/>
        <dsp:cNvSpPr/>
      </dsp:nvSpPr>
      <dsp:spPr>
        <a:xfrm rot="5400000">
          <a:off x="6627988" y="-3404079"/>
          <a:ext cx="1263539" cy="8075818"/>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de-DE" altLang="de-DE" sz="1200" kern="1200">
              <a:solidFill>
                <a:srgbClr val="000000"/>
              </a:solidFill>
              <a:cs typeface="Arial" panose="020B0604020202020204" pitchFamily="34" charset="0"/>
            </a:rPr>
            <a:t>Zinsgünstige Darlehen für Energieeffizienzmaßnahmen im Bereich Produktionsanlagen und -prozesse ab 10% Energieeinsparung, günstigere Konditionen wenn es die Taxonomie erfüllt:</a:t>
          </a:r>
          <a:endParaRPr lang="en-GB" sz="1200" kern="1200">
            <a:ln>
              <a:noFill/>
            </a:ln>
            <a:latin typeface="+mn-lt"/>
          </a:endParaRPr>
        </a:p>
        <a:p>
          <a:pPr marL="228600" lvl="2" indent="-114300" algn="l" defTabSz="533400">
            <a:lnSpc>
              <a:spcPct val="90000"/>
            </a:lnSpc>
            <a:spcBef>
              <a:spcPct val="0"/>
            </a:spcBef>
            <a:spcAft>
              <a:spcPct val="15000"/>
            </a:spcAft>
            <a:buChar char="•"/>
          </a:pPr>
          <a:r>
            <a:rPr lang="de-DE" altLang="de-DE" sz="1200" kern="1200">
              <a:solidFill>
                <a:srgbClr val="000000"/>
              </a:solidFill>
              <a:cs typeface="Arial" panose="020B0604020202020204" pitchFamily="34" charset="0"/>
            </a:rPr>
            <a:t>Bei Modernisierungsinvestition gemessen am Durchschnittsverbrauch der letzten drei Jahre</a:t>
          </a:r>
          <a:endParaRPr lang="en-GB" altLang="de-DE" sz="1200" kern="1200">
            <a:solidFill>
              <a:srgbClr val="000000"/>
            </a:solidFill>
            <a:cs typeface="Arial" panose="020B0604020202020204" pitchFamily="34" charset="0"/>
          </a:endParaRPr>
        </a:p>
        <a:p>
          <a:pPr marL="228600" lvl="2" indent="-114300" algn="l" defTabSz="533400">
            <a:lnSpc>
              <a:spcPct val="90000"/>
            </a:lnSpc>
            <a:spcBef>
              <a:spcPct val="0"/>
            </a:spcBef>
            <a:spcAft>
              <a:spcPct val="15000"/>
            </a:spcAft>
            <a:buChar char="•"/>
          </a:pPr>
          <a:r>
            <a:rPr lang="de-DE" altLang="de-DE" sz="1200" kern="1200">
              <a:solidFill>
                <a:srgbClr val="000000"/>
              </a:solidFill>
              <a:cs typeface="Arial" panose="020B0604020202020204" pitchFamily="34" charset="0"/>
            </a:rPr>
            <a:t>Bei Neuinvestitionen gegenüber dem Branchendurchschnitt</a:t>
          </a:r>
          <a:endParaRPr lang="en-GB" altLang="de-DE" sz="1200" kern="1200">
            <a:solidFill>
              <a:srgbClr val="000000"/>
            </a:solidFill>
            <a:cs typeface="Arial" panose="020B0604020202020204" pitchFamily="34" charset="0"/>
          </a:endParaRPr>
        </a:p>
        <a:p>
          <a:pPr marL="228600" lvl="2" indent="-114300" algn="l" defTabSz="533400">
            <a:lnSpc>
              <a:spcPct val="90000"/>
            </a:lnSpc>
            <a:spcBef>
              <a:spcPct val="0"/>
            </a:spcBef>
            <a:spcAft>
              <a:spcPct val="15000"/>
            </a:spcAft>
            <a:buChar char="•"/>
          </a:pPr>
          <a:r>
            <a:rPr lang="de-DE" altLang="de-DE" sz="1200" kern="1200">
              <a:solidFill>
                <a:srgbClr val="000000"/>
              </a:solidFill>
              <a:cs typeface="Arial" panose="020B0604020202020204" pitchFamily="34" charset="0"/>
            </a:rPr>
            <a:t>Damit in Verbindung stehende Aufwendungen für die Planungs- und Umsetzungsbegleitung sowie Energiemanagementsysteme</a:t>
          </a:r>
          <a:endParaRPr lang="en-GB" altLang="de-DE" sz="1200" kern="1200">
            <a:solidFill>
              <a:srgbClr val="000000"/>
            </a:solidFill>
            <a:cs typeface="Arial" panose="020B0604020202020204" pitchFamily="34" charset="0"/>
          </a:endParaRPr>
        </a:p>
      </dsp:txBody>
      <dsp:txXfrm rot="-5400000">
        <a:off x="3283530" y="63741"/>
        <a:ext cx="7952456" cy="1140177"/>
      </dsp:txXfrm>
    </dsp:sp>
    <dsp:sp modelId="{9C1950A7-783E-48B6-8E92-F40F44EBAD14}">
      <dsp:nvSpPr>
        <dsp:cNvPr id="0" name=""/>
        <dsp:cNvSpPr/>
      </dsp:nvSpPr>
      <dsp:spPr>
        <a:xfrm>
          <a:off x="223" y="5239"/>
          <a:ext cx="3221625" cy="1257179"/>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WAS?</a:t>
          </a:r>
          <a:endParaRPr lang="en-GB" sz="2000" b="1" kern="1200"/>
        </a:p>
      </dsp:txBody>
      <dsp:txXfrm>
        <a:off x="61593" y="66609"/>
        <a:ext cx="3098885" cy="1134439"/>
      </dsp:txXfrm>
    </dsp:sp>
    <dsp:sp modelId="{C3CA0957-EF4F-46A9-B14B-C34909532529}">
      <dsp:nvSpPr>
        <dsp:cNvPr id="0" name=""/>
        <dsp:cNvSpPr/>
      </dsp:nvSpPr>
      <dsp:spPr>
        <a:xfrm rot="5400000">
          <a:off x="7005137" y="-2508402"/>
          <a:ext cx="509240" cy="8075818"/>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Font typeface="Arial" panose="020B0604020202020204" pitchFamily="34" charset="0"/>
            <a:buChar char="•"/>
          </a:pPr>
          <a:r>
            <a:rPr lang="de-DE" altLang="de-DE" sz="1200" kern="1200">
              <a:solidFill>
                <a:srgbClr val="000000"/>
              </a:solidFill>
              <a:latin typeface="+mn-lt"/>
              <a:cs typeface="Arial" charset="0"/>
            </a:rPr>
            <a:t>In- und ausländische Unternehmen der gewerblichen Wirtschaft, </a:t>
          </a:r>
          <a:endParaRPr lang="en-GB" sz="1200" kern="1200">
            <a:latin typeface="+mn-lt"/>
          </a:endParaRPr>
        </a:p>
        <a:p>
          <a:pPr marL="114300" lvl="1" indent="-114300" algn="l" defTabSz="533400">
            <a:lnSpc>
              <a:spcPct val="90000"/>
            </a:lnSpc>
            <a:spcBef>
              <a:spcPct val="0"/>
            </a:spcBef>
            <a:spcAft>
              <a:spcPct val="15000"/>
            </a:spcAft>
            <a:buFont typeface="Arial" panose="020B0604020202020204" pitchFamily="34" charset="0"/>
            <a:buChar char="•"/>
          </a:pPr>
          <a:r>
            <a:rPr lang="de-DE" altLang="de-DE" sz="1200" kern="1200">
              <a:solidFill>
                <a:srgbClr val="000000"/>
              </a:solidFill>
              <a:latin typeface="+mn-lt"/>
              <a:cs typeface="Arial" charset="0"/>
            </a:rPr>
            <a:t>freiberuflich Tätige und Unternehmen, die als Contracting-Geber Energie-Dienstleistungen für Dritte erbringen</a:t>
          </a:r>
          <a:endParaRPr lang="en-GB" altLang="de-DE" sz="1200" kern="1200">
            <a:solidFill>
              <a:srgbClr val="000000"/>
            </a:solidFill>
            <a:latin typeface="+mn-lt"/>
            <a:cs typeface="Arial" charset="0"/>
          </a:endParaRPr>
        </a:p>
      </dsp:txBody>
      <dsp:txXfrm rot="-5400000">
        <a:off x="3246707" y="1299746"/>
        <a:ext cx="8026100" cy="459522"/>
      </dsp:txXfrm>
    </dsp:sp>
    <dsp:sp modelId="{6282B259-D810-400D-AF6A-A79E8F7BBC6B}">
      <dsp:nvSpPr>
        <dsp:cNvPr id="0" name=""/>
        <dsp:cNvSpPr/>
      </dsp:nvSpPr>
      <dsp:spPr>
        <a:xfrm>
          <a:off x="223" y="1281579"/>
          <a:ext cx="3221625" cy="495854"/>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WER?</a:t>
          </a:r>
          <a:endParaRPr lang="en-GB" sz="2000" b="1" kern="1200"/>
        </a:p>
      </dsp:txBody>
      <dsp:txXfrm>
        <a:off x="24429" y="1305785"/>
        <a:ext cx="3173213" cy="447442"/>
      </dsp:txXfrm>
    </dsp:sp>
    <dsp:sp modelId="{42205B36-F6FD-4A61-8A6C-F7C8A06C6790}">
      <dsp:nvSpPr>
        <dsp:cNvPr id="0" name=""/>
        <dsp:cNvSpPr/>
      </dsp:nvSpPr>
      <dsp:spPr>
        <a:xfrm rot="5400000">
          <a:off x="6738715" y="-1719947"/>
          <a:ext cx="1056706" cy="8083429"/>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de-DE" altLang="de-DE" sz="1200" kern="1200">
              <a:latin typeface="+mn-lt"/>
            </a:rPr>
            <a:t>Finanzierung von bis zu 100 % der förderfähigen Investitionskosten,</a:t>
          </a:r>
          <a:endParaRPr lang="en-GB" sz="1200" kern="1200">
            <a:latin typeface="+mn-lt"/>
          </a:endParaRPr>
        </a:p>
        <a:p>
          <a:pPr marL="114300" lvl="1" indent="-114300" algn="l" defTabSz="533400">
            <a:lnSpc>
              <a:spcPct val="90000"/>
            </a:lnSpc>
            <a:spcBef>
              <a:spcPct val="0"/>
            </a:spcBef>
            <a:spcAft>
              <a:spcPct val="15000"/>
            </a:spcAft>
            <a:buChar char="•"/>
          </a:pPr>
          <a:r>
            <a:rPr lang="de-DE" altLang="de-DE" sz="1200" kern="1200">
              <a:latin typeface="+mn-lt"/>
            </a:rPr>
            <a:t>Der Kreditbetrag beträgt i. d. R. bis zu 25 Mio. € pro Vorhaben</a:t>
          </a:r>
          <a:endParaRPr lang="en-GB" altLang="de-DE" sz="1200" kern="1200">
            <a:latin typeface="+mn-lt"/>
          </a:endParaRPr>
        </a:p>
        <a:p>
          <a:pPr marL="114300" lvl="1" indent="-114300" algn="l" defTabSz="533400">
            <a:lnSpc>
              <a:spcPct val="90000"/>
            </a:lnSpc>
            <a:spcBef>
              <a:spcPct val="0"/>
            </a:spcBef>
            <a:spcAft>
              <a:spcPct val="15000"/>
            </a:spcAft>
            <a:buChar char="•"/>
          </a:pPr>
          <a:r>
            <a:rPr lang="en-GB" altLang="de-DE" sz="1200" kern="1200">
              <a:latin typeface="+mn-lt"/>
            </a:rPr>
            <a:t>Für 293 auch Klimazuschuss</a:t>
          </a:r>
        </a:p>
        <a:p>
          <a:pPr marL="114300" lvl="1" indent="-114300" algn="l" defTabSz="533400">
            <a:lnSpc>
              <a:spcPct val="90000"/>
            </a:lnSpc>
            <a:spcBef>
              <a:spcPct val="0"/>
            </a:spcBef>
            <a:spcAft>
              <a:spcPct val="15000"/>
            </a:spcAft>
            <a:buChar char="•"/>
          </a:pPr>
          <a:r>
            <a:rPr lang="de-DE" altLang="de-DE" sz="1200" kern="1200">
              <a:latin typeface="+mn-lt"/>
            </a:rPr>
            <a:t>Beihilferechtliche Vorgaben: Beantragung nach De-Minimis oder AGVO</a:t>
          </a:r>
          <a:endParaRPr lang="en-GB" altLang="de-DE" sz="1200" kern="1200">
            <a:latin typeface="+mn-lt"/>
          </a:endParaRPr>
        </a:p>
      </dsp:txBody>
      <dsp:txXfrm rot="-5400000">
        <a:off x="3276938" y="1844998"/>
        <a:ext cx="7980261" cy="953538"/>
      </dsp:txXfrm>
    </dsp:sp>
    <dsp:sp modelId="{E2E438A6-5F37-4E34-923A-0CA8673CDF3A}">
      <dsp:nvSpPr>
        <dsp:cNvPr id="0" name=""/>
        <dsp:cNvSpPr/>
      </dsp:nvSpPr>
      <dsp:spPr>
        <a:xfrm>
          <a:off x="223" y="1793825"/>
          <a:ext cx="3225131" cy="1055883"/>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WIE VIEL?</a:t>
          </a:r>
          <a:endParaRPr lang="en-GB" sz="2000" b="1" kern="1200"/>
        </a:p>
      </dsp:txBody>
      <dsp:txXfrm>
        <a:off x="51767" y="1845369"/>
        <a:ext cx="3122043" cy="952795"/>
      </dsp:txXfrm>
    </dsp:sp>
    <dsp:sp modelId="{600B0FCE-F633-4F00-B20F-1253DB6B5E6E}">
      <dsp:nvSpPr>
        <dsp:cNvPr id="0" name=""/>
        <dsp:cNvSpPr/>
      </dsp:nvSpPr>
      <dsp:spPr>
        <a:xfrm rot="5400000">
          <a:off x="6855045" y="-770269"/>
          <a:ext cx="821045" cy="8080400"/>
        </a:xfrm>
        <a:prstGeom prst="roundRect">
          <a:avLst/>
        </a:prstGeom>
        <a:solidFill>
          <a:srgbClr val="FEEAE8">
            <a:alpha val="90000"/>
          </a:srgbClr>
        </a:solidFill>
        <a:ln w="63500" cap="rnd" cmpd="sng" algn="ctr">
          <a:solidFill>
            <a:schemeClr val="bg1">
              <a:alpha val="90000"/>
            </a:schemeClr>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Font typeface="Arial" panose="020B0604020202020204" pitchFamily="34" charset="0"/>
            <a:buChar char="•"/>
          </a:pPr>
          <a:r>
            <a:rPr lang="en-GB" altLang="de-DE" sz="1200" kern="1200">
              <a:solidFill>
                <a:schemeClr val="tx1"/>
              </a:solidFill>
              <a:latin typeface="+mn-lt"/>
              <a:hlinkClick xmlns:r="http://schemas.openxmlformats.org/officeDocument/2006/relationships" r:id="rId1">
                <a:extLst>
                  <a:ext uri="{A12FA001-AC4F-418D-AE19-62706E023703}">
                    <ahyp:hlinkClr xmlns:ahyp="http://schemas.microsoft.com/office/drawing/2018/hyperlinkcolor" val="tx"/>
                  </a:ext>
                </a:extLst>
              </a:hlinkClick>
            </a:rPr>
            <a:t>https://www.kfw.de/inlandsfoerderung/Unternehmen/Energie-Umwelt/F%C3%B6rderprodukte/EE-Produktion-292/</a:t>
          </a:r>
          <a:endParaRPr lang="en-GB" sz="1200" kern="1200">
            <a:solidFill>
              <a:schemeClr val="tx1"/>
            </a:solidFill>
            <a:latin typeface="+mn-lt"/>
          </a:endParaRPr>
        </a:p>
        <a:p>
          <a:pPr marL="114300" lvl="1" indent="-114300" algn="l" defTabSz="533400">
            <a:lnSpc>
              <a:spcPct val="90000"/>
            </a:lnSpc>
            <a:spcBef>
              <a:spcPct val="0"/>
            </a:spcBef>
            <a:spcAft>
              <a:spcPct val="15000"/>
            </a:spcAft>
            <a:buFont typeface="Arial" panose="020B0604020202020204" pitchFamily="34" charset="0"/>
            <a:buChar char="•"/>
          </a:pPr>
          <a:r>
            <a:rPr lang="de-DE" sz="1200" kern="1200">
              <a:solidFill>
                <a:schemeClr val="tx1"/>
              </a:solidFill>
              <a:latin typeface="+mn-lt"/>
              <a:hlinkClick xmlns:r="http://schemas.openxmlformats.org/officeDocument/2006/relationships" r:id="rId2">
                <a:extLst>
                  <a:ext uri="{A12FA001-AC4F-418D-AE19-62706E023703}">
                    <ahyp:hlinkClr xmlns:ahyp="http://schemas.microsoft.com/office/drawing/2018/hyperlinkcolor" val="tx"/>
                  </a:ext>
                </a:extLst>
              </a:hlinkClick>
            </a:rPr>
            <a:t>https://www.kfw.de/inlandsfoerderung/Unternehmen/Energie-Umwelt/F%C3%B6rderprodukte/Klimaschutzoffensive-f%C3%BCr-den-Mittelstand-(293)/</a:t>
          </a:r>
          <a:endParaRPr lang="en-GB" sz="1200" kern="1200">
            <a:solidFill>
              <a:schemeClr val="tx1"/>
            </a:solidFill>
            <a:latin typeface="+mn-lt"/>
          </a:endParaRPr>
        </a:p>
      </dsp:txBody>
      <dsp:txXfrm rot="-5400000">
        <a:off x="3265448" y="2899488"/>
        <a:ext cx="8000240" cy="740885"/>
      </dsp:txXfrm>
    </dsp:sp>
    <dsp:sp modelId="{C8A9DE35-1CD6-4E88-9A7A-CD82966A87BF}">
      <dsp:nvSpPr>
        <dsp:cNvPr id="0" name=""/>
        <dsp:cNvSpPr/>
      </dsp:nvSpPr>
      <dsp:spPr>
        <a:xfrm>
          <a:off x="223" y="2904605"/>
          <a:ext cx="3225145" cy="730650"/>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WO?</a:t>
          </a:r>
          <a:endParaRPr lang="en-GB" sz="2000" b="1" kern="1200"/>
        </a:p>
      </dsp:txBody>
      <dsp:txXfrm>
        <a:off x="35890" y="2940272"/>
        <a:ext cx="3153811" cy="659316"/>
      </dsp:txXfrm>
    </dsp:sp>
    <dsp:sp modelId="{BCBFAC89-216D-4DFF-897D-8C47A404ADDC}">
      <dsp:nvSpPr>
        <dsp:cNvPr id="0" name=""/>
        <dsp:cNvSpPr/>
      </dsp:nvSpPr>
      <dsp:spPr>
        <a:xfrm rot="5400000">
          <a:off x="7101599" y="-165498"/>
          <a:ext cx="328485" cy="8087229"/>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None/>
          </a:pPr>
          <a:r>
            <a:rPr lang="en-GB" sz="1200" kern="1200">
              <a:latin typeface="+mn-lt"/>
            </a:rPr>
            <a:t>offen</a:t>
          </a:r>
        </a:p>
      </dsp:txBody>
      <dsp:txXfrm rot="-5400000">
        <a:off x="3238262" y="3729909"/>
        <a:ext cx="8055159" cy="296415"/>
      </dsp:txXfrm>
    </dsp:sp>
    <dsp:sp modelId="{36DCF81B-4ED1-4AD8-B27C-5FE0EF7F2B66}">
      <dsp:nvSpPr>
        <dsp:cNvPr id="0" name=""/>
        <dsp:cNvSpPr/>
      </dsp:nvSpPr>
      <dsp:spPr>
        <a:xfrm>
          <a:off x="223" y="3689740"/>
          <a:ext cx="3222004" cy="376750"/>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BIS WANN?</a:t>
          </a:r>
          <a:endParaRPr lang="en-GB" sz="2000" b="1" kern="1200"/>
        </a:p>
      </dsp:txBody>
      <dsp:txXfrm>
        <a:off x="18614" y="3708131"/>
        <a:ext cx="3185222" cy="33996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830C8F-A2AE-4990-90BF-6D9758F800E7}">
      <dsp:nvSpPr>
        <dsp:cNvPr id="0" name=""/>
        <dsp:cNvSpPr/>
      </dsp:nvSpPr>
      <dsp:spPr>
        <a:xfrm rot="5400000">
          <a:off x="6597362" y="-3374249"/>
          <a:ext cx="1324790" cy="8075818"/>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rtl="0">
            <a:lnSpc>
              <a:spcPct val="90000"/>
            </a:lnSpc>
            <a:spcBef>
              <a:spcPct val="0"/>
            </a:spcBef>
            <a:spcAft>
              <a:spcPct val="15000"/>
            </a:spcAft>
            <a:buChar char="•"/>
          </a:pPr>
          <a:r>
            <a:rPr lang="de-DE" altLang="de-DE" sz="1200" b="1" kern="1200">
              <a:solidFill>
                <a:srgbClr val="000000"/>
              </a:solidFill>
              <a:cs typeface="Arial"/>
            </a:rPr>
            <a:t>Einzelmaßnahmen</a:t>
          </a:r>
          <a:r>
            <a:rPr lang="de-DE" altLang="de-DE" sz="1200" kern="1200">
              <a:solidFill>
                <a:srgbClr val="000000"/>
              </a:solidFill>
              <a:cs typeface="Arial"/>
            </a:rPr>
            <a:t>: Investitionen (min. 2.000 €/Maßnahme) zum Ersatz/Neuanschaffung hocheffizienter Anlagen bzw.  Aggregaten verschiedener, definierter Querschnittstechnologien für die industrielle und gewerbliche Anwendung, z.B.: Elektrische Motoren und Antriebe, Pumpen, Ventilatoren, </a:t>
          </a:r>
          <a:r>
            <a:rPr lang="de-DE" altLang="de-DE" sz="1200" kern="1200">
              <a:solidFill>
                <a:srgbClr val="000000"/>
              </a:solidFill>
              <a:latin typeface="Segoe UI"/>
              <a:cs typeface="Arial"/>
            </a:rPr>
            <a:t>Drucklufterzeuger (inkl. Steuerung),</a:t>
          </a:r>
          <a:r>
            <a:rPr lang="de-DE" altLang="de-DE" sz="1200" kern="1200">
              <a:solidFill>
                <a:srgbClr val="000000"/>
              </a:solidFill>
              <a:cs typeface="Arial"/>
            </a:rPr>
            <a:t> </a:t>
          </a:r>
          <a:r>
            <a:rPr lang="de-DE" altLang="de-DE" sz="1200" kern="1200">
              <a:solidFill>
                <a:srgbClr val="000000"/>
              </a:solidFill>
              <a:latin typeface="Segoe UI"/>
              <a:cs typeface="Arial"/>
            </a:rPr>
            <a:t>Wärmeübertrager in </a:t>
          </a:r>
          <a:r>
            <a:rPr lang="de-DE" altLang="de-DE" sz="1200" kern="1200">
              <a:solidFill>
                <a:srgbClr val="000000"/>
              </a:solidFill>
              <a:cs typeface="Arial"/>
            </a:rPr>
            <a:t>Anlagen zur innerbetrieblichen Abwärmenutzung/Wärmerück-gewinnung, </a:t>
          </a:r>
          <a:r>
            <a:rPr lang="de-DE" altLang="de-DE" sz="1200" kern="1200">
              <a:solidFill>
                <a:srgbClr val="000000"/>
              </a:solidFill>
              <a:latin typeface="Segoe UI"/>
              <a:cs typeface="Arial"/>
            </a:rPr>
            <a:t>Isolierung/ Wärmedämmung, Frequenzumrichter zum Nachrüsten von bereits vorhandenen Querschnittstechnologien.</a:t>
          </a:r>
          <a:r>
            <a:rPr lang="de-DE" altLang="de-DE" sz="1200" kern="1200">
              <a:solidFill>
                <a:srgbClr val="000000"/>
              </a:solidFill>
              <a:cs typeface="Arial"/>
            </a:rPr>
            <a:t> Die förderfähigen Technologien werden regelmäßig flexibel durch das BAFA über das Merkblatt angepasst</a:t>
          </a:r>
          <a:endParaRPr lang="en-GB" sz="1200" kern="1200">
            <a:ln>
              <a:noFill/>
            </a:ln>
            <a:latin typeface="+mn-lt"/>
            <a:cs typeface="Arial"/>
          </a:endParaRPr>
        </a:p>
      </dsp:txBody>
      <dsp:txXfrm rot="-5400000">
        <a:off x="3286519" y="65936"/>
        <a:ext cx="7946476" cy="1195448"/>
      </dsp:txXfrm>
    </dsp:sp>
    <dsp:sp modelId="{9C1950A7-783E-48B6-8E92-F40F44EBAD14}">
      <dsp:nvSpPr>
        <dsp:cNvPr id="0" name=""/>
        <dsp:cNvSpPr/>
      </dsp:nvSpPr>
      <dsp:spPr>
        <a:xfrm>
          <a:off x="223" y="4599"/>
          <a:ext cx="3221625" cy="1318121"/>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WAS?</a:t>
          </a:r>
          <a:endParaRPr lang="en-GB" sz="2000" b="1" kern="1200"/>
        </a:p>
      </dsp:txBody>
      <dsp:txXfrm>
        <a:off x="64568" y="68944"/>
        <a:ext cx="3092935" cy="1189431"/>
      </dsp:txXfrm>
    </dsp:sp>
    <dsp:sp modelId="{C3CA0957-EF4F-46A9-B14B-C34909532529}">
      <dsp:nvSpPr>
        <dsp:cNvPr id="0" name=""/>
        <dsp:cNvSpPr/>
      </dsp:nvSpPr>
      <dsp:spPr>
        <a:xfrm rot="5400000">
          <a:off x="6762119" y="-2202773"/>
          <a:ext cx="995277" cy="8075818"/>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Font typeface="Arial" panose="020B0604020202020204" pitchFamily="34" charset="0"/>
            <a:buChar char="•"/>
          </a:pPr>
          <a:r>
            <a:rPr lang="en-GB" altLang="de-DE" sz="1200" kern="1200">
              <a:solidFill>
                <a:srgbClr val="000000"/>
              </a:solidFill>
              <a:latin typeface="+mn-lt"/>
              <a:cs typeface="Arial"/>
            </a:rPr>
            <a:t>Private </a:t>
          </a:r>
          <a:r>
            <a:rPr lang="en-GB" altLang="de-DE" sz="1200" kern="1200" err="1">
              <a:solidFill>
                <a:srgbClr val="000000"/>
              </a:solidFill>
              <a:latin typeface="+mn-lt"/>
              <a:cs typeface="Arial"/>
            </a:rPr>
            <a:t>Unternehmen</a:t>
          </a:r>
          <a:r>
            <a:rPr lang="en-GB" altLang="de-DE" sz="1200" kern="1200">
              <a:solidFill>
                <a:srgbClr val="000000"/>
              </a:solidFill>
              <a:latin typeface="+mn-lt"/>
              <a:cs typeface="Arial"/>
            </a:rPr>
            <a:t> (</a:t>
          </a:r>
          <a:r>
            <a:rPr lang="en-GB" altLang="de-DE" sz="1200" kern="1200" err="1">
              <a:solidFill>
                <a:srgbClr val="000000"/>
              </a:solidFill>
              <a:latin typeface="+mn-lt"/>
              <a:cs typeface="Arial"/>
            </a:rPr>
            <a:t>nur</a:t>
          </a:r>
          <a:r>
            <a:rPr lang="en-GB" altLang="de-DE" sz="1200" kern="1200">
              <a:solidFill>
                <a:srgbClr val="000000"/>
              </a:solidFill>
              <a:latin typeface="+mn-lt"/>
              <a:cs typeface="Arial"/>
            </a:rPr>
            <a:t> KMU</a:t>
          </a:r>
          <a:r>
            <a:rPr lang="en-GB" altLang="de-DE" sz="1200" kern="1200" baseline="30000">
              <a:solidFill>
                <a:srgbClr val="000000"/>
              </a:solidFill>
              <a:latin typeface="+mn-lt"/>
              <a:cs typeface="Arial"/>
            </a:rPr>
            <a:t>1</a:t>
          </a:r>
          <a:r>
            <a:rPr lang="en-GB" altLang="de-DE" sz="1200" kern="1200">
              <a:solidFill>
                <a:srgbClr val="000000"/>
              </a:solidFill>
              <a:latin typeface="+mn-lt"/>
              <a:cs typeface="Arial"/>
            </a:rPr>
            <a:t>, </a:t>
          </a:r>
          <a:r>
            <a:rPr lang="en-GB" altLang="de-DE" sz="1200" kern="1200" err="1">
              <a:solidFill>
                <a:srgbClr val="000000"/>
              </a:solidFill>
              <a:latin typeface="+mn-lt"/>
              <a:cs typeface="Arial"/>
            </a:rPr>
            <a:t>nur</a:t>
          </a:r>
          <a:r>
            <a:rPr lang="en-GB" altLang="de-DE" sz="1200" kern="1200">
              <a:solidFill>
                <a:srgbClr val="000000"/>
              </a:solidFill>
              <a:latin typeface="+mn-lt"/>
              <a:cs typeface="Arial"/>
            </a:rPr>
            <a:t> </a:t>
          </a:r>
          <a:r>
            <a:rPr lang="en-GB" altLang="de-DE" sz="1200" kern="1200" err="1">
              <a:solidFill>
                <a:srgbClr val="000000"/>
              </a:solidFill>
              <a:latin typeface="+mn-lt"/>
              <a:cs typeface="Arial"/>
            </a:rPr>
            <a:t>Austausch</a:t>
          </a:r>
          <a:r>
            <a:rPr lang="en-GB" altLang="de-DE" sz="1200" kern="1200">
              <a:solidFill>
                <a:srgbClr val="000000"/>
              </a:solidFill>
              <a:latin typeface="+mn-lt"/>
              <a:cs typeface="Arial"/>
            </a:rPr>
            <a:t> und </a:t>
          </a:r>
          <a:r>
            <a:rPr lang="en-GB" altLang="de-DE" sz="1200" kern="1200" err="1">
              <a:solidFill>
                <a:srgbClr val="000000"/>
              </a:solidFill>
              <a:latin typeface="+mn-lt"/>
              <a:cs typeface="Arial"/>
            </a:rPr>
            <a:t>Nachrüstung</a:t>
          </a:r>
          <a:r>
            <a:rPr lang="en-GB" altLang="de-DE" sz="1200" kern="1200">
              <a:solidFill>
                <a:srgbClr val="000000"/>
              </a:solidFill>
              <a:latin typeface="+mn-lt"/>
              <a:cs typeface="Arial"/>
            </a:rPr>
            <a:t> von </a:t>
          </a:r>
          <a:r>
            <a:rPr lang="en-GB" altLang="de-DE" sz="1200" kern="1200" err="1">
              <a:solidFill>
                <a:srgbClr val="000000"/>
              </a:solidFill>
              <a:latin typeface="+mn-lt"/>
              <a:cs typeface="Arial"/>
            </a:rPr>
            <a:t>Bestandsanlagen</a:t>
          </a:r>
          <a:r>
            <a:rPr lang="en-GB" altLang="de-DE" sz="1200" kern="1200">
              <a:solidFill>
                <a:srgbClr val="000000"/>
              </a:solidFill>
              <a:latin typeface="+mn-lt"/>
              <a:cs typeface="Arial"/>
            </a:rPr>
            <a:t> </a:t>
          </a:r>
          <a:r>
            <a:rPr lang="en-GB" altLang="de-DE" sz="1200" kern="1200" err="1">
              <a:solidFill>
                <a:srgbClr val="000000"/>
              </a:solidFill>
              <a:latin typeface="+mn-lt"/>
              <a:cs typeface="Arial"/>
            </a:rPr>
            <a:t>mit</a:t>
          </a:r>
          <a:r>
            <a:rPr lang="en-GB" altLang="de-DE" sz="1200" kern="1200">
              <a:solidFill>
                <a:srgbClr val="000000"/>
              </a:solidFill>
              <a:latin typeface="+mn-lt"/>
              <a:cs typeface="Arial"/>
            </a:rPr>
            <a:t> </a:t>
          </a:r>
          <a:r>
            <a:rPr lang="en-GB" altLang="de-DE" sz="1200" kern="1200" err="1">
              <a:solidFill>
                <a:srgbClr val="000000"/>
              </a:solidFill>
              <a:latin typeface="+mn-lt"/>
              <a:cs typeface="Arial"/>
            </a:rPr>
            <a:t>Ausnahme</a:t>
          </a:r>
          <a:r>
            <a:rPr lang="en-GB" altLang="de-DE" sz="1200" kern="1200">
              <a:solidFill>
                <a:srgbClr val="000000"/>
              </a:solidFill>
              <a:latin typeface="+mn-lt"/>
              <a:cs typeface="Arial"/>
            </a:rPr>
            <a:t> </a:t>
          </a:r>
          <a:r>
            <a:rPr lang="en-GB" altLang="de-DE" sz="1200" kern="1200" err="1">
              <a:solidFill>
                <a:srgbClr val="000000"/>
              </a:solidFill>
              <a:latin typeface="+mn-lt"/>
              <a:cs typeface="Arial"/>
            </a:rPr>
            <a:t>bei</a:t>
          </a:r>
          <a:r>
            <a:rPr lang="en-GB" altLang="de-DE" sz="1200" kern="1200">
              <a:solidFill>
                <a:srgbClr val="000000"/>
              </a:solidFill>
              <a:latin typeface="+mn-lt"/>
              <a:cs typeface="Arial"/>
            </a:rPr>
            <a:t> </a:t>
          </a:r>
          <a:r>
            <a:rPr lang="en-GB" altLang="de-DE" sz="1200" kern="1200" err="1">
              <a:solidFill>
                <a:srgbClr val="000000"/>
              </a:solidFill>
              <a:latin typeface="+mn-lt"/>
              <a:cs typeface="Arial"/>
            </a:rPr>
            <a:t>Wärmeübertrager</a:t>
          </a:r>
          <a:r>
            <a:rPr lang="en-GB" altLang="de-DE" sz="1200" kern="1200">
              <a:solidFill>
                <a:srgbClr val="000000"/>
              </a:solidFill>
              <a:latin typeface="+mn-lt"/>
              <a:cs typeface="Arial"/>
            </a:rPr>
            <a:t>, </a:t>
          </a:r>
          <a:r>
            <a:rPr lang="en-GB" altLang="de-DE" sz="1200" kern="1200" err="1">
              <a:solidFill>
                <a:srgbClr val="000000"/>
              </a:solidFill>
              <a:latin typeface="+mn-lt"/>
              <a:cs typeface="Arial"/>
            </a:rPr>
            <a:t>thermische</a:t>
          </a:r>
          <a:r>
            <a:rPr lang="en-GB" altLang="de-DE" sz="1200" kern="1200">
              <a:solidFill>
                <a:srgbClr val="000000"/>
              </a:solidFill>
              <a:latin typeface="+mn-lt"/>
              <a:cs typeface="Arial"/>
            </a:rPr>
            <a:t> </a:t>
          </a:r>
          <a:r>
            <a:rPr lang="en-GB" altLang="de-DE" sz="1200" kern="1200" err="1">
              <a:solidFill>
                <a:srgbClr val="000000"/>
              </a:solidFill>
              <a:latin typeface="+mn-lt"/>
              <a:cs typeface="Arial"/>
            </a:rPr>
            <a:t>Isolierung</a:t>
          </a:r>
          <a:r>
            <a:rPr lang="en-GB" altLang="de-DE" sz="1200" kern="1200">
              <a:solidFill>
                <a:srgbClr val="000000"/>
              </a:solidFill>
              <a:latin typeface="+mn-lt"/>
              <a:cs typeface="Arial"/>
            </a:rPr>
            <a:t> und </a:t>
          </a:r>
          <a:r>
            <a:rPr lang="en-GB" altLang="de-DE" sz="1200" kern="1200" err="1">
              <a:solidFill>
                <a:srgbClr val="000000"/>
              </a:solidFill>
              <a:latin typeface="+mn-lt"/>
              <a:cs typeface="Arial"/>
            </a:rPr>
            <a:t>Wärmedämmung</a:t>
          </a:r>
          <a:r>
            <a:rPr lang="en-GB" altLang="de-DE" sz="1200" kern="1200">
              <a:solidFill>
                <a:srgbClr val="000000"/>
              </a:solidFill>
              <a:latin typeface="+mn-lt"/>
              <a:cs typeface="Arial"/>
            </a:rPr>
            <a:t>)</a:t>
          </a:r>
          <a:endParaRPr lang="en-GB" sz="1200" kern="1200">
            <a:latin typeface="+mn-lt"/>
            <a:cs typeface="Arial"/>
          </a:endParaRPr>
        </a:p>
        <a:p>
          <a:pPr marL="114300" lvl="1" indent="-114300" algn="l" defTabSz="533400">
            <a:lnSpc>
              <a:spcPct val="90000"/>
            </a:lnSpc>
            <a:spcBef>
              <a:spcPct val="0"/>
            </a:spcBef>
            <a:spcAft>
              <a:spcPct val="15000"/>
            </a:spcAft>
            <a:buFont typeface="Arial" panose="020B0604020202020204" pitchFamily="34" charset="0"/>
            <a:buChar char="•"/>
          </a:pPr>
          <a:r>
            <a:rPr lang="en-GB" altLang="de-DE" sz="1200" kern="1200" err="1">
              <a:solidFill>
                <a:srgbClr val="000000"/>
              </a:solidFill>
              <a:latin typeface="+mn-lt"/>
              <a:cs typeface="Arial"/>
            </a:rPr>
            <a:t>Contractoren</a:t>
          </a:r>
          <a:r>
            <a:rPr lang="en-GB" altLang="de-DE" sz="1200" kern="1200">
              <a:solidFill>
                <a:srgbClr val="000000"/>
              </a:solidFill>
              <a:latin typeface="+mn-lt"/>
              <a:cs typeface="Arial"/>
            </a:rPr>
            <a:t> </a:t>
          </a:r>
          <a:r>
            <a:rPr lang="en-GB" altLang="de-DE" sz="1200" strike="noStrike" kern="1200" err="1">
              <a:solidFill>
                <a:srgbClr val="000000"/>
              </a:solidFill>
              <a:latin typeface="+mn-lt"/>
              <a:cs typeface="Arial"/>
            </a:rPr>
            <a:t>im</a:t>
          </a:r>
          <a:r>
            <a:rPr lang="en-GB" altLang="de-DE" sz="1200" strike="noStrike" kern="1200">
              <a:solidFill>
                <a:srgbClr val="000000"/>
              </a:solidFill>
              <a:latin typeface="+mn-lt"/>
              <a:cs typeface="Arial"/>
            </a:rPr>
            <a:t> </a:t>
          </a:r>
          <a:r>
            <a:rPr lang="en-GB" altLang="de-DE" sz="1200" strike="noStrike" kern="1200" err="1">
              <a:solidFill>
                <a:srgbClr val="000000"/>
              </a:solidFill>
              <a:latin typeface="+mn-lt"/>
              <a:cs typeface="Arial"/>
            </a:rPr>
            <a:t>Auftrag</a:t>
          </a:r>
          <a:r>
            <a:rPr lang="en-GB" altLang="de-DE" sz="1200" strike="noStrike" kern="1200">
              <a:solidFill>
                <a:srgbClr val="000000"/>
              </a:solidFill>
              <a:latin typeface="+mn-lt"/>
              <a:cs typeface="Arial"/>
            </a:rPr>
            <a:t> von </a:t>
          </a:r>
          <a:r>
            <a:rPr lang="en-GB" altLang="de-DE" sz="1200" strike="noStrike" kern="1200" err="1">
              <a:solidFill>
                <a:srgbClr val="000000"/>
              </a:solidFill>
              <a:latin typeface="+mn-lt"/>
              <a:cs typeface="Arial"/>
            </a:rPr>
            <a:t>antragsberechtigten</a:t>
          </a:r>
          <a:r>
            <a:rPr lang="en-GB" altLang="de-DE" sz="1200" strike="noStrike" kern="1200">
              <a:solidFill>
                <a:srgbClr val="000000"/>
              </a:solidFill>
              <a:latin typeface="+mn-lt"/>
              <a:cs typeface="Arial"/>
            </a:rPr>
            <a:t> </a:t>
          </a:r>
          <a:r>
            <a:rPr lang="en-GB" altLang="de-DE" sz="1200" strike="noStrike" kern="1200" err="1">
              <a:solidFill>
                <a:srgbClr val="000000"/>
              </a:solidFill>
              <a:latin typeface="+mn-lt"/>
              <a:cs typeface="Arial"/>
            </a:rPr>
            <a:t>Unternehmen</a:t>
          </a:r>
          <a:endParaRPr lang="en-GB" altLang="de-DE" sz="1200" strike="noStrike" kern="1200">
            <a:solidFill>
              <a:srgbClr val="000000"/>
            </a:solidFill>
            <a:latin typeface="+mn-lt"/>
            <a:cs typeface="Arial"/>
          </a:endParaRPr>
        </a:p>
        <a:p>
          <a:pPr marL="114300" lvl="1" indent="-114300" algn="l" defTabSz="533400">
            <a:lnSpc>
              <a:spcPct val="90000"/>
            </a:lnSpc>
            <a:spcBef>
              <a:spcPct val="0"/>
            </a:spcBef>
            <a:spcAft>
              <a:spcPct val="15000"/>
            </a:spcAft>
            <a:buFont typeface="Arial" panose="020B0604020202020204" pitchFamily="34" charset="0"/>
            <a:buChar char="•"/>
          </a:pPr>
          <a:r>
            <a:rPr lang="en-GB" altLang="de-DE" sz="1200" kern="1200" err="1">
              <a:solidFill>
                <a:srgbClr val="000000"/>
              </a:solidFill>
              <a:latin typeface="+mn-lt"/>
              <a:cs typeface="Arial"/>
            </a:rPr>
            <a:t>Kommunale</a:t>
          </a:r>
          <a:r>
            <a:rPr lang="en-GB" altLang="de-DE" sz="1200" kern="1200">
              <a:solidFill>
                <a:srgbClr val="000000"/>
              </a:solidFill>
              <a:latin typeface="+mn-lt"/>
              <a:cs typeface="Arial"/>
            </a:rPr>
            <a:t> </a:t>
          </a:r>
          <a:r>
            <a:rPr lang="en-GB" altLang="de-DE" sz="1200" kern="1200" err="1">
              <a:solidFill>
                <a:srgbClr val="000000"/>
              </a:solidFill>
              <a:latin typeface="+mn-lt"/>
              <a:cs typeface="Arial"/>
            </a:rPr>
            <a:t>Unternehmen</a:t>
          </a:r>
          <a:r>
            <a:rPr lang="en-GB" altLang="de-DE" sz="1200" kern="1200">
              <a:solidFill>
                <a:srgbClr val="000000"/>
              </a:solidFill>
              <a:latin typeface="+mn-lt"/>
              <a:cs typeface="Arial"/>
            </a:rPr>
            <a:t>, </a:t>
          </a:r>
          <a:r>
            <a:rPr lang="en-GB" altLang="de-DE" sz="1200" kern="1200" err="1">
              <a:solidFill>
                <a:srgbClr val="000000"/>
              </a:solidFill>
              <a:latin typeface="+mn-lt"/>
              <a:cs typeface="Arial"/>
            </a:rPr>
            <a:t>Landesunternehmen</a:t>
          </a:r>
          <a:endParaRPr lang="en-GB" altLang="de-DE" sz="1200" kern="1200">
            <a:solidFill>
              <a:srgbClr val="000000"/>
            </a:solidFill>
            <a:latin typeface="+mn-lt"/>
            <a:cs typeface="Arial"/>
          </a:endParaRPr>
        </a:p>
        <a:p>
          <a:pPr marL="114300" lvl="1" indent="-114300" algn="l" defTabSz="533400">
            <a:lnSpc>
              <a:spcPct val="90000"/>
            </a:lnSpc>
            <a:spcBef>
              <a:spcPct val="0"/>
            </a:spcBef>
            <a:spcAft>
              <a:spcPct val="15000"/>
            </a:spcAft>
            <a:buFont typeface="Arial" panose="020B0604020202020204" pitchFamily="34" charset="0"/>
            <a:buChar char="•"/>
          </a:pPr>
          <a:r>
            <a:rPr lang="en-GB" altLang="de-DE" sz="1200" kern="1200" err="1">
              <a:solidFill>
                <a:srgbClr val="000000"/>
              </a:solidFill>
              <a:latin typeface="+mn-lt"/>
              <a:cs typeface="Arial"/>
            </a:rPr>
            <a:t>Freiberuflich</a:t>
          </a:r>
          <a:r>
            <a:rPr lang="en-GB" altLang="de-DE" sz="1200" kern="1200">
              <a:solidFill>
                <a:srgbClr val="000000"/>
              </a:solidFill>
              <a:latin typeface="+mn-lt"/>
              <a:cs typeface="Arial"/>
            </a:rPr>
            <a:t> </a:t>
          </a:r>
          <a:r>
            <a:rPr lang="en-GB" altLang="de-DE" sz="1200" kern="1200" err="1">
              <a:solidFill>
                <a:srgbClr val="000000"/>
              </a:solidFill>
              <a:latin typeface="+mn-lt"/>
              <a:cs typeface="Arial"/>
            </a:rPr>
            <a:t>Tätige</a:t>
          </a:r>
          <a:endParaRPr lang="en-GB" altLang="de-DE" sz="1200" kern="1200">
            <a:solidFill>
              <a:srgbClr val="000000"/>
            </a:solidFill>
            <a:latin typeface="+mn-lt"/>
            <a:cs typeface="Arial"/>
          </a:endParaRPr>
        </a:p>
      </dsp:txBody>
      <dsp:txXfrm rot="-5400000">
        <a:off x="3270434" y="1386082"/>
        <a:ext cx="7978648" cy="898107"/>
      </dsp:txXfrm>
    </dsp:sp>
    <dsp:sp modelId="{6282B259-D810-400D-AF6A-A79E8F7BBC6B}">
      <dsp:nvSpPr>
        <dsp:cNvPr id="0" name=""/>
        <dsp:cNvSpPr/>
      </dsp:nvSpPr>
      <dsp:spPr>
        <a:xfrm>
          <a:off x="223" y="1336062"/>
          <a:ext cx="3221625" cy="998146"/>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WER?</a:t>
          </a:r>
          <a:endParaRPr lang="en-GB" sz="2000" b="1" kern="1200"/>
        </a:p>
      </dsp:txBody>
      <dsp:txXfrm>
        <a:off x="48948" y="1384787"/>
        <a:ext cx="3124175" cy="900696"/>
      </dsp:txXfrm>
    </dsp:sp>
    <dsp:sp modelId="{42205B36-F6FD-4A61-8A6C-F7C8A06C6790}">
      <dsp:nvSpPr>
        <dsp:cNvPr id="0" name=""/>
        <dsp:cNvSpPr/>
      </dsp:nvSpPr>
      <dsp:spPr>
        <a:xfrm rot="5400000">
          <a:off x="6841340" y="-1271770"/>
          <a:ext cx="851455" cy="8083429"/>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de-DE" altLang="de-DE" sz="1200" kern="1200">
              <a:latin typeface="+mn-lt"/>
            </a:rPr>
            <a:t>20% der gesamten Investitionskosten für mittlere Unternehmen und 25 % für kleine Unternehmen; Zinsverbilligung von max. 0,5 Prozentpunkten</a:t>
          </a:r>
          <a:endParaRPr lang="en-GB" sz="1200" kern="1200">
            <a:latin typeface="+mn-lt"/>
          </a:endParaRPr>
        </a:p>
        <a:p>
          <a:pPr marL="114300" lvl="1" indent="-114300" algn="l" defTabSz="533400">
            <a:lnSpc>
              <a:spcPct val="90000"/>
            </a:lnSpc>
            <a:spcBef>
              <a:spcPct val="0"/>
            </a:spcBef>
            <a:spcAft>
              <a:spcPct val="15000"/>
            </a:spcAft>
            <a:buChar char="•"/>
          </a:pPr>
          <a:r>
            <a:rPr lang="en-GB" altLang="de-DE" sz="1200" kern="1200">
              <a:latin typeface="+mn-lt"/>
            </a:rPr>
            <a:t>Max. 200.000 € pro </a:t>
          </a:r>
          <a:r>
            <a:rPr lang="en-GB" altLang="de-DE" sz="1200" kern="1200" err="1">
              <a:latin typeface="+mn-lt"/>
            </a:rPr>
            <a:t>Vorhaben</a:t>
          </a:r>
          <a:endParaRPr lang="en-GB" altLang="de-DE" sz="1200" kern="1200">
            <a:latin typeface="+mn-lt"/>
          </a:endParaRPr>
        </a:p>
        <a:p>
          <a:pPr marL="114300" lvl="1" indent="-114300" algn="l" defTabSz="533400">
            <a:lnSpc>
              <a:spcPct val="90000"/>
            </a:lnSpc>
            <a:spcBef>
              <a:spcPct val="0"/>
            </a:spcBef>
            <a:spcAft>
              <a:spcPct val="15000"/>
            </a:spcAft>
            <a:buChar char="•"/>
          </a:pPr>
          <a:r>
            <a:rPr lang="de-DE" altLang="de-DE" sz="1200" kern="1200">
              <a:latin typeface="+mn-lt"/>
            </a:rPr>
            <a:t>Beihilferechtliche Vorgaben: Art. 38 AGVO</a:t>
          </a:r>
          <a:endParaRPr lang="en-GB" altLang="de-DE" sz="1200" kern="1200" err="1">
            <a:latin typeface="+mn-lt"/>
          </a:endParaRPr>
        </a:p>
      </dsp:txBody>
      <dsp:txXfrm rot="-5400000">
        <a:off x="3266918" y="2385782"/>
        <a:ext cx="8000299" cy="768325"/>
      </dsp:txXfrm>
    </dsp:sp>
    <dsp:sp modelId="{E2E438A6-5F37-4E34-923A-0CA8673CDF3A}">
      <dsp:nvSpPr>
        <dsp:cNvPr id="0" name=""/>
        <dsp:cNvSpPr/>
      </dsp:nvSpPr>
      <dsp:spPr>
        <a:xfrm>
          <a:off x="223" y="2344548"/>
          <a:ext cx="3225131" cy="850792"/>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WIE VIEL?</a:t>
          </a:r>
          <a:endParaRPr lang="en-GB" sz="2000" b="1" kern="1200"/>
        </a:p>
      </dsp:txBody>
      <dsp:txXfrm>
        <a:off x="41755" y="2386080"/>
        <a:ext cx="3142067" cy="767728"/>
      </dsp:txXfrm>
    </dsp:sp>
    <dsp:sp modelId="{600B0FCE-F633-4F00-B20F-1253DB6B5E6E}">
      <dsp:nvSpPr>
        <dsp:cNvPr id="0" name=""/>
        <dsp:cNvSpPr/>
      </dsp:nvSpPr>
      <dsp:spPr>
        <a:xfrm rot="5400000">
          <a:off x="7015982" y="-584526"/>
          <a:ext cx="499171" cy="8080400"/>
        </a:xfrm>
        <a:prstGeom prst="roundRect">
          <a:avLst/>
        </a:prstGeom>
        <a:solidFill>
          <a:srgbClr val="FEEAE8">
            <a:alpha val="90000"/>
          </a:srgbClr>
        </a:solidFill>
        <a:ln w="63500" cap="rnd" cmpd="sng" algn="ctr">
          <a:solidFill>
            <a:schemeClr val="bg1">
              <a:alpha val="90000"/>
            </a:schemeClr>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0" lvl="1" indent="0" algn="l" defTabSz="533400">
            <a:lnSpc>
              <a:spcPct val="90000"/>
            </a:lnSpc>
            <a:spcBef>
              <a:spcPct val="0"/>
            </a:spcBef>
            <a:spcAft>
              <a:spcPct val="15000"/>
            </a:spcAft>
            <a:buNone/>
          </a:pPr>
          <a:r>
            <a:rPr lang="en-GB" altLang="de-DE" sz="1200" kern="1200">
              <a:solidFill>
                <a:schemeClr val="tx1"/>
              </a:solidFill>
              <a:latin typeface="+mn-lt"/>
              <a:hlinkClick xmlns:r="http://schemas.openxmlformats.org/officeDocument/2006/relationships" r:id="rId1">
                <a:extLst>
                  <a:ext uri="{A12FA001-AC4F-418D-AE19-62706E023703}">
                    <ahyp:hlinkClr xmlns:ahyp="http://schemas.microsoft.com/office/drawing/2018/hyperlinkcolor" val="tx"/>
                  </a:ext>
                </a:extLst>
              </a:hlinkClick>
            </a:rPr>
            <a:t>https://www.bafa.de/DE/Energie/Energieeffizienz/Energieeffizienz_und_Prozesswaerme/Modul1_Querschnittstechnologien/modul1_querschnittstechnologien_node.html</a:t>
          </a:r>
          <a:endParaRPr lang="en-GB" sz="1200" kern="1200">
            <a:solidFill>
              <a:schemeClr val="tx1"/>
            </a:solidFill>
            <a:latin typeface="+mn-lt"/>
          </a:endParaRPr>
        </a:p>
      </dsp:txBody>
      <dsp:txXfrm rot="-5400000">
        <a:off x="3249736" y="3230456"/>
        <a:ext cx="8031664" cy="450435"/>
      </dsp:txXfrm>
    </dsp:sp>
    <dsp:sp modelId="{C8A9DE35-1CD6-4E88-9A7A-CD82966A87BF}">
      <dsp:nvSpPr>
        <dsp:cNvPr id="0" name=""/>
        <dsp:cNvSpPr/>
      </dsp:nvSpPr>
      <dsp:spPr>
        <a:xfrm>
          <a:off x="223" y="3205680"/>
          <a:ext cx="3225145" cy="499987"/>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WO?</a:t>
          </a:r>
          <a:endParaRPr lang="en-GB" sz="2000" b="1" kern="1200"/>
        </a:p>
      </dsp:txBody>
      <dsp:txXfrm>
        <a:off x="24630" y="3230087"/>
        <a:ext cx="3176331" cy="451173"/>
      </dsp:txXfrm>
    </dsp:sp>
    <dsp:sp modelId="{BCBFAC89-216D-4DFF-897D-8C47A404ADDC}">
      <dsp:nvSpPr>
        <dsp:cNvPr id="0" name=""/>
        <dsp:cNvSpPr/>
      </dsp:nvSpPr>
      <dsp:spPr>
        <a:xfrm rot="5400000">
          <a:off x="7090434" y="-152134"/>
          <a:ext cx="350815" cy="8087229"/>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None/>
          </a:pPr>
          <a:r>
            <a:rPr lang="en-GB" sz="1200" strike="noStrike" kern="1200">
              <a:latin typeface="+mn-lt"/>
            </a:rPr>
            <a:t>31.12.2028</a:t>
          </a:r>
          <a:endParaRPr lang="en-GB" sz="1200" strike="sngStrike" kern="1200">
            <a:solidFill>
              <a:srgbClr val="FF0000"/>
            </a:solidFill>
            <a:highlight>
              <a:srgbClr val="FFFF00"/>
            </a:highlight>
            <a:latin typeface="+mn-lt"/>
          </a:endParaRPr>
        </a:p>
      </dsp:txBody>
      <dsp:txXfrm rot="-5400000">
        <a:off x="3239352" y="3733198"/>
        <a:ext cx="8052979" cy="316565"/>
      </dsp:txXfrm>
    </dsp:sp>
    <dsp:sp modelId="{36DCF81B-4ED1-4AD8-B27C-5FE0EF7F2B66}">
      <dsp:nvSpPr>
        <dsp:cNvPr id="0" name=""/>
        <dsp:cNvSpPr/>
      </dsp:nvSpPr>
      <dsp:spPr>
        <a:xfrm>
          <a:off x="223" y="3715675"/>
          <a:ext cx="3222004" cy="351610"/>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BIS WANN?</a:t>
          </a:r>
          <a:endParaRPr lang="en-GB" sz="2000" b="1" kern="1200"/>
        </a:p>
      </dsp:txBody>
      <dsp:txXfrm>
        <a:off x="17387" y="3732839"/>
        <a:ext cx="3187676" cy="31728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830C8F-A2AE-4990-90BF-6D9758F800E7}">
      <dsp:nvSpPr>
        <dsp:cNvPr id="0" name=""/>
        <dsp:cNvSpPr/>
      </dsp:nvSpPr>
      <dsp:spPr>
        <a:xfrm rot="5400000">
          <a:off x="6504098" y="-3281526"/>
          <a:ext cx="1511317" cy="8075818"/>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altLang="de-DE" sz="1200" b="0" kern="1200" err="1">
              <a:solidFill>
                <a:srgbClr val="000000"/>
              </a:solidFill>
              <a:cs typeface="Arial" panose="020B0604020202020204" pitchFamily="34" charset="0"/>
            </a:rPr>
            <a:t>Solarkollektoranlagen</a:t>
          </a:r>
          <a:endParaRPr lang="en-GB" sz="1200" b="0" kern="1200">
            <a:ln>
              <a:noFill/>
            </a:ln>
            <a:latin typeface="+mn-lt"/>
          </a:endParaRPr>
        </a:p>
        <a:p>
          <a:pPr marL="114300" lvl="1" indent="-114300" algn="l" defTabSz="533400">
            <a:lnSpc>
              <a:spcPct val="90000"/>
            </a:lnSpc>
            <a:spcBef>
              <a:spcPct val="0"/>
            </a:spcBef>
            <a:spcAft>
              <a:spcPct val="15000"/>
            </a:spcAft>
            <a:buChar char="•"/>
          </a:pPr>
          <a:r>
            <a:rPr lang="de-DE" altLang="de-DE" sz="1200" b="0" kern="1200">
              <a:solidFill>
                <a:srgbClr val="000000"/>
              </a:solidFill>
              <a:cs typeface="Arial"/>
            </a:rPr>
            <a:t>Biomasse-Anlagen (Einschränkungen bei den zulässigen Brennstoffen beachten; Förderquoten 20/30/40%)</a:t>
          </a:r>
          <a:endParaRPr lang="en-GB" altLang="de-DE" sz="1200" b="0" kern="1200">
            <a:solidFill>
              <a:srgbClr val="000000"/>
            </a:solidFill>
            <a:cs typeface="Arial"/>
          </a:endParaRPr>
        </a:p>
        <a:p>
          <a:pPr marL="114300" lvl="1" indent="-114300" algn="l" defTabSz="533400">
            <a:lnSpc>
              <a:spcPct val="90000"/>
            </a:lnSpc>
            <a:spcBef>
              <a:spcPct val="0"/>
            </a:spcBef>
            <a:spcAft>
              <a:spcPct val="15000"/>
            </a:spcAft>
            <a:buChar char="•"/>
          </a:pPr>
          <a:r>
            <a:rPr lang="en-GB" altLang="de-DE" sz="1200" b="0" kern="1200" err="1">
              <a:solidFill>
                <a:srgbClr val="000000"/>
              </a:solidFill>
              <a:cs typeface="Arial"/>
            </a:rPr>
            <a:t>Oberflächennahe</a:t>
          </a:r>
          <a:r>
            <a:rPr lang="en-GB" altLang="de-DE" sz="1200" b="0" kern="1200">
              <a:solidFill>
                <a:srgbClr val="000000"/>
              </a:solidFill>
              <a:cs typeface="Arial"/>
            </a:rPr>
            <a:t> und </a:t>
          </a:r>
          <a:r>
            <a:rPr lang="en-GB" altLang="de-DE" sz="1200" b="0" kern="1200" err="1">
              <a:solidFill>
                <a:srgbClr val="000000"/>
              </a:solidFill>
              <a:cs typeface="Arial"/>
            </a:rPr>
            <a:t>tiefe</a:t>
          </a:r>
          <a:r>
            <a:rPr lang="en-GB" altLang="de-DE" sz="1200" b="0" kern="1200">
              <a:solidFill>
                <a:srgbClr val="000000"/>
              </a:solidFill>
              <a:cs typeface="Arial"/>
            </a:rPr>
            <a:t> </a:t>
          </a:r>
          <a:r>
            <a:rPr lang="en-GB" altLang="de-DE" sz="1200" b="0" kern="1200" err="1">
              <a:solidFill>
                <a:srgbClr val="000000"/>
              </a:solidFill>
              <a:cs typeface="Arial"/>
            </a:rPr>
            <a:t>Geothermie</a:t>
          </a:r>
          <a:r>
            <a:rPr lang="en-GB" altLang="de-DE" sz="1200" b="0" kern="1200">
              <a:solidFill>
                <a:srgbClr val="000000"/>
              </a:solidFill>
              <a:cs typeface="Arial"/>
            </a:rPr>
            <a:t> (</a:t>
          </a:r>
          <a:r>
            <a:rPr lang="en-GB" altLang="de-DE" sz="1200" b="0" kern="1200" err="1">
              <a:solidFill>
                <a:srgbClr val="000000"/>
              </a:solidFill>
              <a:cs typeface="Arial"/>
            </a:rPr>
            <a:t>auch</a:t>
          </a:r>
          <a:r>
            <a:rPr lang="en-GB" altLang="de-DE" sz="1200" b="0" kern="1200">
              <a:solidFill>
                <a:srgbClr val="000000"/>
              </a:solidFill>
              <a:cs typeface="Arial"/>
            </a:rPr>
            <a:t> </a:t>
          </a:r>
          <a:r>
            <a:rPr lang="en-GB" altLang="de-DE" sz="1200" b="0" kern="1200" err="1">
              <a:solidFill>
                <a:srgbClr val="000000"/>
              </a:solidFill>
              <a:cs typeface="Arial"/>
            </a:rPr>
            <a:t>Machbarkeitsstudien</a:t>
          </a:r>
          <a:r>
            <a:rPr lang="en-GB" altLang="de-DE" sz="1200" b="0" kern="1200">
              <a:solidFill>
                <a:srgbClr val="000000"/>
              </a:solidFill>
              <a:cs typeface="Arial"/>
            </a:rPr>
            <a:t>)</a:t>
          </a:r>
          <a:endParaRPr lang="en-GB" altLang="de-DE" sz="1200" b="0" strike="sngStrike" kern="1200">
            <a:solidFill>
              <a:srgbClr val="000000"/>
            </a:solidFill>
            <a:cs typeface="Arial"/>
          </a:endParaRPr>
        </a:p>
        <a:p>
          <a:pPr marL="114300" lvl="1" indent="-114300" algn="l" defTabSz="533400" rtl="0">
            <a:lnSpc>
              <a:spcPct val="90000"/>
            </a:lnSpc>
            <a:spcBef>
              <a:spcPct val="0"/>
            </a:spcBef>
            <a:spcAft>
              <a:spcPct val="15000"/>
            </a:spcAft>
            <a:buChar char="•"/>
          </a:pPr>
          <a:r>
            <a:rPr lang="en-GB" altLang="de-DE" sz="1200" b="0" strike="noStrike" kern="1200" err="1">
              <a:solidFill>
                <a:srgbClr val="000000"/>
              </a:solidFill>
              <a:cs typeface="Arial"/>
            </a:rPr>
            <a:t>Wärmepumpen</a:t>
          </a:r>
          <a:r>
            <a:rPr lang="en-GB" altLang="de-DE" sz="1200" b="0" strike="noStrike" kern="1200">
              <a:solidFill>
                <a:srgbClr val="000000"/>
              </a:solidFill>
              <a:cs typeface="Arial"/>
            </a:rPr>
            <a:t> (</a:t>
          </a:r>
          <a:r>
            <a:rPr lang="en-GB" altLang="de-DE" sz="1200" b="0" strike="noStrike" kern="1200" err="1">
              <a:solidFill>
                <a:srgbClr val="000000"/>
              </a:solidFill>
              <a:cs typeface="Arial"/>
            </a:rPr>
            <a:t>ausschließlich</a:t>
          </a:r>
          <a:r>
            <a:rPr lang="en-GB" altLang="de-DE" sz="1200" b="0" strike="noStrike" kern="1200">
              <a:solidFill>
                <a:srgbClr val="000000"/>
              </a:solidFill>
              <a:cs typeface="Arial"/>
            </a:rPr>
            <a:t> </a:t>
          </a:r>
          <a:r>
            <a:rPr lang="en-GB" altLang="de-DE" sz="1200" b="0" strike="noStrike" kern="1200" err="1">
              <a:solidFill>
                <a:srgbClr val="000000"/>
              </a:solidFill>
              <a:cs typeface="Arial"/>
            </a:rPr>
            <a:t>mit</a:t>
          </a:r>
          <a:r>
            <a:rPr lang="en-GB" altLang="de-DE" sz="1200" b="0" strike="noStrike" kern="1200">
              <a:solidFill>
                <a:srgbClr val="000000"/>
              </a:solidFill>
              <a:cs typeface="Arial"/>
            </a:rPr>
            <a:t> EE-Strom </a:t>
          </a:r>
          <a:r>
            <a:rPr lang="en-GB" altLang="de-DE" sz="1200" b="0" strike="noStrike" kern="1200" err="1">
              <a:solidFill>
                <a:srgbClr val="000000"/>
              </a:solidFill>
              <a:cs typeface="Arial"/>
            </a:rPr>
            <a:t>betrieben</a:t>
          </a:r>
          <a:r>
            <a:rPr lang="en-GB" altLang="de-DE" sz="1200" b="0" strike="noStrike" kern="1200">
              <a:solidFill>
                <a:srgbClr val="000000"/>
              </a:solidFill>
              <a:cs typeface="Arial"/>
            </a:rPr>
            <a:t>, </a:t>
          </a:r>
          <a:r>
            <a:rPr lang="en-GB" altLang="de-DE" sz="1200" b="0" strike="noStrike" kern="1200" err="1">
              <a:solidFill>
                <a:srgbClr val="000000"/>
              </a:solidFill>
              <a:cs typeface="Arial"/>
            </a:rPr>
            <a:t>nur</a:t>
          </a:r>
          <a:r>
            <a:rPr lang="en-GB" altLang="de-DE" sz="1200" b="0" strike="noStrike" kern="1200">
              <a:solidFill>
                <a:srgbClr val="000000"/>
              </a:solidFill>
              <a:cs typeface="Arial"/>
            </a:rPr>
            <a:t> bis </a:t>
          </a:r>
          <a:r>
            <a:rPr lang="en-GB" altLang="de-DE" sz="1200" b="0" strike="noStrike" kern="1200" err="1">
              <a:solidFill>
                <a:srgbClr val="000000"/>
              </a:solidFill>
              <a:cs typeface="Arial"/>
            </a:rPr>
            <a:t>zu</a:t>
          </a:r>
          <a:r>
            <a:rPr lang="en-GB" altLang="de-DE" sz="1200" b="0" strike="noStrike" kern="1200">
              <a:solidFill>
                <a:srgbClr val="000000"/>
              </a:solidFill>
              <a:cs typeface="Arial"/>
            </a:rPr>
            <a:t> 50% </a:t>
          </a:r>
          <a:r>
            <a:rPr lang="en-GB" altLang="de-DE" sz="1200" b="0" strike="noStrike" kern="1200" err="1">
              <a:solidFill>
                <a:srgbClr val="000000"/>
              </a:solidFill>
              <a:cs typeface="Arial"/>
            </a:rPr>
            <a:t>Abwärme</a:t>
          </a:r>
          <a:r>
            <a:rPr lang="en-GB" altLang="de-DE" sz="1200" b="0" strike="noStrike" kern="1200">
              <a:solidFill>
                <a:srgbClr val="000000"/>
              </a:solidFill>
              <a:cs typeface="Arial"/>
            </a:rPr>
            <a:t> </a:t>
          </a:r>
          <a:r>
            <a:rPr lang="en-GB" altLang="de-DE" sz="1200" b="0" strike="noStrike" kern="1200" err="1">
              <a:solidFill>
                <a:srgbClr val="000000"/>
              </a:solidFill>
              <a:cs typeface="Arial"/>
            </a:rPr>
            <a:t>als</a:t>
          </a:r>
          <a:r>
            <a:rPr lang="en-GB" altLang="de-DE" sz="1200" b="0" strike="noStrike" kern="1200">
              <a:solidFill>
                <a:srgbClr val="000000"/>
              </a:solidFill>
              <a:cs typeface="Arial"/>
            </a:rPr>
            <a:t> </a:t>
          </a:r>
          <a:r>
            <a:rPr lang="en-GB" altLang="de-DE" sz="1200" b="0" strike="noStrike" kern="1200" err="1">
              <a:solidFill>
                <a:srgbClr val="000000"/>
              </a:solidFill>
              <a:cs typeface="Arial"/>
            </a:rPr>
            <a:t>Prozesswärme</a:t>
          </a:r>
          <a:r>
            <a:rPr lang="en-GB" altLang="de-DE" sz="1200" b="0" strike="noStrike" kern="1200">
              <a:solidFill>
                <a:srgbClr val="000000"/>
              </a:solidFill>
              <a:cs typeface="Arial"/>
            </a:rPr>
            <a:t> </a:t>
          </a:r>
          <a:r>
            <a:rPr lang="en-GB" altLang="de-DE" sz="1200" b="0" strike="noStrike" kern="1200" err="1">
              <a:solidFill>
                <a:srgbClr val="000000"/>
              </a:solidFill>
              <a:cs typeface="Arial"/>
            </a:rPr>
            <a:t>nutzbar</a:t>
          </a:r>
          <a:r>
            <a:rPr lang="en-GB" altLang="de-DE" sz="1200" b="0" strike="noStrike" kern="1200">
              <a:solidFill>
                <a:srgbClr val="000000"/>
              </a:solidFill>
              <a:latin typeface="Segoe UI"/>
              <a:cs typeface="Arial"/>
            </a:rPr>
            <a:t>) </a:t>
          </a:r>
        </a:p>
        <a:p>
          <a:pPr marL="114300" lvl="1" indent="-114300" algn="l" defTabSz="533400">
            <a:lnSpc>
              <a:spcPct val="90000"/>
            </a:lnSpc>
            <a:spcBef>
              <a:spcPct val="0"/>
            </a:spcBef>
            <a:spcAft>
              <a:spcPct val="15000"/>
            </a:spcAft>
            <a:buChar char="•"/>
          </a:pPr>
          <a:r>
            <a:rPr lang="en-GB" altLang="de-DE" sz="1200" b="0" kern="1200">
              <a:solidFill>
                <a:srgbClr val="000000"/>
              </a:solidFill>
              <a:latin typeface="Segoe UI"/>
              <a:cs typeface="Arial"/>
            </a:rPr>
            <a:t>Kraft-</a:t>
          </a:r>
          <a:r>
            <a:rPr lang="en-GB" altLang="de-DE" sz="1200" b="0" kern="1200" err="1">
              <a:solidFill>
                <a:srgbClr val="000000"/>
              </a:solidFill>
              <a:latin typeface="Segoe UI"/>
              <a:cs typeface="Arial"/>
            </a:rPr>
            <a:t>Wärme</a:t>
          </a:r>
          <a:r>
            <a:rPr lang="en-GB" altLang="de-DE" sz="1200" b="0" kern="1200">
              <a:solidFill>
                <a:srgbClr val="000000"/>
              </a:solidFill>
              <a:latin typeface="Segoe UI"/>
              <a:cs typeface="Arial"/>
            </a:rPr>
            <a:t>-</a:t>
          </a:r>
          <a:r>
            <a:rPr lang="en-GB" altLang="de-DE" sz="1200" b="0" kern="1200" err="1">
              <a:solidFill>
                <a:srgbClr val="000000"/>
              </a:solidFill>
              <a:latin typeface="Segoe UI"/>
              <a:cs typeface="Arial"/>
            </a:rPr>
            <a:t>Kopplungsanlagen</a:t>
          </a:r>
          <a:r>
            <a:rPr lang="en-GB" altLang="de-DE" sz="1200" b="0" kern="1200">
              <a:solidFill>
                <a:srgbClr val="000000"/>
              </a:solidFill>
              <a:latin typeface="Segoe UI"/>
              <a:cs typeface="Arial"/>
            </a:rPr>
            <a:t> (KWK-Anlagen) </a:t>
          </a:r>
          <a:r>
            <a:rPr lang="de-DE" sz="1200" kern="1200"/>
            <a:t>nur auf Basis von fester pflanzlicher Biomasse, Sonnen-strahlung oder Geothermie</a:t>
          </a:r>
          <a:endParaRPr lang="de-DE" kern="1200"/>
        </a:p>
        <a:p>
          <a:pPr marL="114300" lvl="1" indent="-114300" algn="l" defTabSz="533400">
            <a:lnSpc>
              <a:spcPct val="90000"/>
            </a:lnSpc>
            <a:spcBef>
              <a:spcPct val="0"/>
            </a:spcBef>
            <a:spcAft>
              <a:spcPct val="15000"/>
            </a:spcAft>
            <a:buChar char="•"/>
          </a:pPr>
          <a:r>
            <a:rPr lang="en-GB" altLang="de-DE" sz="1200" b="0" kern="1200" err="1">
              <a:solidFill>
                <a:srgbClr val="000000"/>
              </a:solidFill>
              <a:cs typeface="Arial"/>
            </a:rPr>
            <a:t>Einbindungs</a:t>
          </a:r>
          <a:r>
            <a:rPr lang="en-GB" altLang="de-DE" sz="1200" b="0" kern="1200">
              <a:solidFill>
                <a:srgbClr val="000000"/>
              </a:solidFill>
              <a:cs typeface="Arial"/>
            </a:rPr>
            <a:t>-, </a:t>
          </a:r>
          <a:r>
            <a:rPr lang="en-GB" altLang="de-DE" sz="1200" b="0" kern="1200" err="1">
              <a:solidFill>
                <a:srgbClr val="000000"/>
              </a:solidFill>
              <a:cs typeface="Arial"/>
            </a:rPr>
            <a:t>Ertragsüberwachungs</a:t>
          </a:r>
          <a:r>
            <a:rPr lang="en-GB" altLang="de-DE" sz="1200" b="0" kern="1200">
              <a:solidFill>
                <a:srgbClr val="000000"/>
              </a:solidFill>
              <a:cs typeface="Arial"/>
            </a:rPr>
            <a:t>- und </a:t>
          </a:r>
          <a:r>
            <a:rPr lang="en-GB" altLang="de-DE" sz="1200" b="0" kern="1200" err="1">
              <a:solidFill>
                <a:srgbClr val="000000"/>
              </a:solidFill>
              <a:cs typeface="Arial"/>
            </a:rPr>
            <a:t>Fehlererkennungskosten</a:t>
          </a:r>
          <a:endParaRPr lang="en-GB" altLang="de-DE" sz="1200" b="0" kern="1200">
            <a:solidFill>
              <a:srgbClr val="000000"/>
            </a:solidFill>
            <a:cs typeface="Arial"/>
          </a:endParaRPr>
        </a:p>
      </dsp:txBody>
      <dsp:txXfrm rot="-5400000">
        <a:off x="3295624" y="74500"/>
        <a:ext cx="7928266" cy="1363765"/>
      </dsp:txXfrm>
    </dsp:sp>
    <dsp:sp modelId="{9C1950A7-783E-48B6-8E92-F40F44EBAD14}">
      <dsp:nvSpPr>
        <dsp:cNvPr id="0" name=""/>
        <dsp:cNvSpPr/>
      </dsp:nvSpPr>
      <dsp:spPr>
        <a:xfrm>
          <a:off x="223" y="4527"/>
          <a:ext cx="3221625" cy="1503710"/>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WAS?</a:t>
          </a:r>
          <a:endParaRPr lang="en-GB" sz="2000" b="1" kern="1200"/>
        </a:p>
      </dsp:txBody>
      <dsp:txXfrm>
        <a:off x="73628" y="77932"/>
        <a:ext cx="3074815" cy="1356900"/>
      </dsp:txXfrm>
    </dsp:sp>
    <dsp:sp modelId="{C3CA0957-EF4F-46A9-B14B-C34909532529}">
      <dsp:nvSpPr>
        <dsp:cNvPr id="0" name=""/>
        <dsp:cNvSpPr/>
      </dsp:nvSpPr>
      <dsp:spPr>
        <a:xfrm rot="5400000">
          <a:off x="6781259" y="-2036366"/>
          <a:ext cx="956997" cy="8075818"/>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Font typeface="Arial" panose="020B0604020202020204" pitchFamily="34" charset="0"/>
            <a:buChar char="•"/>
          </a:pPr>
          <a:r>
            <a:rPr lang="en-GB" altLang="de-DE" sz="1200" kern="1200">
              <a:solidFill>
                <a:srgbClr val="000000"/>
              </a:solidFill>
              <a:latin typeface="+mn-lt"/>
              <a:cs typeface="Arial"/>
            </a:rPr>
            <a:t>Private </a:t>
          </a:r>
          <a:r>
            <a:rPr lang="en-GB" altLang="de-DE" sz="1200" kern="1200" err="1">
              <a:solidFill>
                <a:srgbClr val="000000"/>
              </a:solidFill>
              <a:latin typeface="+mn-lt"/>
              <a:cs typeface="Arial"/>
            </a:rPr>
            <a:t>Unternehmen</a:t>
          </a:r>
          <a:endParaRPr lang="en-GB" sz="1200" kern="1200">
            <a:latin typeface="+mn-lt"/>
            <a:cs typeface="Arial"/>
          </a:endParaRPr>
        </a:p>
        <a:p>
          <a:pPr marL="114300" lvl="1" indent="-114300" algn="l" defTabSz="533400">
            <a:lnSpc>
              <a:spcPct val="90000"/>
            </a:lnSpc>
            <a:spcBef>
              <a:spcPct val="0"/>
            </a:spcBef>
            <a:spcAft>
              <a:spcPct val="15000"/>
            </a:spcAft>
            <a:buFont typeface="Arial" panose="020B0604020202020204" pitchFamily="34" charset="0"/>
            <a:buChar char="•"/>
          </a:pPr>
          <a:r>
            <a:rPr lang="en-GB" altLang="de-DE" sz="1200" kern="1200" err="1">
              <a:solidFill>
                <a:srgbClr val="000000"/>
              </a:solidFill>
              <a:latin typeface="+mn-lt"/>
              <a:cs typeface="Arial"/>
            </a:rPr>
            <a:t>Contractoren</a:t>
          </a:r>
          <a:r>
            <a:rPr lang="en-GB" altLang="de-DE" sz="1200" kern="1200">
              <a:solidFill>
                <a:srgbClr val="000000"/>
              </a:solidFill>
              <a:latin typeface="+mn-lt"/>
              <a:cs typeface="Arial"/>
            </a:rPr>
            <a:t> </a:t>
          </a:r>
          <a:r>
            <a:rPr lang="en-GB" altLang="de-DE" sz="1200" strike="noStrike" kern="1200" err="1">
              <a:solidFill>
                <a:srgbClr val="000000"/>
              </a:solidFill>
              <a:latin typeface="+mn-lt"/>
              <a:cs typeface="Arial"/>
            </a:rPr>
            <a:t>im</a:t>
          </a:r>
          <a:r>
            <a:rPr lang="en-GB" altLang="de-DE" sz="1200" strike="noStrike" kern="1200">
              <a:solidFill>
                <a:srgbClr val="000000"/>
              </a:solidFill>
              <a:latin typeface="+mn-lt"/>
              <a:cs typeface="Arial"/>
            </a:rPr>
            <a:t> </a:t>
          </a:r>
          <a:r>
            <a:rPr lang="en-GB" altLang="de-DE" sz="1200" strike="noStrike" kern="1200" err="1">
              <a:solidFill>
                <a:srgbClr val="000000"/>
              </a:solidFill>
              <a:latin typeface="+mn-lt"/>
              <a:cs typeface="Arial"/>
            </a:rPr>
            <a:t>Auftrag</a:t>
          </a:r>
          <a:r>
            <a:rPr lang="en-GB" altLang="de-DE" sz="1200" strike="noStrike" kern="1200">
              <a:solidFill>
                <a:srgbClr val="000000"/>
              </a:solidFill>
              <a:latin typeface="+mn-lt"/>
              <a:cs typeface="Arial"/>
            </a:rPr>
            <a:t> von </a:t>
          </a:r>
          <a:r>
            <a:rPr lang="en-GB" altLang="de-DE" sz="1200" strike="noStrike" kern="1200" err="1">
              <a:solidFill>
                <a:srgbClr val="000000"/>
              </a:solidFill>
              <a:latin typeface="+mn-lt"/>
              <a:cs typeface="Arial"/>
            </a:rPr>
            <a:t>antragsberechtigten</a:t>
          </a:r>
          <a:r>
            <a:rPr lang="en-GB" altLang="de-DE" sz="1200" strike="noStrike" kern="1200">
              <a:solidFill>
                <a:srgbClr val="000000"/>
              </a:solidFill>
              <a:latin typeface="+mn-lt"/>
              <a:cs typeface="Arial"/>
            </a:rPr>
            <a:t> </a:t>
          </a:r>
          <a:r>
            <a:rPr lang="en-GB" altLang="de-DE" sz="1200" strike="noStrike" kern="1200" err="1">
              <a:solidFill>
                <a:srgbClr val="000000"/>
              </a:solidFill>
              <a:latin typeface="+mn-lt"/>
              <a:cs typeface="Arial"/>
            </a:rPr>
            <a:t>Unternehmen</a:t>
          </a:r>
          <a:endParaRPr lang="en-GB" altLang="de-DE" sz="1200" kern="1200">
            <a:solidFill>
              <a:srgbClr val="000000"/>
            </a:solidFill>
            <a:latin typeface="+mn-lt"/>
            <a:cs typeface="Arial"/>
          </a:endParaRPr>
        </a:p>
        <a:p>
          <a:pPr marL="114300" lvl="1" indent="-114300" algn="l" defTabSz="533400">
            <a:lnSpc>
              <a:spcPct val="90000"/>
            </a:lnSpc>
            <a:spcBef>
              <a:spcPct val="0"/>
            </a:spcBef>
            <a:spcAft>
              <a:spcPct val="15000"/>
            </a:spcAft>
            <a:buFont typeface="Arial" panose="020B0604020202020204" pitchFamily="34" charset="0"/>
            <a:buChar char="•"/>
          </a:pPr>
          <a:r>
            <a:rPr lang="en-GB" altLang="de-DE" sz="1200" kern="1200" err="1">
              <a:solidFill>
                <a:srgbClr val="000000"/>
              </a:solidFill>
              <a:latin typeface="+mn-lt"/>
              <a:cs typeface="Arial"/>
            </a:rPr>
            <a:t>Kommunale</a:t>
          </a:r>
          <a:r>
            <a:rPr lang="en-GB" altLang="de-DE" sz="1200" kern="1200">
              <a:solidFill>
                <a:srgbClr val="000000"/>
              </a:solidFill>
              <a:latin typeface="+mn-lt"/>
              <a:cs typeface="Arial"/>
            </a:rPr>
            <a:t> </a:t>
          </a:r>
          <a:r>
            <a:rPr lang="en-GB" altLang="de-DE" sz="1200" kern="1200" err="1">
              <a:solidFill>
                <a:srgbClr val="000000"/>
              </a:solidFill>
              <a:latin typeface="+mn-lt"/>
              <a:cs typeface="Arial"/>
            </a:rPr>
            <a:t>Unternehmen</a:t>
          </a:r>
          <a:r>
            <a:rPr lang="en-GB" altLang="de-DE" sz="1200" kern="1200">
              <a:solidFill>
                <a:srgbClr val="000000"/>
              </a:solidFill>
              <a:latin typeface="+mn-lt"/>
              <a:cs typeface="Arial"/>
            </a:rPr>
            <a:t>, </a:t>
          </a:r>
          <a:r>
            <a:rPr lang="en-GB" altLang="de-DE" sz="1200" kern="1200" err="1">
              <a:solidFill>
                <a:srgbClr val="000000"/>
              </a:solidFill>
              <a:latin typeface="+mn-lt"/>
              <a:cs typeface="Arial"/>
            </a:rPr>
            <a:t>Landesunternehmen</a:t>
          </a:r>
          <a:endParaRPr lang="en-GB" altLang="de-DE" sz="1200" kern="1200">
            <a:solidFill>
              <a:srgbClr val="000000"/>
            </a:solidFill>
            <a:latin typeface="+mn-lt"/>
            <a:cs typeface="Arial"/>
          </a:endParaRPr>
        </a:p>
        <a:p>
          <a:pPr marL="114300" lvl="1" indent="-114300" algn="l" defTabSz="533400">
            <a:lnSpc>
              <a:spcPct val="90000"/>
            </a:lnSpc>
            <a:spcBef>
              <a:spcPct val="0"/>
            </a:spcBef>
            <a:spcAft>
              <a:spcPct val="15000"/>
            </a:spcAft>
            <a:buFont typeface="Arial" panose="020B0604020202020204" pitchFamily="34" charset="0"/>
            <a:buChar char="•"/>
          </a:pPr>
          <a:r>
            <a:rPr lang="en-GB" altLang="de-DE" sz="1200" kern="1200" err="1">
              <a:solidFill>
                <a:srgbClr val="000000"/>
              </a:solidFill>
              <a:latin typeface="+mn-lt"/>
              <a:cs typeface="Arial"/>
            </a:rPr>
            <a:t>Freiberuflich</a:t>
          </a:r>
          <a:r>
            <a:rPr lang="en-GB" altLang="de-DE" sz="1200" kern="1200">
              <a:solidFill>
                <a:srgbClr val="000000"/>
              </a:solidFill>
              <a:latin typeface="+mn-lt"/>
              <a:cs typeface="Arial"/>
            </a:rPr>
            <a:t> Tätige</a:t>
          </a:r>
        </a:p>
      </dsp:txBody>
      <dsp:txXfrm rot="-5400000">
        <a:off x="3268566" y="1569761"/>
        <a:ext cx="7982384" cy="863563"/>
      </dsp:txXfrm>
    </dsp:sp>
    <dsp:sp modelId="{6282B259-D810-400D-AF6A-A79E8F7BBC6B}">
      <dsp:nvSpPr>
        <dsp:cNvPr id="0" name=""/>
        <dsp:cNvSpPr/>
      </dsp:nvSpPr>
      <dsp:spPr>
        <a:xfrm>
          <a:off x="223" y="1521664"/>
          <a:ext cx="3221625" cy="959756"/>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WER?</a:t>
          </a:r>
          <a:endParaRPr lang="en-GB" sz="2000" b="1" kern="1200"/>
        </a:p>
      </dsp:txBody>
      <dsp:txXfrm>
        <a:off x="47074" y="1568515"/>
        <a:ext cx="3127923" cy="866054"/>
      </dsp:txXfrm>
    </dsp:sp>
    <dsp:sp modelId="{42205B36-F6FD-4A61-8A6C-F7C8A06C6790}">
      <dsp:nvSpPr>
        <dsp:cNvPr id="0" name=""/>
        <dsp:cNvSpPr/>
      </dsp:nvSpPr>
      <dsp:spPr>
        <a:xfrm rot="5400000">
          <a:off x="6897721" y="-1181324"/>
          <a:ext cx="738693" cy="8083429"/>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rtl="0">
            <a:lnSpc>
              <a:spcPct val="90000"/>
            </a:lnSpc>
            <a:spcBef>
              <a:spcPct val="0"/>
            </a:spcBef>
            <a:spcAft>
              <a:spcPct val="15000"/>
            </a:spcAft>
            <a:buChar char="•"/>
          </a:pPr>
          <a:r>
            <a:rPr lang="de-DE" altLang="de-DE" sz="1200" kern="1200">
              <a:latin typeface="+mn-lt"/>
            </a:rPr>
            <a:t>40 % der gesamten Investitionskosten, 50 % für mittlere Unternehmen und 60% für kleine Unternehmen; je 20% weniger für Biomasse;  Zinsverbilligung von max. 0,5 Prozentpunkte; Max. 20 Mio. € pro Vorhaben</a:t>
          </a:r>
          <a:endParaRPr lang="en-GB" sz="1200" kern="1200">
            <a:latin typeface="+mn-lt"/>
          </a:endParaRPr>
        </a:p>
        <a:p>
          <a:pPr marL="114300" lvl="1" indent="-114300" algn="l" defTabSz="533400">
            <a:lnSpc>
              <a:spcPct val="90000"/>
            </a:lnSpc>
            <a:spcBef>
              <a:spcPct val="0"/>
            </a:spcBef>
            <a:spcAft>
              <a:spcPct val="15000"/>
            </a:spcAft>
            <a:buChar char="•"/>
          </a:pPr>
          <a:r>
            <a:rPr lang="de-DE" altLang="de-DE" sz="1200" kern="1200">
              <a:latin typeface="+mn-lt"/>
            </a:rPr>
            <a:t>Beihilferechtliche Vorgaben: Art. 41 AGVO</a:t>
          </a:r>
          <a:endParaRPr lang="en-GB" altLang="de-DE" sz="1200" kern="1200">
            <a:latin typeface="+mn-lt"/>
          </a:endParaRPr>
        </a:p>
      </dsp:txBody>
      <dsp:txXfrm rot="-5400000">
        <a:off x="3261413" y="2527104"/>
        <a:ext cx="8011309" cy="666573"/>
      </dsp:txXfrm>
    </dsp:sp>
    <dsp:sp modelId="{E2E438A6-5F37-4E34-923A-0CA8673CDF3A}">
      <dsp:nvSpPr>
        <dsp:cNvPr id="0" name=""/>
        <dsp:cNvSpPr/>
      </dsp:nvSpPr>
      <dsp:spPr>
        <a:xfrm>
          <a:off x="223" y="2491331"/>
          <a:ext cx="3225131" cy="738117"/>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WIE VIEL?</a:t>
          </a:r>
          <a:endParaRPr lang="en-GB" sz="2000" b="1" kern="1200"/>
        </a:p>
      </dsp:txBody>
      <dsp:txXfrm>
        <a:off x="36255" y="2527363"/>
        <a:ext cx="3153067" cy="666053"/>
      </dsp:txXfrm>
    </dsp:sp>
    <dsp:sp modelId="{600B0FCE-F633-4F00-B20F-1253DB6B5E6E}">
      <dsp:nvSpPr>
        <dsp:cNvPr id="0" name=""/>
        <dsp:cNvSpPr/>
      </dsp:nvSpPr>
      <dsp:spPr>
        <a:xfrm rot="5400000">
          <a:off x="7025582" y="-560462"/>
          <a:ext cx="479972" cy="8080400"/>
        </a:xfrm>
        <a:prstGeom prst="roundRect">
          <a:avLst/>
        </a:prstGeom>
        <a:solidFill>
          <a:srgbClr val="FEEAE8">
            <a:alpha val="90000"/>
          </a:srgbClr>
        </a:solidFill>
        <a:ln w="63500" cap="rnd" cmpd="sng" algn="ctr">
          <a:solidFill>
            <a:schemeClr val="bg1">
              <a:alpha val="90000"/>
            </a:schemeClr>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0" lvl="1" indent="0" algn="l" defTabSz="533400">
            <a:lnSpc>
              <a:spcPct val="90000"/>
            </a:lnSpc>
            <a:spcBef>
              <a:spcPct val="0"/>
            </a:spcBef>
            <a:spcAft>
              <a:spcPct val="15000"/>
            </a:spcAft>
            <a:buNone/>
          </a:pPr>
          <a:r>
            <a:rPr lang="en-GB" altLang="de-DE" sz="1200" kern="1200">
              <a:solidFill>
                <a:schemeClr val="tx1"/>
              </a:solidFill>
              <a:latin typeface="+mn-lt"/>
              <a:hlinkClick xmlns:r="http://schemas.openxmlformats.org/officeDocument/2006/relationships" r:id="rId1">
                <a:extLst>
                  <a:ext uri="{A12FA001-AC4F-418D-AE19-62706E023703}">
                    <ahyp:hlinkClr xmlns:ahyp="http://schemas.microsoft.com/office/drawing/2018/hyperlinkcolor" val="tx"/>
                  </a:ext>
                </a:extLst>
              </a:hlinkClick>
            </a:rPr>
            <a:t>https://www.bafa.de/DE/Energie/Energieeffizienz/Energieeffizienz_und_Prozesswaerme/Modul2_Prozesswaerme/modul2_prozesswaerme_node.html</a:t>
          </a:r>
          <a:endParaRPr lang="en-GB" sz="1200" kern="1200">
            <a:solidFill>
              <a:schemeClr val="tx1"/>
            </a:solidFill>
            <a:latin typeface="+mn-lt"/>
          </a:endParaRPr>
        </a:p>
      </dsp:txBody>
      <dsp:txXfrm rot="-5400000">
        <a:off x="3248798" y="3263182"/>
        <a:ext cx="8033540" cy="433112"/>
      </dsp:txXfrm>
    </dsp:sp>
    <dsp:sp modelId="{C8A9DE35-1CD6-4E88-9A7A-CD82966A87BF}">
      <dsp:nvSpPr>
        <dsp:cNvPr id="0" name=""/>
        <dsp:cNvSpPr/>
      </dsp:nvSpPr>
      <dsp:spPr>
        <a:xfrm>
          <a:off x="223" y="3239359"/>
          <a:ext cx="3225145" cy="480757"/>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WO?</a:t>
          </a:r>
          <a:endParaRPr lang="en-GB" sz="2000" b="1" kern="1200"/>
        </a:p>
      </dsp:txBody>
      <dsp:txXfrm>
        <a:off x="23692" y="3262828"/>
        <a:ext cx="3178207" cy="433819"/>
      </dsp:txXfrm>
    </dsp:sp>
    <dsp:sp modelId="{BCBFAC89-216D-4DFF-897D-8C47A404ADDC}">
      <dsp:nvSpPr>
        <dsp:cNvPr id="0" name=""/>
        <dsp:cNvSpPr/>
      </dsp:nvSpPr>
      <dsp:spPr>
        <a:xfrm rot="5400000">
          <a:off x="7097180" y="-144831"/>
          <a:ext cx="337323" cy="8087229"/>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None/>
          </a:pPr>
          <a:r>
            <a:rPr lang="en-GB" sz="1200" strike="noStrike" kern="1200">
              <a:latin typeface="+mn-lt"/>
            </a:rPr>
            <a:t>31.12.2028</a:t>
          </a:r>
          <a:endParaRPr lang="en-GB" sz="1200" strike="sngStrike" kern="1200">
            <a:highlight>
              <a:srgbClr val="FFFF00"/>
            </a:highlight>
            <a:latin typeface="+mn-lt"/>
          </a:endParaRPr>
        </a:p>
      </dsp:txBody>
      <dsp:txXfrm rot="-5400000">
        <a:off x="3238694" y="3746589"/>
        <a:ext cx="8054295" cy="304389"/>
      </dsp:txXfrm>
    </dsp:sp>
    <dsp:sp modelId="{36DCF81B-4ED1-4AD8-B27C-5FE0EF7F2B66}">
      <dsp:nvSpPr>
        <dsp:cNvPr id="0" name=""/>
        <dsp:cNvSpPr/>
      </dsp:nvSpPr>
      <dsp:spPr>
        <a:xfrm>
          <a:off x="223" y="3729739"/>
          <a:ext cx="3222004" cy="338087"/>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BIS WANN?</a:t>
          </a:r>
          <a:endParaRPr lang="en-GB" sz="2000" b="1" kern="1200"/>
        </a:p>
      </dsp:txBody>
      <dsp:txXfrm>
        <a:off x="16727" y="3746243"/>
        <a:ext cx="3188996" cy="30507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830C8F-A2AE-4990-90BF-6D9758F800E7}">
      <dsp:nvSpPr>
        <dsp:cNvPr id="0" name=""/>
        <dsp:cNvSpPr/>
      </dsp:nvSpPr>
      <dsp:spPr>
        <a:xfrm rot="5400000">
          <a:off x="6634748" y="-3412760"/>
          <a:ext cx="1250018" cy="8075818"/>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rtl="0">
            <a:lnSpc>
              <a:spcPct val="90000"/>
            </a:lnSpc>
            <a:spcBef>
              <a:spcPct val="0"/>
            </a:spcBef>
            <a:spcAft>
              <a:spcPct val="15000"/>
            </a:spcAft>
            <a:buChar char="•"/>
          </a:pPr>
          <a:r>
            <a:rPr lang="de-DE" altLang="de-DE" sz="1200" b="0" kern="1200">
              <a:solidFill>
                <a:srgbClr val="000000"/>
              </a:solidFill>
              <a:cs typeface="Arial"/>
            </a:rPr>
            <a:t>Erwerb</a:t>
          </a:r>
          <a:r>
            <a:rPr lang="de-DE" altLang="de-DE" sz="1200" b="0" kern="1200">
              <a:solidFill>
                <a:srgbClr val="000000"/>
              </a:solidFill>
              <a:latin typeface="Segoe UI"/>
              <a:cs typeface="Arial"/>
            </a:rPr>
            <a:t>,</a:t>
          </a:r>
          <a:r>
            <a:rPr lang="de-DE" altLang="de-DE" sz="1200" b="0" kern="1200">
              <a:solidFill>
                <a:srgbClr val="000000"/>
              </a:solidFill>
              <a:cs typeface="Arial"/>
            </a:rPr>
            <a:t> Installation </a:t>
          </a:r>
          <a:r>
            <a:rPr lang="de-DE" altLang="de-DE" sz="1200" b="0" kern="1200">
              <a:solidFill>
                <a:srgbClr val="000000"/>
              </a:solidFill>
              <a:latin typeface="Segoe UI"/>
              <a:cs typeface="Arial"/>
            </a:rPr>
            <a:t>und Inbetriebnahme </a:t>
          </a:r>
          <a:r>
            <a:rPr lang="de-DE" altLang="de-DE" sz="1200" b="0" kern="1200">
              <a:solidFill>
                <a:srgbClr val="000000"/>
              </a:solidFill>
              <a:cs typeface="Arial"/>
            </a:rPr>
            <a:t>von Mess-, Steuer- und Regelungstechnik (MSR) und Sensorik zum Monitoring und der effizienten Regelung von Energieströmen zur Einbindung in ein Energie- oder Umweltmanagementsystem </a:t>
          </a:r>
          <a:endParaRPr lang="en-GB" sz="1200" b="0" kern="1200">
            <a:ln>
              <a:noFill/>
            </a:ln>
            <a:latin typeface="+mn-lt"/>
            <a:cs typeface="Arial"/>
          </a:endParaRPr>
        </a:p>
        <a:p>
          <a:pPr marL="114300" lvl="1" indent="-114300" algn="l" defTabSz="533400" rtl="0">
            <a:lnSpc>
              <a:spcPct val="90000"/>
            </a:lnSpc>
            <a:spcBef>
              <a:spcPct val="0"/>
            </a:spcBef>
            <a:spcAft>
              <a:spcPct val="15000"/>
            </a:spcAft>
            <a:buChar char="•"/>
          </a:pPr>
          <a:r>
            <a:rPr lang="de-DE" altLang="de-DE" sz="1200" b="0" kern="1200">
              <a:solidFill>
                <a:srgbClr val="000000"/>
              </a:solidFill>
              <a:cs typeface="Arial"/>
            </a:rPr>
            <a:t>Erwerb</a:t>
          </a:r>
          <a:r>
            <a:rPr lang="de-DE" altLang="de-DE" sz="1200" b="0" kern="1200">
              <a:solidFill>
                <a:srgbClr val="000000"/>
              </a:solidFill>
              <a:latin typeface="Segoe UI"/>
              <a:cs typeface="Arial"/>
            </a:rPr>
            <a:t>,</a:t>
          </a:r>
          <a:r>
            <a:rPr lang="de-DE" altLang="de-DE" sz="1200" b="0" kern="1200">
              <a:solidFill>
                <a:srgbClr val="000000"/>
              </a:solidFill>
              <a:cs typeface="Arial"/>
            </a:rPr>
            <a:t> Installation </a:t>
          </a:r>
          <a:r>
            <a:rPr lang="de-DE" altLang="de-DE" sz="1200" b="0" kern="1200">
              <a:solidFill>
                <a:srgbClr val="000000"/>
              </a:solidFill>
              <a:latin typeface="Segoe UI"/>
              <a:cs typeface="Arial"/>
            </a:rPr>
            <a:t>und Inbetriebnahme </a:t>
          </a:r>
          <a:r>
            <a:rPr lang="de-DE" altLang="de-DE" sz="1200" b="0" kern="1200">
              <a:solidFill>
                <a:srgbClr val="000000"/>
              </a:solidFill>
              <a:cs typeface="Arial"/>
            </a:rPr>
            <a:t>von sowie Schulung des Personals durch Dritte in Energiemanagement-Software</a:t>
          </a:r>
          <a:endParaRPr lang="en-GB" altLang="de-DE" sz="1200" b="0" kern="1200">
            <a:solidFill>
              <a:srgbClr val="000000"/>
            </a:solidFill>
            <a:cs typeface="Arial"/>
          </a:endParaRPr>
        </a:p>
      </dsp:txBody>
      <dsp:txXfrm rot="-5400000">
        <a:off x="3282869" y="61161"/>
        <a:ext cx="7953776" cy="1127976"/>
      </dsp:txXfrm>
    </dsp:sp>
    <dsp:sp modelId="{9C1950A7-783E-48B6-8E92-F40F44EBAD14}">
      <dsp:nvSpPr>
        <dsp:cNvPr id="0" name=""/>
        <dsp:cNvSpPr/>
      </dsp:nvSpPr>
      <dsp:spPr>
        <a:xfrm>
          <a:off x="223" y="3285"/>
          <a:ext cx="3221625" cy="1243726"/>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WAS?</a:t>
          </a:r>
          <a:endParaRPr lang="en-GB" sz="2000" b="1" kern="1200"/>
        </a:p>
      </dsp:txBody>
      <dsp:txXfrm>
        <a:off x="60937" y="63999"/>
        <a:ext cx="3100197" cy="1122298"/>
      </dsp:txXfrm>
    </dsp:sp>
    <dsp:sp modelId="{C3CA0957-EF4F-46A9-B14B-C34909532529}">
      <dsp:nvSpPr>
        <dsp:cNvPr id="0" name=""/>
        <dsp:cNvSpPr/>
      </dsp:nvSpPr>
      <dsp:spPr>
        <a:xfrm rot="5400000">
          <a:off x="6706551" y="-2221825"/>
          <a:ext cx="1106412" cy="8075818"/>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Font typeface="Arial" panose="020B0604020202020204" pitchFamily="34" charset="0"/>
            <a:buChar char="•"/>
          </a:pPr>
          <a:r>
            <a:rPr lang="en-GB" altLang="de-DE" sz="1200" kern="1200">
              <a:solidFill>
                <a:srgbClr val="000000"/>
              </a:solidFill>
              <a:latin typeface="+mn-lt"/>
              <a:cs typeface="Arial"/>
            </a:rPr>
            <a:t>Private </a:t>
          </a:r>
          <a:r>
            <a:rPr lang="en-GB" altLang="de-DE" sz="1200" kern="1200" err="1">
              <a:solidFill>
                <a:srgbClr val="000000"/>
              </a:solidFill>
              <a:latin typeface="+mn-lt"/>
              <a:cs typeface="Arial"/>
            </a:rPr>
            <a:t>Unternehmen</a:t>
          </a:r>
          <a:endParaRPr lang="en-GB" sz="1200" kern="1200">
            <a:latin typeface="+mn-lt"/>
            <a:cs typeface="Arial"/>
          </a:endParaRPr>
        </a:p>
        <a:p>
          <a:pPr marL="114300" lvl="1" indent="-114300" algn="l" defTabSz="533400">
            <a:lnSpc>
              <a:spcPct val="90000"/>
            </a:lnSpc>
            <a:spcBef>
              <a:spcPct val="0"/>
            </a:spcBef>
            <a:spcAft>
              <a:spcPct val="15000"/>
            </a:spcAft>
            <a:buFont typeface="Arial" panose="020B0604020202020204" pitchFamily="34" charset="0"/>
            <a:buChar char="•"/>
          </a:pPr>
          <a:r>
            <a:rPr lang="en-GB" altLang="de-DE" sz="1200" kern="1200" err="1">
              <a:solidFill>
                <a:srgbClr val="000000"/>
              </a:solidFill>
              <a:latin typeface="+mn-lt"/>
              <a:cs typeface="Arial"/>
            </a:rPr>
            <a:t>Contractoren</a:t>
          </a:r>
          <a:r>
            <a:rPr lang="en-GB" altLang="de-DE" sz="1200" kern="1200">
              <a:solidFill>
                <a:srgbClr val="000000"/>
              </a:solidFill>
              <a:latin typeface="+mn-lt"/>
              <a:cs typeface="Arial"/>
            </a:rPr>
            <a:t> </a:t>
          </a:r>
          <a:r>
            <a:rPr lang="en-GB" altLang="de-DE" sz="1200" strike="noStrike" kern="1200" err="1">
              <a:solidFill>
                <a:srgbClr val="000000"/>
              </a:solidFill>
              <a:latin typeface="+mn-lt"/>
              <a:cs typeface="Arial"/>
            </a:rPr>
            <a:t>im</a:t>
          </a:r>
          <a:r>
            <a:rPr lang="en-GB" altLang="de-DE" sz="1200" strike="noStrike" kern="1200">
              <a:solidFill>
                <a:srgbClr val="000000"/>
              </a:solidFill>
              <a:latin typeface="+mn-lt"/>
              <a:cs typeface="Arial"/>
            </a:rPr>
            <a:t> </a:t>
          </a:r>
          <a:r>
            <a:rPr lang="en-GB" altLang="de-DE" sz="1200" strike="noStrike" kern="1200" err="1">
              <a:solidFill>
                <a:srgbClr val="000000"/>
              </a:solidFill>
              <a:latin typeface="+mn-lt"/>
              <a:cs typeface="Arial"/>
            </a:rPr>
            <a:t>Auftrag</a:t>
          </a:r>
          <a:r>
            <a:rPr lang="en-GB" altLang="de-DE" sz="1200" strike="noStrike" kern="1200">
              <a:solidFill>
                <a:srgbClr val="000000"/>
              </a:solidFill>
              <a:latin typeface="+mn-lt"/>
              <a:cs typeface="Arial"/>
            </a:rPr>
            <a:t> von </a:t>
          </a:r>
          <a:r>
            <a:rPr lang="en-GB" altLang="de-DE" sz="1200" strike="noStrike" kern="1200" err="1">
              <a:solidFill>
                <a:srgbClr val="000000"/>
              </a:solidFill>
              <a:latin typeface="+mn-lt"/>
              <a:cs typeface="Arial"/>
            </a:rPr>
            <a:t>antragsberechtigten</a:t>
          </a:r>
          <a:r>
            <a:rPr lang="en-GB" altLang="de-DE" sz="1200" strike="noStrike" kern="1200">
              <a:solidFill>
                <a:srgbClr val="000000"/>
              </a:solidFill>
              <a:latin typeface="+mn-lt"/>
              <a:cs typeface="Arial"/>
            </a:rPr>
            <a:t> </a:t>
          </a:r>
          <a:r>
            <a:rPr lang="en-GB" altLang="de-DE" sz="1200" strike="noStrike" kern="1200" err="1">
              <a:solidFill>
                <a:srgbClr val="000000"/>
              </a:solidFill>
              <a:latin typeface="+mn-lt"/>
              <a:cs typeface="Arial"/>
            </a:rPr>
            <a:t>Unternehmen</a:t>
          </a:r>
          <a:endParaRPr lang="en-GB" altLang="de-DE" sz="1200" kern="1200">
            <a:solidFill>
              <a:srgbClr val="000000"/>
            </a:solidFill>
            <a:latin typeface="+mn-lt"/>
            <a:cs typeface="Arial"/>
          </a:endParaRPr>
        </a:p>
        <a:p>
          <a:pPr marL="114300" lvl="1" indent="-114300" algn="l" defTabSz="533400">
            <a:lnSpc>
              <a:spcPct val="90000"/>
            </a:lnSpc>
            <a:spcBef>
              <a:spcPct val="0"/>
            </a:spcBef>
            <a:spcAft>
              <a:spcPct val="15000"/>
            </a:spcAft>
            <a:buFont typeface="Arial" panose="020B0604020202020204" pitchFamily="34" charset="0"/>
            <a:buChar char="•"/>
          </a:pPr>
          <a:r>
            <a:rPr lang="en-GB" altLang="de-DE" sz="1200" kern="1200" err="1">
              <a:solidFill>
                <a:srgbClr val="000000"/>
              </a:solidFill>
              <a:latin typeface="+mn-lt"/>
              <a:cs typeface="Arial"/>
            </a:rPr>
            <a:t>Kommunale</a:t>
          </a:r>
          <a:r>
            <a:rPr lang="en-GB" altLang="de-DE" sz="1200" kern="1200">
              <a:solidFill>
                <a:srgbClr val="000000"/>
              </a:solidFill>
              <a:latin typeface="+mn-lt"/>
              <a:cs typeface="Arial"/>
            </a:rPr>
            <a:t> </a:t>
          </a:r>
          <a:r>
            <a:rPr lang="en-GB" altLang="de-DE" sz="1200" kern="1200" err="1">
              <a:solidFill>
                <a:srgbClr val="000000"/>
              </a:solidFill>
              <a:latin typeface="+mn-lt"/>
              <a:cs typeface="Arial"/>
            </a:rPr>
            <a:t>Unternehmen</a:t>
          </a:r>
          <a:r>
            <a:rPr lang="en-GB" altLang="de-DE" sz="1200" kern="1200">
              <a:solidFill>
                <a:srgbClr val="000000"/>
              </a:solidFill>
              <a:latin typeface="+mn-lt"/>
              <a:cs typeface="Arial"/>
            </a:rPr>
            <a:t>, </a:t>
          </a:r>
          <a:r>
            <a:rPr lang="en-GB" altLang="de-DE" sz="1200" kern="1200" err="1">
              <a:solidFill>
                <a:srgbClr val="000000"/>
              </a:solidFill>
              <a:latin typeface="+mn-lt"/>
              <a:cs typeface="Arial"/>
            </a:rPr>
            <a:t>Landesunternehmen</a:t>
          </a:r>
          <a:endParaRPr lang="en-GB" altLang="de-DE" sz="1200" kern="1200">
            <a:solidFill>
              <a:srgbClr val="000000"/>
            </a:solidFill>
            <a:latin typeface="+mn-lt"/>
            <a:cs typeface="Arial"/>
          </a:endParaRPr>
        </a:p>
        <a:p>
          <a:pPr marL="114300" lvl="1" indent="-114300" algn="l" defTabSz="533400">
            <a:lnSpc>
              <a:spcPct val="90000"/>
            </a:lnSpc>
            <a:spcBef>
              <a:spcPct val="0"/>
            </a:spcBef>
            <a:spcAft>
              <a:spcPct val="15000"/>
            </a:spcAft>
            <a:buFont typeface="Arial" panose="020B0604020202020204" pitchFamily="34" charset="0"/>
            <a:buChar char="•"/>
          </a:pPr>
          <a:r>
            <a:rPr lang="en-GB" altLang="de-DE" sz="1200" kern="1200" err="1">
              <a:solidFill>
                <a:srgbClr val="000000"/>
              </a:solidFill>
              <a:latin typeface="+mn-lt"/>
              <a:cs typeface="Arial"/>
            </a:rPr>
            <a:t>Freiberuflich</a:t>
          </a:r>
          <a:r>
            <a:rPr lang="en-GB" altLang="de-DE" sz="1200" kern="1200">
              <a:solidFill>
                <a:srgbClr val="000000"/>
              </a:solidFill>
              <a:latin typeface="+mn-lt"/>
              <a:cs typeface="Arial"/>
            </a:rPr>
            <a:t> Tätige</a:t>
          </a:r>
        </a:p>
      </dsp:txBody>
      <dsp:txXfrm rot="-5400000">
        <a:off x="3275859" y="1316889"/>
        <a:ext cx="7967796" cy="998390"/>
      </dsp:txXfrm>
    </dsp:sp>
    <dsp:sp modelId="{6282B259-D810-400D-AF6A-A79E8F7BBC6B}">
      <dsp:nvSpPr>
        <dsp:cNvPr id="0" name=""/>
        <dsp:cNvSpPr/>
      </dsp:nvSpPr>
      <dsp:spPr>
        <a:xfrm>
          <a:off x="223" y="1261283"/>
          <a:ext cx="3221625" cy="1109601"/>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WER?</a:t>
          </a:r>
          <a:endParaRPr lang="en-GB" sz="2000" b="1" kern="1200"/>
        </a:p>
      </dsp:txBody>
      <dsp:txXfrm>
        <a:off x="54389" y="1315449"/>
        <a:ext cx="3113293" cy="1001269"/>
      </dsp:txXfrm>
    </dsp:sp>
    <dsp:sp modelId="{42205B36-F6FD-4A61-8A6C-F7C8A06C6790}">
      <dsp:nvSpPr>
        <dsp:cNvPr id="0" name=""/>
        <dsp:cNvSpPr/>
      </dsp:nvSpPr>
      <dsp:spPr>
        <a:xfrm rot="5400000">
          <a:off x="6908338" y="-1300974"/>
          <a:ext cx="717460" cy="8083429"/>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de-DE" altLang="de-DE" sz="1200" kern="1200">
              <a:latin typeface="+mn-lt"/>
            </a:rPr>
            <a:t>25 % der gesamten Investitionskosten, 35 % für mittlere Unternehmen und 45 % für kleine Unternehmen; Zinsverbilligung von max. 0,5 Prozentpunkten; Max. 20 Mio. € pro Vorhaben</a:t>
          </a:r>
          <a:endParaRPr lang="en-GB" sz="1200" kern="1200">
            <a:latin typeface="+mn-lt"/>
          </a:endParaRPr>
        </a:p>
        <a:p>
          <a:pPr marL="114300" lvl="1" indent="-114300" algn="l" defTabSz="533400">
            <a:lnSpc>
              <a:spcPct val="90000"/>
            </a:lnSpc>
            <a:spcBef>
              <a:spcPct val="0"/>
            </a:spcBef>
            <a:spcAft>
              <a:spcPct val="15000"/>
            </a:spcAft>
            <a:buChar char="•"/>
          </a:pPr>
          <a:r>
            <a:rPr lang="de-DE" altLang="de-DE" sz="1200" kern="1200">
              <a:latin typeface="+mn-lt"/>
            </a:rPr>
            <a:t>Beihilferechtliche Vorgaben: Art. 38 AGVO</a:t>
          </a:r>
          <a:endParaRPr lang="en-GB" altLang="de-DE" sz="1200" kern="1200">
            <a:latin typeface="+mn-lt"/>
          </a:endParaRPr>
        </a:p>
      </dsp:txBody>
      <dsp:txXfrm rot="-5400000">
        <a:off x="3260378" y="2417034"/>
        <a:ext cx="8013381" cy="647412"/>
      </dsp:txXfrm>
    </dsp:sp>
    <dsp:sp modelId="{E2E438A6-5F37-4E34-923A-0CA8673CDF3A}">
      <dsp:nvSpPr>
        <dsp:cNvPr id="0" name=""/>
        <dsp:cNvSpPr/>
      </dsp:nvSpPr>
      <dsp:spPr>
        <a:xfrm>
          <a:off x="223" y="2382290"/>
          <a:ext cx="3225131" cy="716900"/>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WIE VIEL?</a:t>
          </a:r>
          <a:endParaRPr lang="en-GB" sz="2000" b="1" kern="1200"/>
        </a:p>
      </dsp:txBody>
      <dsp:txXfrm>
        <a:off x="35219" y="2417286"/>
        <a:ext cx="3155139" cy="646908"/>
      </dsp:txXfrm>
    </dsp:sp>
    <dsp:sp modelId="{600B0FCE-F633-4F00-B20F-1253DB6B5E6E}">
      <dsp:nvSpPr>
        <dsp:cNvPr id="0" name=""/>
        <dsp:cNvSpPr/>
      </dsp:nvSpPr>
      <dsp:spPr>
        <a:xfrm rot="5400000">
          <a:off x="6988113" y="-651695"/>
          <a:ext cx="554910" cy="8080400"/>
        </a:xfrm>
        <a:prstGeom prst="roundRect">
          <a:avLst/>
        </a:prstGeom>
        <a:solidFill>
          <a:srgbClr val="FEEAE8">
            <a:alpha val="90000"/>
          </a:srgbClr>
        </a:solidFill>
        <a:ln w="63500" cap="rnd" cmpd="sng" algn="ctr">
          <a:solidFill>
            <a:schemeClr val="bg1">
              <a:alpha val="90000"/>
            </a:schemeClr>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0" lvl="1" indent="0" algn="l" defTabSz="533400">
            <a:lnSpc>
              <a:spcPct val="90000"/>
            </a:lnSpc>
            <a:spcBef>
              <a:spcPct val="0"/>
            </a:spcBef>
            <a:spcAft>
              <a:spcPct val="15000"/>
            </a:spcAft>
            <a:buNone/>
          </a:pPr>
          <a:r>
            <a:rPr lang="en-GB" altLang="de-DE" sz="1200" kern="1200">
              <a:solidFill>
                <a:schemeClr val="tx1"/>
              </a:solidFill>
              <a:latin typeface="+mn-lt"/>
              <a:hlinkClick xmlns:r="http://schemas.openxmlformats.org/officeDocument/2006/relationships" r:id="rId1">
                <a:extLst>
                  <a:ext uri="{A12FA001-AC4F-418D-AE19-62706E023703}">
                    <ahyp:hlinkClr xmlns:ahyp="http://schemas.microsoft.com/office/drawing/2018/hyperlinkcolor" val="tx"/>
                  </a:ext>
                </a:extLst>
              </a:hlinkClick>
            </a:rPr>
            <a:t>https://www.bafa.de/DE/Energie/Energieeffizienz/Energieeffizienz_und_Prozesswaerme/Modul3_Energiemanagementsysteme/modul3_energiemanagementsysteme_node.html</a:t>
          </a:r>
          <a:endParaRPr lang="en-GB" sz="1200" kern="1200">
            <a:solidFill>
              <a:schemeClr val="tx1"/>
            </a:solidFill>
            <a:latin typeface="+mn-lt"/>
          </a:endParaRPr>
        </a:p>
      </dsp:txBody>
      <dsp:txXfrm rot="-5400000">
        <a:off x="3252456" y="3138138"/>
        <a:ext cx="8026224" cy="500734"/>
      </dsp:txXfrm>
    </dsp:sp>
    <dsp:sp modelId="{C8A9DE35-1CD6-4E88-9A7A-CD82966A87BF}">
      <dsp:nvSpPr>
        <dsp:cNvPr id="0" name=""/>
        <dsp:cNvSpPr/>
      </dsp:nvSpPr>
      <dsp:spPr>
        <a:xfrm>
          <a:off x="223" y="3110595"/>
          <a:ext cx="3225145" cy="555817"/>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WO?</a:t>
          </a:r>
          <a:endParaRPr lang="en-GB" sz="2000" b="1" kern="1200"/>
        </a:p>
      </dsp:txBody>
      <dsp:txXfrm>
        <a:off x="27356" y="3137728"/>
        <a:ext cx="3170879" cy="501551"/>
      </dsp:txXfrm>
    </dsp:sp>
    <dsp:sp modelId="{BCBFAC89-216D-4DFF-897D-8C47A404ADDC}">
      <dsp:nvSpPr>
        <dsp:cNvPr id="0" name=""/>
        <dsp:cNvSpPr/>
      </dsp:nvSpPr>
      <dsp:spPr>
        <a:xfrm rot="5400000">
          <a:off x="7070847" y="-170640"/>
          <a:ext cx="389988" cy="8087229"/>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None/>
          </a:pPr>
          <a:r>
            <a:rPr lang="en-GB" sz="1200" strike="noStrike" kern="1200">
              <a:latin typeface="+mn-lt"/>
            </a:rPr>
            <a:t>31.12.2028</a:t>
          </a:r>
          <a:endParaRPr lang="en-GB" sz="1200" strike="sngStrike" kern="1200">
            <a:highlight>
              <a:srgbClr val="FFFF00"/>
            </a:highlight>
            <a:latin typeface="+mn-lt"/>
          </a:endParaRPr>
        </a:p>
      </dsp:txBody>
      <dsp:txXfrm rot="-5400000">
        <a:off x="3241265" y="3697018"/>
        <a:ext cx="8049153" cy="351912"/>
      </dsp:txXfrm>
    </dsp:sp>
    <dsp:sp modelId="{36DCF81B-4ED1-4AD8-B27C-5FE0EF7F2B66}">
      <dsp:nvSpPr>
        <dsp:cNvPr id="0" name=""/>
        <dsp:cNvSpPr/>
      </dsp:nvSpPr>
      <dsp:spPr>
        <a:xfrm>
          <a:off x="223" y="3677538"/>
          <a:ext cx="3222004" cy="390872"/>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BIS WANN?</a:t>
          </a:r>
          <a:endParaRPr lang="en-GB" sz="2000" b="1" kern="1200"/>
        </a:p>
      </dsp:txBody>
      <dsp:txXfrm>
        <a:off x="19304" y="3696619"/>
        <a:ext cx="3183842" cy="35271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830C8F-A2AE-4990-90BF-6D9758F800E7}">
      <dsp:nvSpPr>
        <dsp:cNvPr id="0" name=""/>
        <dsp:cNvSpPr/>
      </dsp:nvSpPr>
      <dsp:spPr>
        <a:xfrm rot="5400000">
          <a:off x="7008504" y="-3786804"/>
          <a:ext cx="498008" cy="8073317"/>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rtl="0">
            <a:lnSpc>
              <a:spcPct val="90000"/>
            </a:lnSpc>
            <a:spcBef>
              <a:spcPct val="0"/>
            </a:spcBef>
            <a:spcAft>
              <a:spcPct val="15000"/>
            </a:spcAft>
            <a:buChar char="•"/>
          </a:pPr>
          <a:r>
            <a:rPr lang="de-DE" altLang="de-DE" sz="1200" b="0" kern="1200" dirty="0">
              <a:solidFill>
                <a:srgbClr val="000000"/>
              </a:solidFill>
              <a:cs typeface="Arial"/>
            </a:rPr>
            <a:t>Langfristige Konzepte zur Dekarbonisierung von Unternehmen (mindestens 40% THG-Reduzierung in 10 Jahren</a:t>
          </a:r>
          <a:r>
            <a:rPr lang="de-DE" altLang="de-DE" sz="1200" b="0" kern="1200" dirty="0">
              <a:latin typeface="Segoe UI"/>
              <a:cs typeface="Arial"/>
            </a:rPr>
            <a:t>); </a:t>
          </a:r>
          <a:r>
            <a:rPr lang="de-DE" altLang="de-DE" sz="1200" b="0" kern="1200" dirty="0">
              <a:ln>
                <a:noFill/>
              </a:ln>
              <a:latin typeface="Segoe UI"/>
              <a:cs typeface="Arial"/>
            </a:rPr>
            <a:t>Antragstellung läuft anders als bei Modulen 1-4 &amp; 6 über den Projektträger des Förderwettbewerbs</a:t>
          </a:r>
          <a:endParaRPr lang="en-GB" sz="1200" b="0" kern="1200" dirty="0">
            <a:ln>
              <a:noFill/>
            </a:ln>
            <a:latin typeface="+mn-lt"/>
            <a:ea typeface="+mn-lt"/>
            <a:cs typeface="Arial"/>
          </a:endParaRPr>
        </a:p>
      </dsp:txBody>
      <dsp:txXfrm rot="-5400000">
        <a:off x="3245161" y="25161"/>
        <a:ext cx="8024695" cy="449386"/>
      </dsp:txXfrm>
    </dsp:sp>
    <dsp:sp modelId="{9C1950A7-783E-48B6-8E92-F40F44EBAD14}">
      <dsp:nvSpPr>
        <dsp:cNvPr id="0" name=""/>
        <dsp:cNvSpPr/>
      </dsp:nvSpPr>
      <dsp:spPr>
        <a:xfrm>
          <a:off x="222" y="2103"/>
          <a:ext cx="3220627" cy="495500"/>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dirty="0"/>
            <a:t>WAS?</a:t>
          </a:r>
          <a:endParaRPr lang="en-GB" sz="2000" b="1" kern="1200" dirty="0"/>
        </a:p>
      </dsp:txBody>
      <dsp:txXfrm>
        <a:off x="24410" y="26291"/>
        <a:ext cx="3172251" cy="447124"/>
      </dsp:txXfrm>
    </dsp:sp>
    <dsp:sp modelId="{C3CA0957-EF4F-46A9-B14B-C34909532529}">
      <dsp:nvSpPr>
        <dsp:cNvPr id="0" name=""/>
        <dsp:cNvSpPr/>
      </dsp:nvSpPr>
      <dsp:spPr>
        <a:xfrm rot="5400000">
          <a:off x="6632656" y="-2898580"/>
          <a:ext cx="1249706" cy="8073317"/>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Font typeface="Arial" panose="020B0604020202020204" pitchFamily="34" charset="0"/>
            <a:buChar char="•"/>
          </a:pPr>
          <a:r>
            <a:rPr lang="en-GB" altLang="de-DE" sz="1200" kern="1200" dirty="0">
              <a:solidFill>
                <a:srgbClr val="000000"/>
              </a:solidFill>
              <a:latin typeface="+mn-lt"/>
              <a:cs typeface="Arial"/>
            </a:rPr>
            <a:t>Private </a:t>
          </a:r>
          <a:r>
            <a:rPr lang="en-GB" altLang="de-DE" sz="1200" kern="1200" dirty="0" err="1">
              <a:solidFill>
                <a:srgbClr val="000000"/>
              </a:solidFill>
              <a:latin typeface="+mn-lt"/>
              <a:cs typeface="Arial"/>
            </a:rPr>
            <a:t>Unternehmen</a:t>
          </a:r>
          <a:endParaRPr lang="en-GB" sz="1200" kern="1200" dirty="0">
            <a:latin typeface="+mn-lt"/>
            <a:cs typeface="Arial"/>
          </a:endParaRPr>
        </a:p>
        <a:p>
          <a:pPr marL="114300" lvl="1" indent="-114300" algn="l" defTabSz="533400">
            <a:lnSpc>
              <a:spcPct val="90000"/>
            </a:lnSpc>
            <a:spcBef>
              <a:spcPct val="0"/>
            </a:spcBef>
            <a:spcAft>
              <a:spcPct val="15000"/>
            </a:spcAft>
            <a:buFont typeface="Arial" panose="020B0604020202020204" pitchFamily="34" charset="0"/>
            <a:buChar char="•"/>
          </a:pPr>
          <a:r>
            <a:rPr lang="en-GB" altLang="de-DE" sz="1200" kern="1200" dirty="0" err="1">
              <a:solidFill>
                <a:srgbClr val="000000"/>
              </a:solidFill>
              <a:latin typeface="+mn-lt"/>
              <a:cs typeface="Arial"/>
            </a:rPr>
            <a:t>Contractoren</a:t>
          </a:r>
          <a:r>
            <a:rPr lang="en-GB" altLang="de-DE" sz="1200" kern="1200" dirty="0">
              <a:solidFill>
                <a:srgbClr val="000000"/>
              </a:solidFill>
              <a:latin typeface="+mn-lt"/>
              <a:cs typeface="Arial"/>
            </a:rPr>
            <a:t> </a:t>
          </a:r>
          <a:r>
            <a:rPr lang="en-GB" altLang="de-DE" sz="1200" strike="noStrike" kern="1200" dirty="0" err="1">
              <a:solidFill>
                <a:srgbClr val="000000"/>
              </a:solidFill>
              <a:latin typeface="+mn-lt"/>
              <a:cs typeface="Arial"/>
            </a:rPr>
            <a:t>im</a:t>
          </a:r>
          <a:r>
            <a:rPr lang="en-GB" altLang="de-DE" sz="1200" strike="noStrike" kern="1200" dirty="0">
              <a:solidFill>
                <a:srgbClr val="000000"/>
              </a:solidFill>
              <a:latin typeface="+mn-lt"/>
              <a:cs typeface="Arial"/>
            </a:rPr>
            <a:t> </a:t>
          </a:r>
          <a:r>
            <a:rPr lang="en-GB" altLang="de-DE" sz="1200" strike="noStrike" kern="1200" dirty="0" err="1">
              <a:solidFill>
                <a:srgbClr val="000000"/>
              </a:solidFill>
              <a:latin typeface="+mn-lt"/>
              <a:cs typeface="Arial"/>
            </a:rPr>
            <a:t>Auftrag</a:t>
          </a:r>
          <a:r>
            <a:rPr lang="en-GB" altLang="de-DE" sz="1200" strike="noStrike" kern="1200" dirty="0">
              <a:solidFill>
                <a:srgbClr val="000000"/>
              </a:solidFill>
              <a:latin typeface="+mn-lt"/>
              <a:cs typeface="Arial"/>
            </a:rPr>
            <a:t> von </a:t>
          </a:r>
          <a:r>
            <a:rPr lang="en-GB" altLang="de-DE" sz="1200" strike="noStrike" kern="1200" dirty="0" err="1">
              <a:solidFill>
                <a:srgbClr val="000000"/>
              </a:solidFill>
              <a:latin typeface="+mn-lt"/>
              <a:cs typeface="Arial"/>
            </a:rPr>
            <a:t>antragsberechtigten</a:t>
          </a:r>
          <a:r>
            <a:rPr lang="en-GB" altLang="de-DE" sz="1200" strike="noStrike" kern="1200" dirty="0">
              <a:solidFill>
                <a:srgbClr val="000000"/>
              </a:solidFill>
              <a:latin typeface="+mn-lt"/>
              <a:cs typeface="Arial"/>
            </a:rPr>
            <a:t> </a:t>
          </a:r>
          <a:r>
            <a:rPr lang="en-GB" altLang="de-DE" sz="1200" strike="noStrike" kern="1200" dirty="0" err="1">
              <a:solidFill>
                <a:srgbClr val="000000"/>
              </a:solidFill>
              <a:latin typeface="+mn-lt"/>
              <a:cs typeface="Arial"/>
            </a:rPr>
            <a:t>Unternehmen</a:t>
          </a:r>
          <a:endParaRPr lang="en-GB" altLang="de-DE" sz="1200" kern="1200" dirty="0">
            <a:solidFill>
              <a:srgbClr val="000000"/>
            </a:solidFill>
            <a:latin typeface="+mn-lt"/>
            <a:cs typeface="Arial"/>
          </a:endParaRPr>
        </a:p>
        <a:p>
          <a:pPr marL="114300" lvl="1" indent="-114300" algn="l" defTabSz="533400">
            <a:lnSpc>
              <a:spcPct val="90000"/>
            </a:lnSpc>
            <a:spcBef>
              <a:spcPct val="0"/>
            </a:spcBef>
            <a:spcAft>
              <a:spcPct val="15000"/>
            </a:spcAft>
            <a:buFont typeface="Arial" panose="020B0604020202020204" pitchFamily="34" charset="0"/>
            <a:buChar char="•"/>
          </a:pPr>
          <a:r>
            <a:rPr lang="en-GB" altLang="de-DE" sz="1200" kern="1200" dirty="0" err="1">
              <a:solidFill>
                <a:srgbClr val="000000"/>
              </a:solidFill>
              <a:latin typeface="+mn-lt"/>
              <a:cs typeface="Arial"/>
            </a:rPr>
            <a:t>Kommunale</a:t>
          </a:r>
          <a:r>
            <a:rPr lang="en-GB" altLang="de-DE" sz="1200" kern="1200" dirty="0">
              <a:solidFill>
                <a:srgbClr val="000000"/>
              </a:solidFill>
              <a:latin typeface="+mn-lt"/>
              <a:cs typeface="Arial"/>
            </a:rPr>
            <a:t> </a:t>
          </a:r>
          <a:r>
            <a:rPr lang="en-GB" altLang="de-DE" sz="1200" kern="1200" dirty="0" err="1">
              <a:solidFill>
                <a:srgbClr val="000000"/>
              </a:solidFill>
              <a:latin typeface="+mn-lt"/>
              <a:cs typeface="Arial"/>
            </a:rPr>
            <a:t>Unternehmen</a:t>
          </a:r>
          <a:r>
            <a:rPr lang="en-GB" altLang="de-DE" sz="1200" kern="1200" dirty="0">
              <a:solidFill>
                <a:srgbClr val="000000"/>
              </a:solidFill>
              <a:latin typeface="+mn-lt"/>
              <a:cs typeface="Arial"/>
            </a:rPr>
            <a:t>, </a:t>
          </a:r>
          <a:r>
            <a:rPr lang="en-GB" altLang="de-DE" sz="1200" kern="1200" dirty="0" err="1">
              <a:solidFill>
                <a:srgbClr val="000000"/>
              </a:solidFill>
              <a:latin typeface="+mn-lt"/>
              <a:cs typeface="Arial"/>
            </a:rPr>
            <a:t>Landesunternehmen</a:t>
          </a:r>
          <a:endParaRPr lang="en-GB" altLang="de-DE" sz="1200" kern="1200" dirty="0">
            <a:solidFill>
              <a:srgbClr val="000000"/>
            </a:solidFill>
            <a:latin typeface="+mn-lt"/>
            <a:cs typeface="Arial"/>
          </a:endParaRPr>
        </a:p>
        <a:p>
          <a:pPr marL="114300" lvl="1" indent="-114300" algn="l" defTabSz="533400">
            <a:lnSpc>
              <a:spcPct val="90000"/>
            </a:lnSpc>
            <a:spcBef>
              <a:spcPct val="0"/>
            </a:spcBef>
            <a:spcAft>
              <a:spcPct val="15000"/>
            </a:spcAft>
            <a:buFont typeface="Arial" panose="020B0604020202020204" pitchFamily="34" charset="0"/>
            <a:buChar char="•"/>
          </a:pPr>
          <a:r>
            <a:rPr lang="en-GB" altLang="de-DE" sz="1200" kern="1200" dirty="0" err="1">
              <a:solidFill>
                <a:srgbClr val="000000"/>
              </a:solidFill>
              <a:latin typeface="+mn-lt"/>
              <a:cs typeface="Arial"/>
            </a:rPr>
            <a:t>Freiberuflich</a:t>
          </a:r>
          <a:r>
            <a:rPr lang="en-GB" altLang="de-DE" sz="1200" kern="1200" dirty="0">
              <a:solidFill>
                <a:srgbClr val="000000"/>
              </a:solidFill>
              <a:latin typeface="+mn-lt"/>
              <a:cs typeface="Arial"/>
            </a:rPr>
            <a:t> </a:t>
          </a:r>
          <a:r>
            <a:rPr lang="en-GB" altLang="de-DE" sz="1200" kern="1200" dirty="0" err="1">
              <a:solidFill>
                <a:srgbClr val="000000"/>
              </a:solidFill>
              <a:latin typeface="+mn-lt"/>
              <a:cs typeface="Arial"/>
            </a:rPr>
            <a:t>Tätige</a:t>
          </a:r>
          <a:endParaRPr lang="en-GB" altLang="de-DE" sz="1200" kern="1200" dirty="0">
            <a:solidFill>
              <a:srgbClr val="000000"/>
            </a:solidFill>
            <a:latin typeface="+mn-lt"/>
            <a:cs typeface="Arial"/>
          </a:endParaRPr>
        </a:p>
      </dsp:txBody>
      <dsp:txXfrm rot="-5400000">
        <a:off x="3281857" y="574231"/>
        <a:ext cx="7951305" cy="1127694"/>
      </dsp:txXfrm>
    </dsp:sp>
    <dsp:sp modelId="{6282B259-D810-400D-AF6A-A79E8F7BBC6B}">
      <dsp:nvSpPr>
        <dsp:cNvPr id="0" name=""/>
        <dsp:cNvSpPr/>
      </dsp:nvSpPr>
      <dsp:spPr>
        <a:xfrm>
          <a:off x="222" y="511423"/>
          <a:ext cx="3220627" cy="1253308"/>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dirty="0"/>
            <a:t>WER?</a:t>
          </a:r>
          <a:endParaRPr lang="en-GB" sz="2000" b="1" kern="1200" dirty="0"/>
        </a:p>
      </dsp:txBody>
      <dsp:txXfrm>
        <a:off x="61403" y="572604"/>
        <a:ext cx="3098265" cy="1130946"/>
      </dsp:txXfrm>
    </dsp:sp>
    <dsp:sp modelId="{42205B36-F6FD-4A61-8A6C-F7C8A06C6790}">
      <dsp:nvSpPr>
        <dsp:cNvPr id="0" name=""/>
        <dsp:cNvSpPr/>
      </dsp:nvSpPr>
      <dsp:spPr>
        <a:xfrm rot="5400000">
          <a:off x="6859627" y="-1857973"/>
          <a:ext cx="810380" cy="8080925"/>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rtl="0">
            <a:lnSpc>
              <a:spcPct val="90000"/>
            </a:lnSpc>
            <a:spcBef>
              <a:spcPct val="0"/>
            </a:spcBef>
            <a:spcAft>
              <a:spcPct val="15000"/>
            </a:spcAft>
            <a:buChar char="•"/>
          </a:pPr>
          <a:r>
            <a:rPr lang="de-DE" altLang="de-DE" sz="1200" kern="1200" dirty="0">
              <a:latin typeface="+mn-lt"/>
            </a:rPr>
            <a:t>40 % der förderfähigen Kosten, 50 % für mittlere Unternehmen und 60 % für kleine Unternehmen + 10 Prozentpunkte </a:t>
          </a:r>
          <a:r>
            <a:rPr lang="en-GB" altLang="de-DE" sz="1200" kern="1200" dirty="0" err="1">
              <a:latin typeface="+mn-lt"/>
            </a:rPr>
            <a:t>bei</a:t>
          </a:r>
          <a:r>
            <a:rPr lang="en-GB" altLang="de-DE" sz="1200" kern="1200" dirty="0">
              <a:latin typeface="+mn-lt"/>
            </a:rPr>
            <a:t> </a:t>
          </a:r>
          <a:r>
            <a:rPr lang="en-GB" altLang="de-DE" sz="1200" kern="1200" dirty="0" err="1">
              <a:latin typeface="+mn-lt"/>
            </a:rPr>
            <a:t>Mitgliedschaft</a:t>
          </a:r>
          <a:r>
            <a:rPr lang="en-GB" altLang="de-DE" sz="1200" kern="1200" dirty="0">
              <a:latin typeface="+mn-lt"/>
            </a:rPr>
            <a:t> in der Initiative </a:t>
          </a:r>
          <a:r>
            <a:rPr lang="en-GB" altLang="de-DE" sz="1200" kern="1200" dirty="0" err="1">
              <a:latin typeface="+mn-lt"/>
            </a:rPr>
            <a:t>Energieeffizienz</a:t>
          </a:r>
          <a:r>
            <a:rPr lang="en-GB" altLang="de-DE" sz="1200" kern="1200" dirty="0">
              <a:latin typeface="+mn-lt"/>
            </a:rPr>
            <a:t>- und </a:t>
          </a:r>
          <a:r>
            <a:rPr lang="en-GB" altLang="de-DE" sz="1200" kern="1200" dirty="0" err="1">
              <a:latin typeface="+mn-lt"/>
            </a:rPr>
            <a:t>Klimaschutz-Netzwerke</a:t>
          </a:r>
          <a:r>
            <a:rPr lang="en-GB" altLang="de-DE" sz="1200" kern="1200" dirty="0">
              <a:latin typeface="+mn-lt"/>
            </a:rPr>
            <a:t> (IEEKN)</a:t>
          </a:r>
        </a:p>
        <a:p>
          <a:pPr marL="114300" lvl="1" indent="-114300" algn="l" defTabSz="533400">
            <a:lnSpc>
              <a:spcPct val="90000"/>
            </a:lnSpc>
            <a:spcBef>
              <a:spcPct val="0"/>
            </a:spcBef>
            <a:spcAft>
              <a:spcPct val="15000"/>
            </a:spcAft>
            <a:buChar char="•"/>
          </a:pPr>
          <a:r>
            <a:rPr lang="en-GB" altLang="de-DE" sz="1200" kern="1200" dirty="0">
              <a:latin typeface="+mn-lt"/>
            </a:rPr>
            <a:t>Max. 60.000 € pro </a:t>
          </a:r>
          <a:r>
            <a:rPr lang="en-GB" altLang="de-DE" sz="1200" kern="1200" dirty="0" err="1">
              <a:latin typeface="+mn-lt"/>
            </a:rPr>
            <a:t>Vorhaben</a:t>
          </a:r>
          <a:r>
            <a:rPr lang="en-GB" altLang="de-DE" sz="1200" kern="1200" dirty="0">
              <a:latin typeface="+mn-lt"/>
            </a:rPr>
            <a:t>, max. 30.000 € </a:t>
          </a:r>
          <a:r>
            <a:rPr lang="en-GB" altLang="de-DE" sz="1200" kern="1200" dirty="0" err="1">
              <a:latin typeface="+mn-lt"/>
            </a:rPr>
            <a:t>zusätzlich</a:t>
          </a:r>
          <a:r>
            <a:rPr lang="en-GB" altLang="de-DE" sz="1200" kern="1200" dirty="0">
              <a:latin typeface="+mn-lt"/>
            </a:rPr>
            <a:t> pro </a:t>
          </a:r>
          <a:r>
            <a:rPr lang="en-GB" altLang="de-DE" sz="1200" kern="1200" dirty="0" err="1">
              <a:latin typeface="+mn-lt"/>
            </a:rPr>
            <a:t>Vorhaben</a:t>
          </a:r>
          <a:r>
            <a:rPr lang="en-GB" altLang="de-DE" sz="1200" kern="1200" dirty="0">
              <a:latin typeface="+mn-lt"/>
            </a:rPr>
            <a:t> für IEEKN-</a:t>
          </a:r>
          <a:r>
            <a:rPr lang="en-GB" altLang="de-DE" sz="1200" kern="1200" dirty="0" err="1">
              <a:latin typeface="+mn-lt"/>
            </a:rPr>
            <a:t>Unternehmen</a:t>
          </a:r>
          <a:endParaRPr lang="de-DE" kern="1200" dirty="0"/>
        </a:p>
        <a:p>
          <a:pPr marL="114300" lvl="1" indent="-114300" algn="l" defTabSz="533400">
            <a:lnSpc>
              <a:spcPct val="90000"/>
            </a:lnSpc>
            <a:spcBef>
              <a:spcPct val="0"/>
            </a:spcBef>
            <a:spcAft>
              <a:spcPct val="15000"/>
            </a:spcAft>
            <a:buChar char="•"/>
          </a:pPr>
          <a:r>
            <a:rPr lang="de-DE" altLang="de-DE" sz="1200" kern="1200" dirty="0">
              <a:latin typeface="+mn-lt"/>
            </a:rPr>
            <a:t>Beihilferechtliche Vorgaben: Art. 49 AGVO „Erstellung von Umweltstudien“</a:t>
          </a:r>
          <a:endParaRPr lang="en-GB" altLang="de-DE" sz="1200" kern="1200" dirty="0">
            <a:latin typeface="+mn-lt"/>
          </a:endParaRPr>
        </a:p>
      </dsp:txBody>
      <dsp:txXfrm rot="-5400000">
        <a:off x="3263914" y="1816858"/>
        <a:ext cx="8001807" cy="731262"/>
      </dsp:txXfrm>
    </dsp:sp>
    <dsp:sp modelId="{E2E438A6-5F37-4E34-923A-0CA8673CDF3A}">
      <dsp:nvSpPr>
        <dsp:cNvPr id="0" name=""/>
        <dsp:cNvSpPr/>
      </dsp:nvSpPr>
      <dsp:spPr>
        <a:xfrm>
          <a:off x="222" y="1777615"/>
          <a:ext cx="3224132" cy="809747"/>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dirty="0"/>
            <a:t>WIE VIEL?</a:t>
          </a:r>
          <a:endParaRPr lang="en-GB" sz="2000" b="1" kern="1200" dirty="0"/>
        </a:p>
      </dsp:txBody>
      <dsp:txXfrm>
        <a:off x="39751" y="1817144"/>
        <a:ext cx="3145074" cy="730689"/>
      </dsp:txXfrm>
    </dsp:sp>
    <dsp:sp modelId="{600B0FCE-F633-4F00-B20F-1253DB6B5E6E}">
      <dsp:nvSpPr>
        <dsp:cNvPr id="0" name=""/>
        <dsp:cNvSpPr/>
      </dsp:nvSpPr>
      <dsp:spPr>
        <a:xfrm rot="5400000">
          <a:off x="6949929" y="-1124802"/>
          <a:ext cx="626778" cy="8077898"/>
        </a:xfrm>
        <a:prstGeom prst="roundRect">
          <a:avLst/>
        </a:prstGeom>
        <a:solidFill>
          <a:srgbClr val="FEEAE8">
            <a:alpha val="90000"/>
          </a:srgbClr>
        </a:solidFill>
        <a:ln w="63500" cap="rnd" cmpd="sng" algn="ctr">
          <a:solidFill>
            <a:schemeClr val="bg1">
              <a:alpha val="90000"/>
            </a:schemeClr>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0" lvl="1" indent="0" algn="l" defTabSz="533400" rtl="0">
            <a:lnSpc>
              <a:spcPct val="90000"/>
            </a:lnSpc>
            <a:spcBef>
              <a:spcPct val="0"/>
            </a:spcBef>
            <a:spcAft>
              <a:spcPct val="15000"/>
            </a:spcAft>
            <a:buNone/>
          </a:pPr>
          <a:r>
            <a:rPr lang="en-GB" sz="1200" kern="1200">
              <a:solidFill>
                <a:schemeClr val="tx1"/>
              </a:solidFill>
              <a:latin typeface="+mj-lt"/>
              <a:hlinkClick xmlns:r="http://schemas.openxmlformats.org/officeDocument/2006/relationships" r:id="rId1">
                <a:extLst>
                  <a:ext uri="{A12FA001-AC4F-418D-AE19-62706E023703}">
                    <ahyp:hlinkClr xmlns:ahyp="http://schemas.microsoft.com/office/drawing/2018/hyperlinkcolor" val="tx"/>
                  </a:ext>
                </a:extLst>
              </a:hlinkClick>
            </a:rPr>
            <a:t>https://www.bafa.de/DE/Energie/Energieeffizienz/Energieeffizienz_und_Prozesswaerme/Modul5_Transformationsplaene/modul5_transformationsplaene_node.html</a:t>
          </a:r>
          <a:r>
            <a:rPr lang="en-GB" sz="1200" kern="1200">
              <a:solidFill>
                <a:schemeClr val="tx1"/>
              </a:solidFill>
              <a:latin typeface="+mj-lt"/>
            </a:rPr>
            <a:t> </a:t>
          </a:r>
        </a:p>
      </dsp:txBody>
      <dsp:txXfrm rot="-5400000">
        <a:off x="3254966" y="2631355"/>
        <a:ext cx="8016704" cy="565584"/>
      </dsp:txXfrm>
    </dsp:sp>
    <dsp:sp modelId="{C8A9DE35-1CD6-4E88-9A7A-CD82966A87BF}">
      <dsp:nvSpPr>
        <dsp:cNvPr id="0" name=""/>
        <dsp:cNvSpPr/>
      </dsp:nvSpPr>
      <dsp:spPr>
        <a:xfrm>
          <a:off x="222" y="2600245"/>
          <a:ext cx="3224146" cy="627802"/>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dirty="0"/>
            <a:t>WO?</a:t>
          </a:r>
          <a:endParaRPr lang="en-GB" sz="2000" b="1" kern="1200" dirty="0"/>
        </a:p>
      </dsp:txBody>
      <dsp:txXfrm>
        <a:off x="30869" y="2630892"/>
        <a:ext cx="3162852" cy="566508"/>
      </dsp:txXfrm>
    </dsp:sp>
    <dsp:sp modelId="{BCBFAC89-216D-4DFF-897D-8C47A404ADDC}">
      <dsp:nvSpPr>
        <dsp:cNvPr id="0" name=""/>
        <dsp:cNvSpPr/>
      </dsp:nvSpPr>
      <dsp:spPr>
        <a:xfrm rot="5400000">
          <a:off x="7043342" y="-581000"/>
          <a:ext cx="440497" cy="8084724"/>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rtl="0">
            <a:lnSpc>
              <a:spcPct val="90000"/>
            </a:lnSpc>
            <a:spcBef>
              <a:spcPct val="0"/>
            </a:spcBef>
            <a:spcAft>
              <a:spcPct val="15000"/>
            </a:spcAft>
            <a:buNone/>
          </a:pPr>
          <a:r>
            <a:rPr lang="en-GB" sz="1200" strike="noStrike" kern="1200" dirty="0">
              <a:latin typeface="+mn-lt"/>
            </a:rPr>
            <a:t>31.12.2028</a:t>
          </a:r>
          <a:endParaRPr lang="en-GB" sz="1200" strike="sngStrike" kern="1200" dirty="0">
            <a:highlight>
              <a:srgbClr val="FFFF00"/>
            </a:highlight>
            <a:latin typeface="+mn-lt"/>
          </a:endParaRPr>
        </a:p>
      </dsp:txBody>
      <dsp:txXfrm rot="-5400000">
        <a:off x="3242732" y="3262616"/>
        <a:ext cx="8041718" cy="397491"/>
      </dsp:txXfrm>
    </dsp:sp>
    <dsp:sp modelId="{36DCF81B-4ED1-4AD8-B27C-5FE0EF7F2B66}">
      <dsp:nvSpPr>
        <dsp:cNvPr id="0" name=""/>
        <dsp:cNvSpPr/>
      </dsp:nvSpPr>
      <dsp:spPr>
        <a:xfrm>
          <a:off x="222" y="3240613"/>
          <a:ext cx="3221006" cy="441495"/>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dirty="0"/>
            <a:t>BIS WANN?</a:t>
          </a:r>
          <a:endParaRPr lang="en-GB" sz="2000" b="1" kern="1200" dirty="0"/>
        </a:p>
      </dsp:txBody>
      <dsp:txXfrm>
        <a:off x="21774" y="3262165"/>
        <a:ext cx="3177902" cy="3983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830C8F-A2AE-4990-90BF-6D9758F800E7}">
      <dsp:nvSpPr>
        <dsp:cNvPr id="0" name=""/>
        <dsp:cNvSpPr/>
      </dsp:nvSpPr>
      <dsp:spPr>
        <a:xfrm rot="5400000">
          <a:off x="7008504" y="-3786804"/>
          <a:ext cx="498008" cy="8073317"/>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rtl="0">
            <a:lnSpc>
              <a:spcPct val="90000"/>
            </a:lnSpc>
            <a:spcBef>
              <a:spcPct val="0"/>
            </a:spcBef>
            <a:spcAft>
              <a:spcPct val="15000"/>
            </a:spcAft>
            <a:buChar char="•"/>
          </a:pPr>
          <a:r>
            <a:rPr lang="en-GB" sz="1200" kern="1200" err="1">
              <a:solidFill>
                <a:srgbClr val="000000"/>
              </a:solidFill>
              <a:latin typeface="Segoe UI"/>
              <a:ea typeface="+mn-ea"/>
              <a:cs typeface="Arial"/>
            </a:rPr>
            <a:t>Investitionen</a:t>
          </a:r>
          <a:r>
            <a:rPr lang="en-GB" sz="1200" kern="1200">
              <a:solidFill>
                <a:srgbClr val="000000"/>
              </a:solidFill>
              <a:latin typeface="Segoe UI"/>
              <a:ea typeface="+mn-ea"/>
              <a:cs typeface="Arial"/>
            </a:rPr>
            <a:t> (mind. 2000€) in den </a:t>
          </a:r>
          <a:r>
            <a:rPr lang="en-GB" sz="1200" kern="1200" err="1">
              <a:solidFill>
                <a:srgbClr val="000000"/>
              </a:solidFill>
              <a:latin typeface="Segoe UI"/>
              <a:ea typeface="+mn-ea"/>
              <a:cs typeface="Arial"/>
            </a:rPr>
            <a:t>Austausch</a:t>
          </a:r>
          <a:r>
            <a:rPr lang="en-GB" sz="1200" kern="1200">
              <a:solidFill>
                <a:srgbClr val="000000"/>
              </a:solidFill>
              <a:latin typeface="Segoe UI"/>
              <a:ea typeface="+mn-ea"/>
              <a:cs typeface="Arial"/>
            </a:rPr>
            <a:t> und die </a:t>
          </a:r>
          <a:r>
            <a:rPr lang="en-GB" sz="1200" kern="1200" err="1">
              <a:solidFill>
                <a:srgbClr val="000000"/>
              </a:solidFill>
              <a:latin typeface="Segoe UI"/>
              <a:ea typeface="+mn-ea"/>
              <a:cs typeface="Arial"/>
            </a:rPr>
            <a:t>Umrüstung</a:t>
          </a:r>
          <a:r>
            <a:rPr lang="en-GB" sz="1200" kern="1200">
              <a:solidFill>
                <a:srgbClr val="000000"/>
              </a:solidFill>
              <a:latin typeface="Segoe UI"/>
              <a:ea typeface="+mn-ea"/>
              <a:cs typeface="Arial"/>
            </a:rPr>
            <a:t> von </a:t>
          </a:r>
          <a:r>
            <a:rPr lang="en-GB" sz="1200" kern="1200" err="1">
              <a:solidFill>
                <a:srgbClr val="000000"/>
              </a:solidFill>
              <a:latin typeface="Segoe UI"/>
              <a:ea typeface="+mn-ea"/>
              <a:cs typeface="Arial"/>
            </a:rPr>
            <a:t>Produktionsanlagen</a:t>
          </a:r>
          <a:r>
            <a:rPr lang="en-GB" sz="1200" kern="1200">
              <a:solidFill>
                <a:srgbClr val="000000"/>
              </a:solidFill>
              <a:latin typeface="Segoe UI"/>
              <a:ea typeface="+mn-ea"/>
              <a:cs typeface="Arial"/>
            </a:rPr>
            <a:t> von </a:t>
          </a:r>
          <a:r>
            <a:rPr lang="en-GB" sz="1200" kern="1200" err="1">
              <a:solidFill>
                <a:srgbClr val="000000"/>
              </a:solidFill>
              <a:latin typeface="Segoe UI"/>
              <a:ea typeface="+mn-ea"/>
              <a:cs typeface="Arial"/>
            </a:rPr>
            <a:t>Erdgas</a:t>
          </a:r>
          <a:r>
            <a:rPr lang="en-GB" sz="1200" kern="1200">
              <a:solidFill>
                <a:srgbClr val="000000"/>
              </a:solidFill>
              <a:latin typeface="Segoe UI"/>
              <a:ea typeface="+mn-ea"/>
              <a:cs typeface="Arial"/>
            </a:rPr>
            <a:t>, Kohle </a:t>
          </a:r>
          <a:r>
            <a:rPr lang="en-GB" sz="1200" kern="1200" err="1">
              <a:solidFill>
                <a:srgbClr val="000000"/>
              </a:solidFill>
              <a:latin typeface="Segoe UI"/>
              <a:ea typeface="+mn-ea"/>
              <a:cs typeface="Arial"/>
            </a:rPr>
            <a:t>oder</a:t>
          </a:r>
          <a:r>
            <a:rPr lang="en-GB" sz="1200" kern="1200">
              <a:solidFill>
                <a:srgbClr val="000000"/>
              </a:solidFill>
              <a:latin typeface="Segoe UI"/>
              <a:ea typeface="+mn-ea"/>
              <a:cs typeface="Arial"/>
            </a:rPr>
            <a:t> </a:t>
          </a:r>
          <a:r>
            <a:rPr lang="en-GB" sz="1200" kern="1200" err="1">
              <a:solidFill>
                <a:srgbClr val="000000"/>
              </a:solidFill>
              <a:latin typeface="Segoe UI"/>
              <a:ea typeface="+mn-ea"/>
              <a:cs typeface="Arial"/>
            </a:rPr>
            <a:t>Mineralöl</a:t>
          </a:r>
          <a:r>
            <a:rPr lang="en-GB" sz="1200" kern="1200">
              <a:solidFill>
                <a:srgbClr val="000000"/>
              </a:solidFill>
              <a:latin typeface="Segoe UI"/>
              <a:ea typeface="+mn-ea"/>
              <a:cs typeface="Arial"/>
            </a:rPr>
            <a:t> </a:t>
          </a:r>
          <a:r>
            <a:rPr lang="en-GB" sz="1200" kern="1200" err="1">
              <a:solidFill>
                <a:srgbClr val="000000"/>
              </a:solidFill>
              <a:latin typeface="Segoe UI"/>
              <a:ea typeface="+mn-ea"/>
              <a:cs typeface="Arial"/>
            </a:rPr>
            <a:t>ausschließlich</a:t>
          </a:r>
          <a:r>
            <a:rPr lang="en-GB" sz="1200" kern="1200">
              <a:solidFill>
                <a:srgbClr val="000000"/>
              </a:solidFill>
              <a:latin typeface="Segoe UI"/>
              <a:ea typeface="+mn-ea"/>
              <a:cs typeface="Arial"/>
            </a:rPr>
            <a:t> auf Strom </a:t>
          </a:r>
          <a:r>
            <a:rPr lang="en-GB" sz="1200" kern="1200" err="1">
              <a:solidFill>
                <a:srgbClr val="000000"/>
              </a:solidFill>
              <a:latin typeface="Segoe UI"/>
              <a:ea typeface="+mn-ea"/>
              <a:cs typeface="Arial"/>
            </a:rPr>
            <a:t>oder</a:t>
          </a:r>
          <a:r>
            <a:rPr lang="en-GB" sz="1200" kern="1200">
              <a:solidFill>
                <a:srgbClr val="000000"/>
              </a:solidFill>
              <a:latin typeface="Segoe UI"/>
              <a:ea typeface="+mn-ea"/>
              <a:cs typeface="Arial"/>
            </a:rPr>
            <a:t> EE (</a:t>
          </a:r>
          <a:r>
            <a:rPr lang="en-GB" sz="1200" kern="1200" err="1">
              <a:solidFill>
                <a:srgbClr val="000000"/>
              </a:solidFill>
              <a:latin typeface="Segoe UI"/>
              <a:ea typeface="+mn-ea"/>
              <a:cs typeface="Arial"/>
            </a:rPr>
            <a:t>z.B.</a:t>
          </a:r>
          <a:r>
            <a:rPr lang="en-GB" sz="1200" kern="1200">
              <a:solidFill>
                <a:srgbClr val="000000"/>
              </a:solidFill>
              <a:latin typeface="Segoe UI"/>
              <a:ea typeface="+mn-ea"/>
              <a:cs typeface="Arial"/>
            </a:rPr>
            <a:t> </a:t>
          </a:r>
          <a:r>
            <a:rPr lang="en-GB" sz="1200" kern="1200" err="1">
              <a:solidFill>
                <a:srgbClr val="000000"/>
              </a:solidFill>
              <a:latin typeface="Segoe UI"/>
              <a:ea typeface="+mn-ea"/>
              <a:cs typeface="Arial"/>
            </a:rPr>
            <a:t>Wärmepumpen</a:t>
          </a:r>
          <a:r>
            <a:rPr lang="en-GB" sz="1200" kern="1200">
              <a:solidFill>
                <a:srgbClr val="000000"/>
              </a:solidFill>
              <a:latin typeface="Segoe UI"/>
              <a:ea typeface="+mn-ea"/>
              <a:cs typeface="Arial"/>
            </a:rPr>
            <a:t>, </a:t>
          </a:r>
          <a:r>
            <a:rPr lang="en-GB" sz="1200" kern="1200" err="1">
              <a:solidFill>
                <a:srgbClr val="000000"/>
              </a:solidFill>
              <a:latin typeface="Segoe UI"/>
              <a:ea typeface="+mn-ea"/>
              <a:cs typeface="Arial"/>
            </a:rPr>
            <a:t>Backöfen</a:t>
          </a:r>
          <a:r>
            <a:rPr lang="en-GB" sz="1200" kern="1200">
              <a:solidFill>
                <a:srgbClr val="000000"/>
              </a:solidFill>
              <a:latin typeface="Segoe UI"/>
              <a:ea typeface="+mn-ea"/>
              <a:cs typeface="Arial"/>
            </a:rPr>
            <a:t>, </a:t>
          </a:r>
          <a:r>
            <a:rPr lang="en-GB" sz="1200" kern="1200" err="1">
              <a:solidFill>
                <a:srgbClr val="000000"/>
              </a:solidFill>
              <a:latin typeface="Segoe UI"/>
              <a:ea typeface="+mn-ea"/>
              <a:cs typeface="Arial"/>
            </a:rPr>
            <a:t>Gabelstapler</a:t>
          </a:r>
          <a:r>
            <a:rPr lang="en-GB" sz="1200" kern="1200">
              <a:solidFill>
                <a:srgbClr val="000000"/>
              </a:solidFill>
              <a:latin typeface="Segoe UI"/>
              <a:ea typeface="+mn-ea"/>
              <a:cs typeface="Arial"/>
            </a:rPr>
            <a:t>)</a:t>
          </a:r>
        </a:p>
      </dsp:txBody>
      <dsp:txXfrm rot="-5400000">
        <a:off x="3245161" y="25161"/>
        <a:ext cx="8024695" cy="449386"/>
      </dsp:txXfrm>
    </dsp:sp>
    <dsp:sp modelId="{9C1950A7-783E-48B6-8E92-F40F44EBAD14}">
      <dsp:nvSpPr>
        <dsp:cNvPr id="0" name=""/>
        <dsp:cNvSpPr/>
      </dsp:nvSpPr>
      <dsp:spPr>
        <a:xfrm>
          <a:off x="222" y="2103"/>
          <a:ext cx="3220627" cy="495500"/>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WAS?</a:t>
          </a:r>
          <a:endParaRPr lang="en-GB" sz="2000" b="1" kern="1200"/>
        </a:p>
      </dsp:txBody>
      <dsp:txXfrm>
        <a:off x="24410" y="26291"/>
        <a:ext cx="3172251" cy="447124"/>
      </dsp:txXfrm>
    </dsp:sp>
    <dsp:sp modelId="{C3CA0957-EF4F-46A9-B14B-C34909532529}">
      <dsp:nvSpPr>
        <dsp:cNvPr id="0" name=""/>
        <dsp:cNvSpPr/>
      </dsp:nvSpPr>
      <dsp:spPr>
        <a:xfrm rot="5400000">
          <a:off x="6632656" y="-2898580"/>
          <a:ext cx="1249706" cy="8073317"/>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Font typeface="Arial" panose="020B0604020202020204" pitchFamily="34" charset="0"/>
            <a:buChar char="•"/>
          </a:pPr>
          <a:r>
            <a:rPr lang="en-GB" sz="1200" kern="1200">
              <a:latin typeface="+mn-lt"/>
            </a:rPr>
            <a:t>Klein- und </a:t>
          </a:r>
          <a:r>
            <a:rPr lang="en-GB" sz="1200" kern="1200" err="1">
              <a:latin typeface="+mn-lt"/>
            </a:rPr>
            <a:t>Kleinstunternehmen</a:t>
          </a:r>
          <a:endParaRPr lang="en-GB" sz="1200" kern="1200">
            <a:latin typeface="+mn-lt"/>
          </a:endParaRPr>
        </a:p>
        <a:p>
          <a:pPr marL="114300" lvl="1" indent="-114300" algn="l" defTabSz="533400">
            <a:lnSpc>
              <a:spcPct val="90000"/>
            </a:lnSpc>
            <a:spcBef>
              <a:spcPct val="0"/>
            </a:spcBef>
            <a:spcAft>
              <a:spcPct val="15000"/>
            </a:spcAft>
            <a:buFont typeface="Arial" panose="020B0604020202020204" pitchFamily="34" charset="0"/>
            <a:buChar char="•"/>
          </a:pPr>
          <a:r>
            <a:rPr lang="en-GB" altLang="de-DE" sz="1200" kern="1200">
              <a:solidFill>
                <a:srgbClr val="000000"/>
              </a:solidFill>
              <a:latin typeface="+mn-lt"/>
              <a:cs typeface="Arial"/>
            </a:rPr>
            <a:t>&lt; 50 </a:t>
          </a:r>
          <a:r>
            <a:rPr lang="en-GB" altLang="de-DE" sz="1200" kern="1200" err="1">
              <a:solidFill>
                <a:srgbClr val="000000"/>
              </a:solidFill>
              <a:latin typeface="+mn-lt"/>
              <a:cs typeface="Arial"/>
            </a:rPr>
            <a:t>Mitarbeitende</a:t>
          </a:r>
          <a:r>
            <a:rPr lang="en-GB" altLang="de-DE" sz="1200" kern="1200">
              <a:solidFill>
                <a:srgbClr val="000000"/>
              </a:solidFill>
              <a:latin typeface="+mn-lt"/>
              <a:cs typeface="Arial"/>
            </a:rPr>
            <a:t> und &lt; 10 Mio. € </a:t>
          </a:r>
          <a:r>
            <a:rPr lang="en-GB" altLang="de-DE" sz="1200" kern="1200" err="1">
              <a:solidFill>
                <a:srgbClr val="000000"/>
              </a:solidFill>
              <a:latin typeface="+mn-lt"/>
              <a:cs typeface="Arial"/>
            </a:rPr>
            <a:t>Umsatz</a:t>
          </a:r>
          <a:endParaRPr lang="en-GB" altLang="de-DE" sz="1200" kern="1200">
            <a:solidFill>
              <a:srgbClr val="000000"/>
            </a:solidFill>
            <a:latin typeface="+mn-lt"/>
            <a:cs typeface="Arial"/>
          </a:endParaRPr>
        </a:p>
        <a:p>
          <a:pPr marL="114300" lvl="1" indent="-114300" algn="l" defTabSz="533400">
            <a:lnSpc>
              <a:spcPct val="90000"/>
            </a:lnSpc>
            <a:spcBef>
              <a:spcPct val="0"/>
            </a:spcBef>
            <a:spcAft>
              <a:spcPct val="15000"/>
            </a:spcAft>
            <a:buFont typeface="Arial" panose="020B0604020202020204" pitchFamily="34" charset="0"/>
            <a:buChar char="•"/>
          </a:pPr>
          <a:r>
            <a:rPr lang="de-DE" altLang="de-DE" sz="1200" kern="1200" err="1">
              <a:solidFill>
                <a:srgbClr val="000000"/>
              </a:solidFill>
              <a:latin typeface="+mn-lt"/>
              <a:cs typeface="Arial"/>
            </a:rPr>
            <a:t>Contractoren</a:t>
          </a:r>
          <a:r>
            <a:rPr lang="de-DE" altLang="de-DE" sz="1200" kern="1200">
              <a:solidFill>
                <a:srgbClr val="000000"/>
              </a:solidFill>
              <a:latin typeface="+mn-lt"/>
              <a:cs typeface="Arial"/>
            </a:rPr>
            <a:t> im Auftrag von </a:t>
          </a:r>
          <a:r>
            <a:rPr lang="de-DE" altLang="de-DE" sz="1200" kern="1200" err="1">
              <a:solidFill>
                <a:srgbClr val="000000"/>
              </a:solidFill>
              <a:latin typeface="+mn-lt"/>
              <a:cs typeface="Arial"/>
            </a:rPr>
            <a:t>antragsberechtigten</a:t>
          </a:r>
          <a:r>
            <a:rPr lang="de-DE" altLang="de-DE" sz="1200" kern="1200">
              <a:solidFill>
                <a:srgbClr val="000000"/>
              </a:solidFill>
              <a:latin typeface="+mn-lt"/>
              <a:cs typeface="Arial"/>
            </a:rPr>
            <a:t> Unternehmen</a:t>
          </a:r>
          <a:endParaRPr lang="en-GB" altLang="de-DE" sz="1200" kern="1200">
            <a:solidFill>
              <a:srgbClr val="000000"/>
            </a:solidFill>
            <a:latin typeface="+mn-lt"/>
            <a:cs typeface="Arial"/>
          </a:endParaRPr>
        </a:p>
      </dsp:txBody>
      <dsp:txXfrm rot="-5400000">
        <a:off x="3281857" y="574231"/>
        <a:ext cx="7951305" cy="1127694"/>
      </dsp:txXfrm>
    </dsp:sp>
    <dsp:sp modelId="{6282B259-D810-400D-AF6A-A79E8F7BBC6B}">
      <dsp:nvSpPr>
        <dsp:cNvPr id="0" name=""/>
        <dsp:cNvSpPr/>
      </dsp:nvSpPr>
      <dsp:spPr>
        <a:xfrm>
          <a:off x="222" y="511423"/>
          <a:ext cx="3220627" cy="1253308"/>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WER?</a:t>
          </a:r>
          <a:endParaRPr lang="en-GB" sz="2000" b="1" kern="1200"/>
        </a:p>
      </dsp:txBody>
      <dsp:txXfrm>
        <a:off x="61403" y="572604"/>
        <a:ext cx="3098265" cy="1130946"/>
      </dsp:txXfrm>
    </dsp:sp>
    <dsp:sp modelId="{42205B36-F6FD-4A61-8A6C-F7C8A06C6790}">
      <dsp:nvSpPr>
        <dsp:cNvPr id="0" name=""/>
        <dsp:cNvSpPr/>
      </dsp:nvSpPr>
      <dsp:spPr>
        <a:xfrm rot="5400000">
          <a:off x="6859627" y="-1857973"/>
          <a:ext cx="810380" cy="8080925"/>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kern="1200" err="1">
              <a:latin typeface="+mn-lt"/>
            </a:rPr>
            <a:t>Förderquote</a:t>
          </a:r>
          <a:r>
            <a:rPr lang="en-GB" sz="1200" kern="1200">
              <a:latin typeface="+mn-lt"/>
            </a:rPr>
            <a:t>: 33% des </a:t>
          </a:r>
          <a:r>
            <a:rPr lang="en-GB" sz="1200" kern="1200" err="1">
              <a:latin typeface="+mn-lt"/>
            </a:rPr>
            <a:t>Investitionsgesamtkosten</a:t>
          </a:r>
          <a:r>
            <a:rPr lang="de-DE" altLang="de-DE" sz="1200" kern="1200">
              <a:latin typeface="+mn-lt"/>
            </a:rPr>
            <a:t>; Nebenkosten sind bis zu 30% förderfähig </a:t>
          </a:r>
          <a:endParaRPr lang="en-GB" sz="1200" kern="1200">
            <a:latin typeface="+mn-lt"/>
          </a:endParaRPr>
        </a:p>
        <a:p>
          <a:pPr marL="114300" lvl="1" indent="-114300" algn="l" defTabSz="533400">
            <a:lnSpc>
              <a:spcPct val="90000"/>
            </a:lnSpc>
            <a:spcBef>
              <a:spcPct val="0"/>
            </a:spcBef>
            <a:spcAft>
              <a:spcPct val="15000"/>
            </a:spcAft>
            <a:buChar char="•"/>
          </a:pPr>
          <a:r>
            <a:rPr lang="de-DE" altLang="de-DE" sz="1200" kern="1200">
              <a:latin typeface="+mn-lt"/>
            </a:rPr>
            <a:t>Zinsverbilligung von max. 0,5 Prozentpunkten</a:t>
          </a:r>
          <a:endParaRPr lang="en-GB" sz="1200" kern="1200">
            <a:latin typeface="+mn-lt"/>
          </a:endParaRPr>
        </a:p>
        <a:p>
          <a:pPr marL="114300" lvl="1" indent="-114300" algn="l" defTabSz="533400">
            <a:lnSpc>
              <a:spcPct val="90000"/>
            </a:lnSpc>
            <a:spcBef>
              <a:spcPct val="0"/>
            </a:spcBef>
            <a:spcAft>
              <a:spcPct val="15000"/>
            </a:spcAft>
            <a:buChar char="•"/>
          </a:pPr>
          <a:r>
            <a:rPr lang="en-GB" altLang="de-DE" sz="1200" kern="1200">
              <a:latin typeface="+mn-lt"/>
            </a:rPr>
            <a:t>Max. 200.000 € pro </a:t>
          </a:r>
          <a:r>
            <a:rPr lang="en-GB" altLang="de-DE" sz="1200" kern="1200" err="1">
              <a:latin typeface="+mn-lt"/>
            </a:rPr>
            <a:t>Vorhaben</a:t>
          </a:r>
          <a:endParaRPr lang="en-GB" altLang="de-DE" sz="1200" kern="1200">
            <a:latin typeface="+mn-lt"/>
          </a:endParaRPr>
        </a:p>
        <a:p>
          <a:pPr marL="114300" lvl="1" indent="-114300" algn="l" defTabSz="533400">
            <a:lnSpc>
              <a:spcPct val="90000"/>
            </a:lnSpc>
            <a:spcBef>
              <a:spcPct val="0"/>
            </a:spcBef>
            <a:spcAft>
              <a:spcPct val="15000"/>
            </a:spcAft>
            <a:buChar char="•"/>
          </a:pPr>
          <a:r>
            <a:rPr lang="de-DE" altLang="de-DE" sz="1200" kern="1200">
              <a:latin typeface="+mn-lt"/>
            </a:rPr>
            <a:t>Beihilferechtliche Vorgaben: De-Minimis-VO</a:t>
          </a:r>
          <a:endParaRPr lang="en-GB" altLang="de-DE" sz="1200" kern="1200">
            <a:latin typeface="+mn-lt"/>
          </a:endParaRPr>
        </a:p>
      </dsp:txBody>
      <dsp:txXfrm rot="-5400000">
        <a:off x="3263914" y="1816858"/>
        <a:ext cx="8001807" cy="731262"/>
      </dsp:txXfrm>
    </dsp:sp>
    <dsp:sp modelId="{E2E438A6-5F37-4E34-923A-0CA8673CDF3A}">
      <dsp:nvSpPr>
        <dsp:cNvPr id="0" name=""/>
        <dsp:cNvSpPr/>
      </dsp:nvSpPr>
      <dsp:spPr>
        <a:xfrm>
          <a:off x="222" y="1777615"/>
          <a:ext cx="3224132" cy="809747"/>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WIE VIEL?</a:t>
          </a:r>
          <a:endParaRPr lang="en-GB" sz="2000" b="1" kern="1200"/>
        </a:p>
      </dsp:txBody>
      <dsp:txXfrm>
        <a:off x="39751" y="1817144"/>
        <a:ext cx="3145074" cy="730689"/>
      </dsp:txXfrm>
    </dsp:sp>
    <dsp:sp modelId="{600B0FCE-F633-4F00-B20F-1253DB6B5E6E}">
      <dsp:nvSpPr>
        <dsp:cNvPr id="0" name=""/>
        <dsp:cNvSpPr/>
      </dsp:nvSpPr>
      <dsp:spPr>
        <a:xfrm rot="5400000">
          <a:off x="6949929" y="-1124802"/>
          <a:ext cx="626778" cy="8077898"/>
        </a:xfrm>
        <a:prstGeom prst="roundRect">
          <a:avLst/>
        </a:prstGeom>
        <a:solidFill>
          <a:srgbClr val="FEEAE8">
            <a:alpha val="90000"/>
          </a:srgbClr>
        </a:solidFill>
        <a:ln w="63500" cap="rnd" cmpd="sng" algn="ctr">
          <a:solidFill>
            <a:schemeClr val="bg1">
              <a:alpha val="90000"/>
            </a:schemeClr>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0" lvl="1" indent="0" algn="l" defTabSz="533400">
            <a:lnSpc>
              <a:spcPct val="90000"/>
            </a:lnSpc>
            <a:spcBef>
              <a:spcPct val="0"/>
            </a:spcBef>
            <a:spcAft>
              <a:spcPct val="15000"/>
            </a:spcAft>
            <a:buNone/>
          </a:pPr>
          <a:r>
            <a:rPr lang="de-DE" sz="1200" kern="1200">
              <a:solidFill>
                <a:schemeClr val="tx1"/>
              </a:solidFill>
              <a:latin typeface="+mn-lt"/>
              <a:hlinkClick xmlns:r="http://schemas.openxmlformats.org/officeDocument/2006/relationships" r:id="rId1">
                <a:extLst>
                  <a:ext uri="{A12FA001-AC4F-418D-AE19-62706E023703}">
                    <ahyp:hlinkClr xmlns:ahyp="http://schemas.microsoft.com/office/drawing/2018/hyperlinkcolor" val="tx"/>
                  </a:ext>
                </a:extLst>
              </a:hlinkClick>
            </a:rPr>
            <a:t>https://www.bafa.de/DE/Energie/Energieeffizienz/Energieeffizienz_und_Prozesswaerme/Modul6_Elektrifizierungsmassnahmen_KU/modul6_elektrifizierungsmassnahmen_ku_node.html</a:t>
          </a:r>
          <a:r>
            <a:rPr lang="de-DE" sz="1200" kern="1200">
              <a:solidFill>
                <a:schemeClr val="tx1"/>
              </a:solidFill>
              <a:latin typeface="+mn-lt"/>
            </a:rPr>
            <a:t> </a:t>
          </a:r>
          <a:endParaRPr lang="en-GB" sz="1200" kern="1200">
            <a:solidFill>
              <a:schemeClr val="tx1"/>
            </a:solidFill>
            <a:latin typeface="+mn-lt"/>
          </a:endParaRPr>
        </a:p>
      </dsp:txBody>
      <dsp:txXfrm rot="-5400000">
        <a:off x="3254966" y="2631355"/>
        <a:ext cx="8016704" cy="565584"/>
      </dsp:txXfrm>
    </dsp:sp>
    <dsp:sp modelId="{C8A9DE35-1CD6-4E88-9A7A-CD82966A87BF}">
      <dsp:nvSpPr>
        <dsp:cNvPr id="0" name=""/>
        <dsp:cNvSpPr/>
      </dsp:nvSpPr>
      <dsp:spPr>
        <a:xfrm>
          <a:off x="222" y="2600245"/>
          <a:ext cx="3224146" cy="627802"/>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WO?</a:t>
          </a:r>
          <a:endParaRPr lang="en-GB" sz="2000" b="1" kern="1200"/>
        </a:p>
      </dsp:txBody>
      <dsp:txXfrm>
        <a:off x="30869" y="2630892"/>
        <a:ext cx="3162852" cy="566508"/>
      </dsp:txXfrm>
    </dsp:sp>
    <dsp:sp modelId="{BCBFAC89-216D-4DFF-897D-8C47A404ADDC}">
      <dsp:nvSpPr>
        <dsp:cNvPr id="0" name=""/>
        <dsp:cNvSpPr/>
      </dsp:nvSpPr>
      <dsp:spPr>
        <a:xfrm rot="5400000">
          <a:off x="7043342" y="-581000"/>
          <a:ext cx="440497" cy="8084724"/>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None/>
          </a:pPr>
          <a:r>
            <a:rPr lang="en-GB" sz="1200" strike="noStrike" kern="1200">
              <a:latin typeface="+mn-lt"/>
            </a:rPr>
            <a:t>31.12.2028</a:t>
          </a:r>
          <a:endParaRPr lang="en-GB" sz="1200" strike="noStrike" kern="1200">
            <a:highlight>
              <a:srgbClr val="FFFF00"/>
            </a:highlight>
            <a:latin typeface="+mn-lt"/>
          </a:endParaRPr>
        </a:p>
      </dsp:txBody>
      <dsp:txXfrm rot="-5400000">
        <a:off x="3242732" y="3262616"/>
        <a:ext cx="8041718" cy="397491"/>
      </dsp:txXfrm>
    </dsp:sp>
    <dsp:sp modelId="{36DCF81B-4ED1-4AD8-B27C-5FE0EF7F2B66}">
      <dsp:nvSpPr>
        <dsp:cNvPr id="0" name=""/>
        <dsp:cNvSpPr/>
      </dsp:nvSpPr>
      <dsp:spPr>
        <a:xfrm>
          <a:off x="222" y="3240613"/>
          <a:ext cx="3221006" cy="441495"/>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BIS WANN?</a:t>
          </a:r>
          <a:endParaRPr lang="en-GB" sz="2000" b="1" kern="1200"/>
        </a:p>
      </dsp:txBody>
      <dsp:txXfrm>
        <a:off x="21774" y="3262165"/>
        <a:ext cx="3177902" cy="39839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830C8F-A2AE-4990-90BF-6D9758F800E7}">
      <dsp:nvSpPr>
        <dsp:cNvPr id="0" name=""/>
        <dsp:cNvSpPr/>
      </dsp:nvSpPr>
      <dsp:spPr>
        <a:xfrm rot="5400000">
          <a:off x="6347118" y="-3125188"/>
          <a:ext cx="1825278" cy="8075818"/>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180000" bIns="123825" numCol="1" spcCol="1270" anchor="ctr" anchorCtr="0">
          <a:noAutofit/>
        </a:bodyPr>
        <a:lstStyle/>
        <a:p>
          <a:pPr marL="114300" lvl="1" indent="-114300" algn="l" defTabSz="533400">
            <a:lnSpc>
              <a:spcPct val="90000"/>
            </a:lnSpc>
            <a:spcBef>
              <a:spcPct val="0"/>
            </a:spcBef>
            <a:spcAft>
              <a:spcPct val="15000"/>
            </a:spcAft>
            <a:buChar char="•"/>
          </a:pPr>
          <a:r>
            <a:rPr lang="de-DE" altLang="de-DE" sz="1200" b="0" kern="1200">
              <a:solidFill>
                <a:srgbClr val="000000"/>
              </a:solidFill>
              <a:cs typeface="Arial" panose="020B0604020202020204" pitchFamily="34" charset="0"/>
            </a:rPr>
            <a:t>Investitionen zur Stromverbrauchsreduktion von industriellen und gewerblichen Anlagen und Prozessen (u.a. Prozess- und Verfahrensumstellungen, Maßnahmen zur Nutzung von Abwärme, Wärme-, Kühlungs-, und Belüftungsanlagen, die direkt an Prozessen beteiligt sind, Prozesswärmebereitstellung, Elektrifizierung, Mess-, Steuer-, und Regelungstechnik) sowie Maßnahmen zur Ressourceneffizienz, Erstellung Einsparkonzept</a:t>
          </a:r>
          <a:endParaRPr lang="en-GB" sz="1200" b="0" kern="1200">
            <a:ln>
              <a:noFill/>
            </a:ln>
            <a:latin typeface="+mn-lt"/>
          </a:endParaRPr>
        </a:p>
        <a:p>
          <a:pPr marL="114300" lvl="1" indent="-114300" algn="l" defTabSz="533400">
            <a:lnSpc>
              <a:spcPct val="90000"/>
            </a:lnSpc>
            <a:spcBef>
              <a:spcPct val="0"/>
            </a:spcBef>
            <a:spcAft>
              <a:spcPct val="15000"/>
            </a:spcAft>
            <a:buChar char="•"/>
          </a:pPr>
          <a:r>
            <a:rPr lang="en-GB" altLang="de-DE" sz="1200" b="0" kern="1200">
              <a:solidFill>
                <a:srgbClr val="000000"/>
              </a:solidFill>
              <a:cs typeface="Arial" panose="020B0604020202020204" pitchFamily="34" charset="0"/>
            </a:rPr>
            <a:t>Umsetzungsbegleitung der Investitionen</a:t>
          </a:r>
        </a:p>
        <a:p>
          <a:pPr marL="114300" lvl="1" indent="-114300" algn="l" defTabSz="533400">
            <a:lnSpc>
              <a:spcPct val="90000"/>
            </a:lnSpc>
            <a:spcBef>
              <a:spcPct val="0"/>
            </a:spcBef>
            <a:spcAft>
              <a:spcPct val="15000"/>
            </a:spcAft>
            <a:buChar char="•"/>
          </a:pPr>
          <a:r>
            <a:rPr lang="de-DE" altLang="de-DE" sz="1200" b="0" kern="1200">
              <a:solidFill>
                <a:srgbClr val="000000"/>
              </a:solidFill>
              <a:cs typeface="Arial" panose="020B0604020202020204" pitchFamily="34" charset="0"/>
            </a:rPr>
            <a:t>Mehrere Wettbewerbsrunden pro Jahr, aktuelle Runde einsehbar unter: </a:t>
          </a:r>
          <a:r>
            <a:rPr lang="de-DE" altLang="de-DE" sz="1200" b="0" kern="1200">
              <a:solidFill>
                <a:srgbClr val="000000"/>
              </a:solidFill>
              <a:cs typeface="Arial" panose="020B0604020202020204" pitchFamily="34" charset="0"/>
              <a:hlinkClick xmlns:r="http://schemas.openxmlformats.org/officeDocument/2006/relationships" r:id="rId1"/>
            </a:rPr>
            <a:t>https://www.wettbewerb-energieeffizienz.de/mitmachen/wettbewerbsrunden</a:t>
          </a:r>
          <a:r>
            <a:rPr lang="de-DE" altLang="de-DE" sz="1200" b="0" kern="1200">
              <a:solidFill>
                <a:srgbClr val="000000"/>
              </a:solidFill>
              <a:cs typeface="Arial" panose="020B0604020202020204" pitchFamily="34" charset="0"/>
            </a:rPr>
            <a:t>  </a:t>
          </a:r>
          <a:endParaRPr lang="en-GB" altLang="de-DE" sz="1200" b="0" kern="1200">
            <a:solidFill>
              <a:srgbClr val="000000"/>
            </a:solidFill>
            <a:cs typeface="Arial" panose="020B0604020202020204" pitchFamily="34" charset="0"/>
          </a:endParaRPr>
        </a:p>
        <a:p>
          <a:pPr marL="114300" lvl="1" indent="-114300" algn="l" defTabSz="533400">
            <a:lnSpc>
              <a:spcPct val="90000"/>
            </a:lnSpc>
            <a:spcBef>
              <a:spcPct val="0"/>
            </a:spcBef>
            <a:spcAft>
              <a:spcPct val="15000"/>
            </a:spcAft>
            <a:buChar char="•"/>
          </a:pPr>
          <a:r>
            <a:rPr lang="de-DE" altLang="de-DE" sz="1200" b="0" kern="1200">
              <a:solidFill>
                <a:srgbClr val="000000"/>
              </a:solidFill>
              <a:cs typeface="Arial" panose="020B0604020202020204" pitchFamily="34" charset="0"/>
            </a:rPr>
            <a:t>Anträge jederzeit einreichbar, berücksichtigt werden in einer Runde die zum Stichtag eingegangenen Anträge</a:t>
          </a:r>
          <a:endParaRPr lang="en-GB" altLang="de-DE" sz="1200" b="0" kern="1200">
            <a:solidFill>
              <a:srgbClr val="000000"/>
            </a:solidFill>
            <a:cs typeface="Arial" panose="020B0604020202020204" pitchFamily="34" charset="0"/>
          </a:endParaRPr>
        </a:p>
      </dsp:txBody>
      <dsp:txXfrm rot="-5400000">
        <a:off x="3310951" y="89185"/>
        <a:ext cx="7897612" cy="1647072"/>
      </dsp:txXfrm>
    </dsp:sp>
    <dsp:sp modelId="{9C1950A7-783E-48B6-8E92-F40F44EBAD14}">
      <dsp:nvSpPr>
        <dsp:cNvPr id="0" name=""/>
        <dsp:cNvSpPr/>
      </dsp:nvSpPr>
      <dsp:spPr>
        <a:xfrm>
          <a:off x="223" y="4677"/>
          <a:ext cx="3221625" cy="1816086"/>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WAS?</a:t>
          </a:r>
          <a:endParaRPr lang="en-GB" sz="2000" b="1" kern="1200"/>
        </a:p>
      </dsp:txBody>
      <dsp:txXfrm>
        <a:off x="88877" y="93331"/>
        <a:ext cx="3044317" cy="1638778"/>
      </dsp:txXfrm>
    </dsp:sp>
    <dsp:sp modelId="{C3CA0957-EF4F-46A9-B14B-C34909532529}">
      <dsp:nvSpPr>
        <dsp:cNvPr id="0" name=""/>
        <dsp:cNvSpPr/>
      </dsp:nvSpPr>
      <dsp:spPr>
        <a:xfrm rot="5400000">
          <a:off x="6934996" y="-1880320"/>
          <a:ext cx="649523" cy="8075818"/>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144000" bIns="123825" numCol="1" spcCol="1270" anchor="ctr" anchorCtr="0">
          <a:noAutofit/>
        </a:bodyPr>
        <a:lstStyle/>
        <a:p>
          <a:pPr marL="114300" lvl="1" indent="-114300" algn="l" defTabSz="533400">
            <a:lnSpc>
              <a:spcPct val="90000"/>
            </a:lnSpc>
            <a:spcBef>
              <a:spcPct val="0"/>
            </a:spcBef>
            <a:spcAft>
              <a:spcPct val="15000"/>
            </a:spcAft>
            <a:buFont typeface="Arial" panose="020B0604020202020204" pitchFamily="34" charset="0"/>
            <a:buChar char="•"/>
          </a:pPr>
          <a:r>
            <a:rPr lang="de-DE" altLang="de-DE" sz="1200" kern="1200">
              <a:solidFill>
                <a:srgbClr val="000000"/>
              </a:solidFill>
              <a:latin typeface="+mn-lt"/>
              <a:cs typeface="Arial" charset="0"/>
            </a:rPr>
            <a:t>Unternehmen (privat, kommunal, Landes), freiberuflich Tätige, </a:t>
          </a:r>
          <a:r>
            <a:rPr lang="de-DE" altLang="de-DE" sz="1200" kern="1200" err="1">
              <a:solidFill>
                <a:srgbClr val="000000"/>
              </a:solidFill>
              <a:latin typeface="+mn-lt"/>
              <a:cs typeface="Arial" charset="0"/>
            </a:rPr>
            <a:t>Contractoren</a:t>
          </a:r>
          <a:r>
            <a:rPr lang="de-DE" altLang="de-DE" sz="1200" kern="1200">
              <a:solidFill>
                <a:srgbClr val="000000"/>
              </a:solidFill>
              <a:latin typeface="+mn-lt"/>
              <a:cs typeface="Arial" charset="0"/>
            </a:rPr>
            <a:t> im Auftrag von Antragsberechtigten</a:t>
          </a:r>
          <a:endParaRPr lang="en-GB" sz="1200" kern="1200">
            <a:latin typeface="+mn-lt"/>
          </a:endParaRPr>
        </a:p>
        <a:p>
          <a:pPr marL="114300" lvl="1" indent="-114300" algn="l" defTabSz="533400">
            <a:lnSpc>
              <a:spcPct val="90000"/>
            </a:lnSpc>
            <a:spcBef>
              <a:spcPct val="0"/>
            </a:spcBef>
            <a:spcAft>
              <a:spcPct val="15000"/>
            </a:spcAft>
            <a:buFont typeface="Arial" panose="020B0604020202020204" pitchFamily="34" charset="0"/>
            <a:buChar char="•"/>
          </a:pPr>
          <a:r>
            <a:rPr lang="de-DE" altLang="de-DE" sz="1200" kern="1200">
              <a:solidFill>
                <a:srgbClr val="000000"/>
              </a:solidFill>
              <a:latin typeface="+mn-lt"/>
              <a:cs typeface="Arial" charset="0"/>
            </a:rPr>
            <a:t>Bedingung: Amortisationszeit &gt; 4 Jahre, Umsetzungsdauer inkl. Nachweis max. 4 Jahre,</a:t>
          </a:r>
          <a:br>
            <a:rPr lang="de-DE" altLang="de-DE" sz="1200" kern="1200">
              <a:solidFill>
                <a:srgbClr val="000000"/>
              </a:solidFill>
              <a:latin typeface="+mn-lt"/>
              <a:cs typeface="Arial" charset="0"/>
            </a:rPr>
          </a:br>
          <a:r>
            <a:rPr lang="de-DE" altLang="de-DE" sz="1200" kern="1200">
              <a:solidFill>
                <a:srgbClr val="000000"/>
              </a:solidFill>
              <a:latin typeface="+mn-lt"/>
              <a:cs typeface="Arial" charset="0"/>
            </a:rPr>
            <a:t>vorliegendes Einsparkonzept </a:t>
          </a:r>
          <a:endParaRPr lang="en-GB" altLang="de-DE" sz="1200" kern="1200">
            <a:solidFill>
              <a:srgbClr val="000000"/>
            </a:solidFill>
            <a:latin typeface="+mn-lt"/>
            <a:cs typeface="Arial" charset="0"/>
          </a:endParaRPr>
        </a:p>
      </dsp:txBody>
      <dsp:txXfrm rot="-5400000">
        <a:off x="3253556" y="1864534"/>
        <a:ext cx="8012404" cy="586109"/>
      </dsp:txXfrm>
    </dsp:sp>
    <dsp:sp modelId="{6282B259-D810-400D-AF6A-A79E8F7BBC6B}">
      <dsp:nvSpPr>
        <dsp:cNvPr id="0" name=""/>
        <dsp:cNvSpPr/>
      </dsp:nvSpPr>
      <dsp:spPr>
        <a:xfrm>
          <a:off x="223" y="1831890"/>
          <a:ext cx="3221625" cy="651395"/>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WER?</a:t>
          </a:r>
          <a:endParaRPr lang="en-GB" sz="2000" b="1" kern="1200"/>
        </a:p>
      </dsp:txBody>
      <dsp:txXfrm>
        <a:off x="32021" y="1863688"/>
        <a:ext cx="3158029" cy="587799"/>
      </dsp:txXfrm>
    </dsp:sp>
    <dsp:sp modelId="{42205B36-F6FD-4A61-8A6C-F7C8A06C6790}">
      <dsp:nvSpPr>
        <dsp:cNvPr id="0" name=""/>
        <dsp:cNvSpPr/>
      </dsp:nvSpPr>
      <dsp:spPr>
        <a:xfrm rot="5400000">
          <a:off x="6799402" y="-1084230"/>
          <a:ext cx="935333" cy="8083429"/>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de-DE" altLang="de-DE" sz="1200" kern="1200">
              <a:latin typeface="+mn-lt"/>
            </a:rPr>
            <a:t>Zentrales Auswahlkriterium ist die je Förder-Euro pro erreichte CO2-Einsparung/Jahr (Fördereffizienz)</a:t>
          </a:r>
          <a:endParaRPr lang="en-GB" sz="1200" kern="1200">
            <a:latin typeface="+mn-lt"/>
          </a:endParaRPr>
        </a:p>
        <a:p>
          <a:pPr marL="114300" lvl="1" indent="-114300" algn="l" defTabSz="533400">
            <a:lnSpc>
              <a:spcPct val="90000"/>
            </a:lnSpc>
            <a:spcBef>
              <a:spcPct val="0"/>
            </a:spcBef>
            <a:spcAft>
              <a:spcPct val="15000"/>
            </a:spcAft>
            <a:buChar char="•"/>
          </a:pPr>
          <a:r>
            <a:rPr lang="de-DE" altLang="de-DE" sz="1200" kern="1200">
              <a:latin typeface="+mn-lt"/>
            </a:rPr>
            <a:t>Max. 20 Mio. € pro Vorhaben, max. 60 % der gesamten Investitionskosten inkl. Nebenkosten</a:t>
          </a:r>
          <a:endParaRPr lang="en-GB" altLang="de-DE" sz="1200" kern="1200">
            <a:latin typeface="+mn-lt"/>
          </a:endParaRPr>
        </a:p>
        <a:p>
          <a:pPr marL="114300" lvl="1" indent="-114300" algn="l" defTabSz="533400">
            <a:lnSpc>
              <a:spcPct val="90000"/>
            </a:lnSpc>
            <a:spcBef>
              <a:spcPct val="0"/>
            </a:spcBef>
            <a:spcAft>
              <a:spcPct val="15000"/>
            </a:spcAft>
            <a:buChar char="•"/>
          </a:pPr>
          <a:r>
            <a:rPr lang="de-DE" altLang="de-DE" sz="1200" kern="1200">
              <a:latin typeface="+mn-lt"/>
            </a:rPr>
            <a:t>Rundenbudget:  60 Mio. €/Runde</a:t>
          </a:r>
          <a:endParaRPr lang="en-GB" altLang="de-DE" sz="1200" kern="1200">
            <a:latin typeface="+mn-lt"/>
          </a:endParaRPr>
        </a:p>
        <a:p>
          <a:pPr marL="114300" lvl="1" indent="-114300" algn="l" defTabSz="533400">
            <a:lnSpc>
              <a:spcPct val="90000"/>
            </a:lnSpc>
            <a:spcBef>
              <a:spcPct val="0"/>
            </a:spcBef>
            <a:spcAft>
              <a:spcPct val="15000"/>
            </a:spcAft>
            <a:buChar char="•"/>
          </a:pPr>
          <a:r>
            <a:rPr lang="de-DE" altLang="de-DE" sz="1200" kern="1200">
              <a:latin typeface="+mn-lt"/>
            </a:rPr>
            <a:t>Beihilferechtliche Vorgaben: </a:t>
          </a:r>
          <a:r>
            <a:rPr lang="en-GB" sz="1200" b="0" kern="1200"/>
            <a:t>Keine De-minimis </a:t>
          </a:r>
          <a:r>
            <a:rPr lang="en-GB" sz="1200" b="0" kern="1200" err="1"/>
            <a:t>oder</a:t>
          </a:r>
          <a:r>
            <a:rPr lang="en-GB" sz="1200" b="0" kern="1200"/>
            <a:t> AGVO-</a:t>
          </a:r>
          <a:r>
            <a:rPr lang="en-GB" sz="1200" b="0" kern="1200" err="1"/>
            <a:t>Beschränkungen</a:t>
          </a:r>
          <a:r>
            <a:rPr lang="en-GB" sz="1200" b="0" kern="1200"/>
            <a:t>, </a:t>
          </a:r>
          <a:r>
            <a:rPr lang="en-GB" sz="1200" b="0" kern="1200" err="1"/>
            <a:t>Kumulierungsverbot</a:t>
          </a:r>
          <a:r>
            <a:rPr lang="en-GB" sz="1200" b="0" kern="1200"/>
            <a:t> gilt</a:t>
          </a:r>
          <a:endParaRPr lang="en-GB" altLang="de-DE" sz="1200" b="0" kern="1200">
            <a:latin typeface="+mn-lt"/>
          </a:endParaRPr>
        </a:p>
      </dsp:txBody>
      <dsp:txXfrm rot="-5400000">
        <a:off x="3271013" y="2535477"/>
        <a:ext cx="7992111" cy="844015"/>
      </dsp:txXfrm>
    </dsp:sp>
    <dsp:sp modelId="{E2E438A6-5F37-4E34-923A-0CA8673CDF3A}">
      <dsp:nvSpPr>
        <dsp:cNvPr id="0" name=""/>
        <dsp:cNvSpPr/>
      </dsp:nvSpPr>
      <dsp:spPr>
        <a:xfrm>
          <a:off x="223" y="2492472"/>
          <a:ext cx="3225131" cy="930022"/>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WIE VIEL?</a:t>
          </a:r>
          <a:endParaRPr lang="en-GB" sz="2000" b="1" kern="1200"/>
        </a:p>
      </dsp:txBody>
      <dsp:txXfrm>
        <a:off x="45623" y="2537872"/>
        <a:ext cx="3134331" cy="839222"/>
      </dsp:txXfrm>
    </dsp:sp>
    <dsp:sp modelId="{600B0FCE-F633-4F00-B20F-1253DB6B5E6E}">
      <dsp:nvSpPr>
        <dsp:cNvPr id="0" name=""/>
        <dsp:cNvSpPr/>
      </dsp:nvSpPr>
      <dsp:spPr>
        <a:xfrm rot="5400000">
          <a:off x="7102687" y="-445370"/>
          <a:ext cx="325762" cy="8080400"/>
        </a:xfrm>
        <a:prstGeom prst="roundRect">
          <a:avLst/>
        </a:prstGeom>
        <a:solidFill>
          <a:srgbClr val="FEEAE8">
            <a:alpha val="90000"/>
          </a:srgbClr>
        </a:solidFill>
        <a:ln w="63500" cap="rnd" cmpd="sng" algn="ctr">
          <a:solidFill>
            <a:schemeClr val="bg1">
              <a:alpha val="90000"/>
            </a:schemeClr>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None/>
          </a:pPr>
          <a:r>
            <a:rPr lang="en-GB" altLang="de-DE" sz="1200" kern="1200">
              <a:solidFill>
                <a:schemeClr val="tx1"/>
              </a:solidFill>
              <a:latin typeface="+mn-lt"/>
              <a:hlinkClick xmlns:r="http://schemas.openxmlformats.org/officeDocument/2006/relationships" r:id="rId2">
                <a:extLst>
                  <a:ext uri="{A12FA001-AC4F-418D-AE19-62706E023703}">
                    <ahyp:hlinkClr xmlns:ahyp="http://schemas.microsoft.com/office/drawing/2018/hyperlinkcolor" val="tx"/>
                  </a:ext>
                </a:extLst>
              </a:hlinkClick>
            </a:rPr>
            <a:t>https://www.wettbewerb-energieeffizienz.de/foerderwettbewerb</a:t>
          </a:r>
          <a:endParaRPr lang="en-GB" sz="1200" kern="1200">
            <a:solidFill>
              <a:schemeClr val="tx1"/>
            </a:solidFill>
            <a:latin typeface="+mn-lt"/>
          </a:endParaRPr>
        </a:p>
      </dsp:txBody>
      <dsp:txXfrm rot="-5400000">
        <a:off x="3241270" y="3447851"/>
        <a:ext cx="8048596" cy="293958"/>
      </dsp:txXfrm>
    </dsp:sp>
    <dsp:sp modelId="{C8A9DE35-1CD6-4E88-9A7A-CD82966A87BF}">
      <dsp:nvSpPr>
        <dsp:cNvPr id="0" name=""/>
        <dsp:cNvSpPr/>
      </dsp:nvSpPr>
      <dsp:spPr>
        <a:xfrm>
          <a:off x="223" y="3431682"/>
          <a:ext cx="3225145" cy="326294"/>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WO?</a:t>
          </a:r>
          <a:endParaRPr lang="en-GB" sz="2000" b="1" kern="1200"/>
        </a:p>
      </dsp:txBody>
      <dsp:txXfrm>
        <a:off x="16151" y="3447610"/>
        <a:ext cx="3193289" cy="294438"/>
      </dsp:txXfrm>
    </dsp:sp>
    <dsp:sp modelId="{BCBFAC89-216D-4DFF-897D-8C47A404ADDC}">
      <dsp:nvSpPr>
        <dsp:cNvPr id="0" name=""/>
        <dsp:cNvSpPr/>
      </dsp:nvSpPr>
      <dsp:spPr>
        <a:xfrm rot="5400000">
          <a:off x="7132743" y="-127126"/>
          <a:ext cx="266197" cy="8087229"/>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None/>
          </a:pPr>
          <a:r>
            <a:rPr lang="de-DE" sz="1200" kern="1200"/>
            <a:t>Geltungsdauer der Richtlinie bis 31.12.2028; aktuelle Fristen je nach Wettbewerbsrunde</a:t>
          </a:r>
          <a:endParaRPr lang="en-GB" sz="1200" kern="1200">
            <a:latin typeface="+mn-lt"/>
          </a:endParaRPr>
        </a:p>
      </dsp:txBody>
      <dsp:txXfrm rot="-5400000">
        <a:off x="3235222" y="3796385"/>
        <a:ext cx="8061239" cy="240207"/>
      </dsp:txXfrm>
    </dsp:sp>
    <dsp:sp modelId="{36DCF81B-4ED1-4AD8-B27C-5FE0EF7F2B66}">
      <dsp:nvSpPr>
        <dsp:cNvPr id="0" name=""/>
        <dsp:cNvSpPr/>
      </dsp:nvSpPr>
      <dsp:spPr>
        <a:xfrm>
          <a:off x="223" y="3764507"/>
          <a:ext cx="3222004" cy="303961"/>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BIS WANN?</a:t>
          </a:r>
          <a:endParaRPr lang="en-GB" sz="2000" b="1" kern="1200"/>
        </a:p>
      </dsp:txBody>
      <dsp:txXfrm>
        <a:off x="15061" y="3779345"/>
        <a:ext cx="3192328" cy="27428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830C8F-A2AE-4990-90BF-6D9758F800E7}">
      <dsp:nvSpPr>
        <dsp:cNvPr id="0" name=""/>
        <dsp:cNvSpPr/>
      </dsp:nvSpPr>
      <dsp:spPr>
        <a:xfrm rot="5400000">
          <a:off x="6753941" y="-3530862"/>
          <a:ext cx="1011631" cy="8075818"/>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de-DE" sz="1200" b="0" kern="1200" noProof="0">
              <a:ln>
                <a:noFill/>
              </a:ln>
              <a:latin typeface="+mn-lt"/>
            </a:rPr>
            <a:t>Teilmodul 1: Dekarbonisierung industrieller Produktionsprozesse (Basis: </a:t>
          </a:r>
          <a:r>
            <a:rPr lang="de-DE" sz="1200" b="0" kern="1200" noProof="0">
              <a:ln>
                <a:noFill/>
              </a:ln>
              <a:latin typeface="+mn-lt"/>
              <a:hlinkClick xmlns:r="http://schemas.openxmlformats.org/officeDocument/2006/relationships" r:id="rId1"/>
            </a:rPr>
            <a:t>Art. 36, AGVO</a:t>
          </a:r>
          <a:r>
            <a:rPr lang="de-DE" sz="1200" b="0" kern="1200" noProof="0">
              <a:ln>
                <a:noFill/>
              </a:ln>
              <a:latin typeface="+mn-lt"/>
            </a:rPr>
            <a:t>)</a:t>
          </a:r>
        </a:p>
        <a:p>
          <a:pPr marL="114300" lvl="1" indent="-114300" algn="l" defTabSz="533400">
            <a:lnSpc>
              <a:spcPct val="90000"/>
            </a:lnSpc>
            <a:spcBef>
              <a:spcPct val="0"/>
            </a:spcBef>
            <a:spcAft>
              <a:spcPct val="15000"/>
            </a:spcAft>
            <a:buChar char="•"/>
          </a:pPr>
          <a:r>
            <a:rPr lang="de-DE" sz="1200" b="0" kern="1200" noProof="0">
              <a:ln>
                <a:noFill/>
              </a:ln>
              <a:latin typeface="+mn-lt"/>
            </a:rPr>
            <a:t>Teilmodul 2: Förderung von Projekten zur Dekarbonisierung industrieller Produktionsprozesse, u.a. durch Elektrifizierung, die Nutzung von Wasserstoff oder daraus gewonnenen Brennstoffe (Basis: </a:t>
          </a:r>
          <a:r>
            <a:rPr lang="de-DE" sz="1200" b="0" kern="1200" noProof="0">
              <a:ln>
                <a:noFill/>
              </a:ln>
              <a:latin typeface="+mn-lt"/>
              <a:hlinkClick xmlns:r="http://schemas.openxmlformats.org/officeDocument/2006/relationships" r:id="rId2"/>
            </a:rPr>
            <a:t>Ziffer 81, TCTF</a:t>
          </a:r>
          <a:r>
            <a:rPr lang="de-DE" sz="1200" b="0" kern="1200" noProof="0">
              <a:ln>
                <a:noFill/>
              </a:ln>
              <a:latin typeface="+mn-lt"/>
            </a:rPr>
            <a:t>)</a:t>
          </a:r>
        </a:p>
        <a:p>
          <a:pPr marL="114300" lvl="1" indent="-114300" algn="l" defTabSz="533400">
            <a:lnSpc>
              <a:spcPct val="90000"/>
            </a:lnSpc>
            <a:spcBef>
              <a:spcPct val="0"/>
            </a:spcBef>
            <a:spcAft>
              <a:spcPct val="15000"/>
            </a:spcAft>
            <a:buChar char="•"/>
          </a:pPr>
          <a:r>
            <a:rPr lang="de-DE" sz="1200" b="0" kern="1200" noProof="0">
              <a:ln>
                <a:noFill/>
              </a:ln>
              <a:latin typeface="+mn-lt"/>
            </a:rPr>
            <a:t>Teilmodul 3: Förderung von Forschungs- &amp; Entwicklungsprojekten, die anwenderorientierte Technologien für die Dekarbonisierung industrieller Produktionsprozesse entwickeln (Basis: </a:t>
          </a:r>
          <a:r>
            <a:rPr lang="de-DE" sz="1200" b="0" kern="1200" noProof="0">
              <a:ln>
                <a:noFill/>
              </a:ln>
              <a:latin typeface="+mn-lt"/>
              <a:hlinkClick xmlns:r="http://schemas.openxmlformats.org/officeDocument/2006/relationships" r:id="rId3"/>
            </a:rPr>
            <a:t>Art. 25, AGVO</a:t>
          </a:r>
          <a:r>
            <a:rPr lang="de-DE" sz="1200" b="0" kern="1200" noProof="0">
              <a:ln>
                <a:noFill/>
              </a:ln>
              <a:latin typeface="+mn-lt"/>
            </a:rPr>
            <a:t>)</a:t>
          </a:r>
        </a:p>
      </dsp:txBody>
      <dsp:txXfrm rot="-5400000">
        <a:off x="3271232" y="50615"/>
        <a:ext cx="7977050" cy="912863"/>
      </dsp:txXfrm>
    </dsp:sp>
    <dsp:sp modelId="{9C1950A7-783E-48B6-8E92-F40F44EBAD14}">
      <dsp:nvSpPr>
        <dsp:cNvPr id="0" name=""/>
        <dsp:cNvSpPr/>
      </dsp:nvSpPr>
      <dsp:spPr>
        <a:xfrm>
          <a:off x="223" y="47741"/>
          <a:ext cx="3221625" cy="918608"/>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WAS?</a:t>
          </a:r>
          <a:endParaRPr lang="en-GB" sz="2000" b="1" kern="1200"/>
        </a:p>
      </dsp:txBody>
      <dsp:txXfrm>
        <a:off x="45066" y="92584"/>
        <a:ext cx="3131939" cy="828922"/>
      </dsp:txXfrm>
    </dsp:sp>
    <dsp:sp modelId="{C3CA0957-EF4F-46A9-B14B-C34909532529}">
      <dsp:nvSpPr>
        <dsp:cNvPr id="0" name=""/>
        <dsp:cNvSpPr/>
      </dsp:nvSpPr>
      <dsp:spPr>
        <a:xfrm rot="5400000">
          <a:off x="6796694" y="-2551336"/>
          <a:ext cx="926126" cy="8075818"/>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Font typeface="Arial" panose="020B0604020202020204" pitchFamily="34" charset="0"/>
            <a:buChar char="•"/>
          </a:pPr>
          <a:r>
            <a:rPr lang="de-DE" altLang="de-DE" sz="1200" kern="1200">
              <a:solidFill>
                <a:srgbClr val="000000"/>
              </a:solidFill>
              <a:latin typeface="+mn-lt"/>
              <a:cs typeface="Arial" charset="0"/>
            </a:rPr>
            <a:t>Unternehmen &amp; Konsortien</a:t>
          </a:r>
          <a:endParaRPr lang="en-GB" sz="1200" kern="1200">
            <a:latin typeface="+mn-lt"/>
          </a:endParaRPr>
        </a:p>
        <a:p>
          <a:pPr marL="114300" lvl="1" indent="-114300" algn="l" defTabSz="533400">
            <a:lnSpc>
              <a:spcPct val="90000"/>
            </a:lnSpc>
            <a:spcBef>
              <a:spcPct val="0"/>
            </a:spcBef>
            <a:spcAft>
              <a:spcPct val="15000"/>
            </a:spcAft>
            <a:buFont typeface="Arial" panose="020B0604020202020204" pitchFamily="34" charset="0"/>
            <a:buChar char="•"/>
          </a:pPr>
          <a:r>
            <a:rPr lang="de-DE" altLang="de-DE" sz="1200" kern="1200">
              <a:solidFill>
                <a:srgbClr val="000000"/>
              </a:solidFill>
              <a:latin typeface="+mn-lt"/>
              <a:cs typeface="Arial" charset="0"/>
            </a:rPr>
            <a:t>Bedingungen: Betriebsstätte/Niederlassung und Umsetzung in Deutschland; Bestätigung, dass Eigenanteil getragen werden kann; Investitionen müssen nach Abschluss mind. 3 Jahre (nicht-KMU) bzw. 5 Jahre (KMU) im betreffenden Gebiet erhalten werden</a:t>
          </a:r>
          <a:endParaRPr lang="en-GB" altLang="de-DE" sz="1200" kern="1200">
            <a:solidFill>
              <a:srgbClr val="000000"/>
            </a:solidFill>
            <a:latin typeface="+mn-lt"/>
            <a:cs typeface="Arial" charset="0"/>
          </a:endParaRPr>
        </a:p>
      </dsp:txBody>
      <dsp:txXfrm rot="-5400000">
        <a:off x="3267058" y="1068720"/>
        <a:ext cx="7985398" cy="835706"/>
      </dsp:txXfrm>
    </dsp:sp>
    <dsp:sp modelId="{6282B259-D810-400D-AF6A-A79E8F7BBC6B}">
      <dsp:nvSpPr>
        <dsp:cNvPr id="0" name=""/>
        <dsp:cNvSpPr/>
      </dsp:nvSpPr>
      <dsp:spPr>
        <a:xfrm>
          <a:off x="223" y="1022174"/>
          <a:ext cx="3221625" cy="928796"/>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WER?</a:t>
          </a:r>
          <a:endParaRPr lang="en-GB" sz="2000" b="1" kern="1200"/>
        </a:p>
      </dsp:txBody>
      <dsp:txXfrm>
        <a:off x="45563" y="1067514"/>
        <a:ext cx="3130945" cy="838116"/>
      </dsp:txXfrm>
    </dsp:sp>
    <dsp:sp modelId="{42205B36-F6FD-4A61-8A6C-F7C8A06C6790}">
      <dsp:nvSpPr>
        <dsp:cNvPr id="0" name=""/>
        <dsp:cNvSpPr/>
      </dsp:nvSpPr>
      <dsp:spPr>
        <a:xfrm rot="5400000">
          <a:off x="6646357" y="-1460059"/>
          <a:ext cx="1241423" cy="8083429"/>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Font typeface="Arial" panose="020B0604020202020204" pitchFamily="34" charset="0"/>
            <a:buChar char="•"/>
          </a:pPr>
          <a:r>
            <a:rPr lang="en-GB" sz="1200" kern="1200" err="1">
              <a:latin typeface="+mn-lt"/>
            </a:rPr>
            <a:t>Teilmodul</a:t>
          </a:r>
          <a:r>
            <a:rPr lang="en-GB" sz="1200" kern="1200">
              <a:latin typeface="+mn-lt"/>
            </a:rPr>
            <a:t> 1: max. 30 Mio. </a:t>
          </a:r>
          <a:r>
            <a:rPr lang="de-DE" altLang="de-DE" sz="1200" kern="1200">
              <a:latin typeface="+mn-lt"/>
            </a:rPr>
            <a:t>€ pro Unternehmen, bis zu 40% der förderfähigen Kosten, bis zu 50% wenn Projekte zu 100% direkte THG-Emissionen verringern</a:t>
          </a:r>
          <a:endParaRPr lang="en-GB" sz="1200" kern="1200">
            <a:latin typeface="+mn-lt"/>
          </a:endParaRPr>
        </a:p>
        <a:p>
          <a:pPr marL="114300" lvl="1" indent="-114300" algn="l" defTabSz="533400">
            <a:lnSpc>
              <a:spcPct val="90000"/>
            </a:lnSpc>
            <a:spcBef>
              <a:spcPct val="0"/>
            </a:spcBef>
            <a:spcAft>
              <a:spcPct val="15000"/>
            </a:spcAft>
            <a:buFont typeface="Arial" panose="020B0604020202020204" pitchFamily="34" charset="0"/>
            <a:buChar char="•"/>
          </a:pPr>
          <a:r>
            <a:rPr lang="en-GB" sz="1200" kern="1200" err="1">
              <a:latin typeface="+mn-lt"/>
            </a:rPr>
            <a:t>Teilmodul</a:t>
          </a:r>
          <a:r>
            <a:rPr lang="en-GB" sz="1200" kern="1200">
              <a:latin typeface="+mn-lt"/>
            </a:rPr>
            <a:t> 2: max. 200 Mio. </a:t>
          </a:r>
          <a:r>
            <a:rPr lang="de-DE" altLang="de-DE" sz="1200" kern="1200">
              <a:latin typeface="+mn-lt"/>
            </a:rPr>
            <a:t>€ pro Unternehmen, bis zu 30% für Elektrifizierungsprojekte, bis zu 60% wenn aus Projekten zur Wasser-/Brennstoff Umstellung Wasserstoff gewonnen wird </a:t>
          </a:r>
          <a:endParaRPr lang="en-GB" sz="1200" kern="1200">
            <a:latin typeface="+mn-lt"/>
          </a:endParaRPr>
        </a:p>
        <a:p>
          <a:pPr marL="114300" lvl="1" indent="-114300" algn="l" defTabSz="533400">
            <a:lnSpc>
              <a:spcPct val="90000"/>
            </a:lnSpc>
            <a:spcBef>
              <a:spcPct val="0"/>
            </a:spcBef>
            <a:spcAft>
              <a:spcPct val="15000"/>
            </a:spcAft>
            <a:buFont typeface="Arial" panose="020B0604020202020204" pitchFamily="34" charset="0"/>
            <a:buChar char="•"/>
          </a:pPr>
          <a:r>
            <a:rPr lang="en-GB" sz="1200" kern="1200" err="1">
              <a:latin typeface="+mn-lt"/>
            </a:rPr>
            <a:t>Teilmodul</a:t>
          </a:r>
          <a:r>
            <a:rPr lang="en-GB" sz="1200" kern="1200">
              <a:latin typeface="+mn-lt"/>
            </a:rPr>
            <a:t> 3: max. 35 Mio </a:t>
          </a:r>
          <a:r>
            <a:rPr lang="de-DE" altLang="de-DE" sz="1200" kern="1200">
              <a:latin typeface="+mn-lt"/>
            </a:rPr>
            <a:t>€ für industrielle Forschung, bis zu 25 Mio. € für experimentelle Entwicklung, bis zu 8,25 Mio. €  für Durchführbarkeitsstudien</a:t>
          </a:r>
          <a:endParaRPr lang="en-GB" sz="1200" kern="1200">
            <a:latin typeface="+mn-lt"/>
          </a:endParaRPr>
        </a:p>
      </dsp:txBody>
      <dsp:txXfrm rot="-5400000">
        <a:off x="3285955" y="2021545"/>
        <a:ext cx="7962227" cy="1120221"/>
      </dsp:txXfrm>
    </dsp:sp>
    <dsp:sp modelId="{E2E438A6-5F37-4E34-923A-0CA8673CDF3A}">
      <dsp:nvSpPr>
        <dsp:cNvPr id="0" name=""/>
        <dsp:cNvSpPr/>
      </dsp:nvSpPr>
      <dsp:spPr>
        <a:xfrm>
          <a:off x="223" y="1960282"/>
          <a:ext cx="3225131" cy="1242745"/>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WIE VIEL?</a:t>
          </a:r>
          <a:endParaRPr lang="en-GB" sz="2000" b="1" kern="1200"/>
        </a:p>
      </dsp:txBody>
      <dsp:txXfrm>
        <a:off x="60889" y="2020948"/>
        <a:ext cx="3103799" cy="1121413"/>
      </dsp:txXfrm>
    </dsp:sp>
    <dsp:sp modelId="{600B0FCE-F633-4F00-B20F-1253DB6B5E6E}">
      <dsp:nvSpPr>
        <dsp:cNvPr id="0" name=""/>
        <dsp:cNvSpPr/>
      </dsp:nvSpPr>
      <dsp:spPr>
        <a:xfrm rot="5400000">
          <a:off x="7033323" y="-595235"/>
          <a:ext cx="464489" cy="8080400"/>
        </a:xfrm>
        <a:prstGeom prst="roundRect">
          <a:avLst/>
        </a:prstGeom>
        <a:solidFill>
          <a:srgbClr val="FEEAE8">
            <a:alpha val="90000"/>
          </a:srgbClr>
        </a:solidFill>
        <a:ln w="63500" cap="rnd" cmpd="sng" algn="ctr">
          <a:solidFill>
            <a:schemeClr val="bg1">
              <a:alpha val="90000"/>
            </a:schemeClr>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None/>
          </a:pPr>
          <a:r>
            <a:rPr lang="de-DE" sz="1200" kern="1200">
              <a:solidFill>
                <a:schemeClr val="tx1"/>
              </a:solidFill>
              <a:latin typeface="+mn-lt"/>
              <a:hlinkClick xmlns:r="http://schemas.openxmlformats.org/officeDocument/2006/relationships" r:id="rId4"/>
            </a:rPr>
            <a:t>https://www.klimaschutz-industrie.de/foerderung/bundesfoerderung-industrie-und-klimaschutz-modul-1/</a:t>
          </a:r>
          <a:r>
            <a:rPr lang="de-DE" sz="1200" kern="1200">
              <a:solidFill>
                <a:schemeClr val="tx1"/>
              </a:solidFill>
              <a:latin typeface="+mn-lt"/>
            </a:rPr>
            <a:t> </a:t>
          </a:r>
          <a:endParaRPr lang="en-GB" sz="1200" kern="1200">
            <a:solidFill>
              <a:schemeClr val="tx1"/>
            </a:solidFill>
            <a:latin typeface="+mn-lt"/>
          </a:endParaRPr>
        </a:p>
      </dsp:txBody>
      <dsp:txXfrm rot="-5400000">
        <a:off x="3248042" y="3235394"/>
        <a:ext cx="8035052" cy="419141"/>
      </dsp:txXfrm>
    </dsp:sp>
    <dsp:sp modelId="{C8A9DE35-1CD6-4E88-9A7A-CD82966A87BF}">
      <dsp:nvSpPr>
        <dsp:cNvPr id="0" name=""/>
        <dsp:cNvSpPr/>
      </dsp:nvSpPr>
      <dsp:spPr>
        <a:xfrm>
          <a:off x="223" y="3212339"/>
          <a:ext cx="3225145" cy="465249"/>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WO?</a:t>
          </a:r>
          <a:endParaRPr lang="en-GB" sz="2000" b="1" kern="1200"/>
        </a:p>
      </dsp:txBody>
      <dsp:txXfrm>
        <a:off x="22935" y="3235051"/>
        <a:ext cx="3179721" cy="419825"/>
      </dsp:txXfrm>
    </dsp:sp>
    <dsp:sp modelId="{BCBFAC89-216D-4DFF-897D-8C47A404ADDC}">
      <dsp:nvSpPr>
        <dsp:cNvPr id="0" name=""/>
        <dsp:cNvSpPr/>
      </dsp:nvSpPr>
      <dsp:spPr>
        <a:xfrm rot="5400000">
          <a:off x="7076062" y="-166504"/>
          <a:ext cx="379559" cy="8087229"/>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None/>
          </a:pPr>
          <a:r>
            <a:rPr lang="en-GB" sz="1200" kern="1200" err="1">
              <a:latin typeface="+mn-lt"/>
            </a:rPr>
            <a:t>offen</a:t>
          </a:r>
          <a:endParaRPr lang="en-GB" sz="1200" kern="1200">
            <a:latin typeface="+mn-lt"/>
          </a:endParaRPr>
        </a:p>
      </dsp:txBody>
      <dsp:txXfrm rot="-5400000">
        <a:off x="3240756" y="3705860"/>
        <a:ext cx="8050171" cy="342501"/>
      </dsp:txXfrm>
    </dsp:sp>
    <dsp:sp modelId="{36DCF81B-4ED1-4AD8-B27C-5FE0EF7F2B66}">
      <dsp:nvSpPr>
        <dsp:cNvPr id="0" name=""/>
        <dsp:cNvSpPr/>
      </dsp:nvSpPr>
      <dsp:spPr>
        <a:xfrm>
          <a:off x="223" y="3686901"/>
          <a:ext cx="3222004" cy="380419"/>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BIS WANN?</a:t>
          </a:r>
          <a:endParaRPr lang="en-GB" sz="2000" b="1" kern="1200"/>
        </a:p>
      </dsp:txBody>
      <dsp:txXfrm>
        <a:off x="18794" y="3705472"/>
        <a:ext cx="3184862" cy="343277"/>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830C8F-A2AE-4990-90BF-6D9758F800E7}">
      <dsp:nvSpPr>
        <dsp:cNvPr id="0" name=""/>
        <dsp:cNvSpPr/>
      </dsp:nvSpPr>
      <dsp:spPr>
        <a:xfrm rot="5400000">
          <a:off x="6428022" y="-3205765"/>
          <a:ext cx="1663470" cy="8075818"/>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de-DE" sz="1200" kern="1200">
              <a:solidFill>
                <a:prstClr val="black">
                  <a:hueOff val="0"/>
                  <a:satOff val="0"/>
                  <a:lumOff val="0"/>
                  <a:alphaOff val="0"/>
                </a:prstClr>
              </a:solidFill>
              <a:latin typeface="Segoe UI"/>
              <a:ea typeface="+mn-ea"/>
              <a:cs typeface="+mn-cs"/>
            </a:rPr>
            <a:t>Zuwendungen für Mehrkosten transformativer Produktionsverfahren auf Basis von Klimaschutzverträgen für emissionsintensive Branchen (basierend auf dem Konzept von CO2-Differenzverträgen)</a:t>
          </a:r>
          <a:endParaRPr lang="en-GB" sz="1200" b="0" kern="1200">
            <a:ln>
              <a:noFill/>
            </a:ln>
            <a:latin typeface="+mn-lt"/>
          </a:endParaRPr>
        </a:p>
        <a:p>
          <a:pPr marL="114300" lvl="1" indent="-114300" algn="l" defTabSz="533400">
            <a:lnSpc>
              <a:spcPct val="90000"/>
            </a:lnSpc>
            <a:spcBef>
              <a:spcPct val="0"/>
            </a:spcBef>
            <a:spcAft>
              <a:spcPct val="15000"/>
            </a:spcAft>
            <a:buFont typeface="Times New Roman" panose="02020603050405020304" pitchFamily="18" charset="0"/>
            <a:buChar char="•"/>
          </a:pPr>
          <a:r>
            <a:rPr lang="de-DE" sz="1200" kern="1200" dirty="0">
              <a:solidFill>
                <a:prstClr val="black">
                  <a:hueOff val="0"/>
                  <a:satOff val="0"/>
                  <a:lumOff val="0"/>
                  <a:alphaOff val="0"/>
                </a:prstClr>
              </a:solidFill>
              <a:latin typeface="Segoe UI"/>
              <a:ea typeface="+mn-ea"/>
              <a:cs typeface="+mn-cs"/>
            </a:rPr>
            <a:t>Ausgleich der Mehrkosten in der Herstellung von Produkten (aufgrund von klimafreundlicheren Anlagen oder dem Umbau zu klimafreundlicheren Anlagen (CAPEX) und dem Betrieb (OPEX))</a:t>
          </a:r>
        </a:p>
        <a:p>
          <a:pPr marL="114300" lvl="1" indent="-114300" algn="l" defTabSz="533400">
            <a:lnSpc>
              <a:spcPct val="90000"/>
            </a:lnSpc>
            <a:spcBef>
              <a:spcPct val="0"/>
            </a:spcBef>
            <a:spcAft>
              <a:spcPct val="15000"/>
            </a:spcAft>
            <a:buFont typeface="Times New Roman" panose="02020603050405020304" pitchFamily="18" charset="0"/>
            <a:buChar char="•"/>
          </a:pPr>
          <a:r>
            <a:rPr lang="de-DE" sz="1200" kern="1200" dirty="0">
              <a:solidFill>
                <a:prstClr val="black">
                  <a:hueOff val="0"/>
                  <a:satOff val="0"/>
                  <a:lumOff val="0"/>
                  <a:alphaOff val="0"/>
                </a:prstClr>
              </a:solidFill>
              <a:latin typeface="Segoe UI"/>
              <a:ea typeface="+mn-ea"/>
              <a:cs typeface="+mn-cs"/>
            </a:rPr>
            <a:t>Marktetablierung von transformativen Produktionsverfahren</a:t>
          </a:r>
        </a:p>
        <a:p>
          <a:pPr marL="114300" lvl="1" indent="-114300" algn="l" defTabSz="533400">
            <a:lnSpc>
              <a:spcPct val="90000"/>
            </a:lnSpc>
            <a:spcBef>
              <a:spcPct val="0"/>
            </a:spcBef>
            <a:spcAft>
              <a:spcPct val="15000"/>
            </a:spcAft>
            <a:buFont typeface="Times New Roman" panose="02020603050405020304" pitchFamily="18" charset="0"/>
            <a:buChar char="•"/>
          </a:pPr>
          <a:r>
            <a:rPr lang="de-DE" sz="1200" kern="1200" dirty="0">
              <a:solidFill>
                <a:prstClr val="black">
                  <a:hueOff val="0"/>
                  <a:satOff val="0"/>
                  <a:lumOff val="0"/>
                  <a:alphaOff val="0"/>
                </a:prstClr>
              </a:solidFill>
              <a:latin typeface="Segoe UI"/>
              <a:ea typeface="+mn-ea"/>
              <a:cs typeface="+mn-cs"/>
            </a:rPr>
            <a:t>Hinweis: auch </a:t>
          </a:r>
          <a:r>
            <a:rPr lang="de-DE" sz="1200" kern="1200" dirty="0">
              <a:solidFill>
                <a:schemeClr val="tx1"/>
              </a:solidFill>
              <a:effectLst/>
              <a:latin typeface="+mj-lt"/>
              <a:ea typeface="Aptos" panose="020B0004020202020204" pitchFamily="34" charset="0"/>
              <a:cs typeface="Aptos" panose="020B0004020202020204" pitchFamily="34" charset="0"/>
            </a:rPr>
            <a:t>Installation und Betrieb von Strom-/Wärmespeicher ist förderbar, Unternehmen können darüber möglicherweise gleichzeitig bessere Energiebezugskonditionen bei ihrem Versorger erzielen</a:t>
          </a:r>
          <a:endParaRPr lang="de-DE" sz="1200" kern="1200" dirty="0">
            <a:solidFill>
              <a:schemeClr val="tx1"/>
            </a:solidFill>
            <a:latin typeface="Segoe UI"/>
            <a:ea typeface="+mn-ea"/>
            <a:cs typeface="+mn-cs"/>
          </a:endParaRPr>
        </a:p>
        <a:p>
          <a:pPr marL="114300" lvl="1" indent="-114300" algn="l" defTabSz="533400">
            <a:lnSpc>
              <a:spcPct val="90000"/>
            </a:lnSpc>
            <a:spcBef>
              <a:spcPct val="0"/>
            </a:spcBef>
            <a:spcAft>
              <a:spcPct val="15000"/>
            </a:spcAft>
            <a:buFont typeface="Times New Roman" panose="02020603050405020304" pitchFamily="18" charset="0"/>
            <a:buChar char="•"/>
          </a:pPr>
          <a:r>
            <a:rPr lang="de-DE" sz="1200" kern="1200" dirty="0">
              <a:solidFill>
                <a:prstClr val="black">
                  <a:hueOff val="0"/>
                  <a:satOff val="0"/>
                  <a:lumOff val="0"/>
                  <a:alphaOff val="0"/>
                </a:prstClr>
              </a:solidFill>
              <a:latin typeface="Segoe UI"/>
              <a:ea typeface="+mn-ea"/>
              <a:cs typeface="+mn-cs"/>
            </a:rPr>
            <a:t>Laufzeit der Verträge: 15 Jahre</a:t>
          </a:r>
        </a:p>
      </dsp:txBody>
      <dsp:txXfrm rot="-5400000">
        <a:off x="3303052" y="81613"/>
        <a:ext cx="7913410" cy="1501062"/>
      </dsp:txXfrm>
    </dsp:sp>
    <dsp:sp modelId="{9C1950A7-783E-48B6-8E92-F40F44EBAD14}">
      <dsp:nvSpPr>
        <dsp:cNvPr id="0" name=""/>
        <dsp:cNvSpPr/>
      </dsp:nvSpPr>
      <dsp:spPr>
        <a:xfrm>
          <a:off x="223" y="101"/>
          <a:ext cx="3221625" cy="1664084"/>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WAS?</a:t>
          </a:r>
          <a:endParaRPr lang="en-GB" sz="2000" b="1" kern="1200"/>
        </a:p>
      </dsp:txBody>
      <dsp:txXfrm>
        <a:off x="81457" y="81335"/>
        <a:ext cx="3059157" cy="1501616"/>
      </dsp:txXfrm>
    </dsp:sp>
    <dsp:sp modelId="{C3CA0957-EF4F-46A9-B14B-C34909532529}">
      <dsp:nvSpPr>
        <dsp:cNvPr id="0" name=""/>
        <dsp:cNvSpPr/>
      </dsp:nvSpPr>
      <dsp:spPr>
        <a:xfrm rot="5400000">
          <a:off x="6695438" y="-1796428"/>
          <a:ext cx="1128639" cy="8075818"/>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Font typeface="Times New Roman" panose="02020603050405020304" pitchFamily="18" charset="0"/>
            <a:buChar char="•"/>
          </a:pPr>
          <a:r>
            <a:rPr lang="de-DE" sz="1200" kern="1200"/>
            <a:t>Unternehmen aus emissionsintensiven Branchen</a:t>
          </a:r>
          <a:r>
            <a:rPr lang="de-DE" sz="1200" b="1" kern="1200"/>
            <a:t> </a:t>
          </a:r>
          <a:r>
            <a:rPr lang="de-DE" sz="1200" b="1" kern="1200">
              <a:sym typeface="Wingdings" panose="05000000000000000000" pitchFamily="2" charset="2"/>
            </a:rPr>
            <a:t></a:t>
          </a:r>
          <a:r>
            <a:rPr lang="de-DE" sz="1200" b="1" kern="1200"/>
            <a:t> </a:t>
          </a:r>
          <a:r>
            <a:rPr lang="de-DE" sz="1200" kern="1200"/>
            <a:t>Mindestgröße: 5 kt CO2-Äquivalente pro Kalenderjahr</a:t>
          </a:r>
          <a:endParaRPr lang="en-GB" sz="1200" kern="1200">
            <a:latin typeface="+mn-lt"/>
          </a:endParaRPr>
        </a:p>
        <a:p>
          <a:pPr marL="114300" lvl="1" indent="-114300" algn="l" defTabSz="533400">
            <a:lnSpc>
              <a:spcPct val="90000"/>
            </a:lnSpc>
            <a:spcBef>
              <a:spcPct val="0"/>
            </a:spcBef>
            <a:spcAft>
              <a:spcPct val="15000"/>
            </a:spcAft>
            <a:buFont typeface="Times New Roman" panose="02020603050405020304" pitchFamily="18" charset="0"/>
            <a:buChar char="•"/>
          </a:pPr>
          <a:r>
            <a:rPr lang="de-DE" sz="1200" kern="1200">
              <a:solidFill>
                <a:prstClr val="black">
                  <a:hueOff val="0"/>
                  <a:satOff val="0"/>
                  <a:lumOff val="0"/>
                  <a:alphaOff val="0"/>
                </a:prstClr>
              </a:solidFill>
              <a:latin typeface="Segoe UI"/>
              <a:ea typeface="+mn-ea"/>
              <a:cs typeface="+mn-cs"/>
            </a:rPr>
            <a:t>Konsortium möglich (technologischer Verbund der Herstellungsprozesse)</a:t>
          </a:r>
        </a:p>
        <a:p>
          <a:pPr marL="114300" lvl="1" indent="-114300" algn="l" defTabSz="533400">
            <a:lnSpc>
              <a:spcPct val="90000"/>
            </a:lnSpc>
            <a:spcBef>
              <a:spcPct val="0"/>
            </a:spcBef>
            <a:spcAft>
              <a:spcPct val="15000"/>
            </a:spcAft>
            <a:buFont typeface="Times New Roman" panose="02020603050405020304" pitchFamily="18" charset="0"/>
            <a:buChar char="•"/>
          </a:pPr>
          <a:r>
            <a:rPr lang="de-DE" sz="1200" kern="1200">
              <a:solidFill>
                <a:prstClr val="black">
                  <a:hueOff val="0"/>
                  <a:satOff val="0"/>
                  <a:lumOff val="0"/>
                  <a:alphaOff val="0"/>
                </a:prstClr>
              </a:solidFill>
              <a:latin typeface="Segoe UI"/>
              <a:ea typeface="+mn-ea"/>
              <a:cs typeface="+mn-cs"/>
            </a:rPr>
            <a:t>Prozesse mit hohen Wertschöpfungskettenintegration, Einfügung in die Industrie- und Energiestrategie der Bundesregierung und globale Klimafreundlichkeit (Maßnahmen müssen zu hohen THG-Einsparungen führen)</a:t>
          </a:r>
        </a:p>
        <a:p>
          <a:pPr marL="114300" lvl="1" indent="-114300" algn="l" defTabSz="533400">
            <a:lnSpc>
              <a:spcPct val="90000"/>
            </a:lnSpc>
            <a:spcBef>
              <a:spcPct val="0"/>
            </a:spcBef>
            <a:spcAft>
              <a:spcPct val="15000"/>
            </a:spcAft>
            <a:buFont typeface="Times New Roman" panose="02020603050405020304" pitchFamily="18" charset="0"/>
            <a:buChar char="•"/>
          </a:pPr>
          <a:r>
            <a:rPr lang="de-DE" sz="1200" kern="1200" dirty="0">
              <a:solidFill>
                <a:prstClr val="black">
                  <a:hueOff val="0"/>
                  <a:satOff val="0"/>
                  <a:lumOff val="0"/>
                  <a:alphaOff val="0"/>
                </a:prstClr>
              </a:solidFill>
              <a:latin typeface="Segoe UI"/>
              <a:ea typeface="+mn-ea"/>
              <a:cs typeface="+mn-cs"/>
            </a:rPr>
            <a:t>Auch für mittelständische Unternehmen mit kleineren Produktionsanlagen</a:t>
          </a:r>
        </a:p>
      </dsp:txBody>
      <dsp:txXfrm rot="-5400000">
        <a:off x="3276945" y="1732257"/>
        <a:ext cx="7965626" cy="1018447"/>
      </dsp:txXfrm>
    </dsp:sp>
    <dsp:sp modelId="{6282B259-D810-400D-AF6A-A79E8F7BBC6B}">
      <dsp:nvSpPr>
        <dsp:cNvPr id="0" name=""/>
        <dsp:cNvSpPr/>
      </dsp:nvSpPr>
      <dsp:spPr>
        <a:xfrm>
          <a:off x="223" y="1675534"/>
          <a:ext cx="3221625" cy="1131893"/>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WER?</a:t>
          </a:r>
          <a:endParaRPr lang="en-GB" sz="2000" b="1" kern="1200"/>
        </a:p>
      </dsp:txBody>
      <dsp:txXfrm>
        <a:off x="55477" y="1730788"/>
        <a:ext cx="3111117" cy="1021385"/>
      </dsp:txXfrm>
    </dsp:sp>
    <dsp:sp modelId="{42205B36-F6FD-4A61-8A6C-F7C8A06C6790}">
      <dsp:nvSpPr>
        <dsp:cNvPr id="0" name=""/>
        <dsp:cNvSpPr/>
      </dsp:nvSpPr>
      <dsp:spPr>
        <a:xfrm rot="5400000">
          <a:off x="6993793" y="-949662"/>
          <a:ext cx="546551" cy="8083429"/>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kern="1200" err="1">
              <a:latin typeface="+mn-lt"/>
            </a:rPr>
            <a:t>genauer</a:t>
          </a:r>
          <a:r>
            <a:rPr lang="en-GB" sz="1200" kern="1200">
              <a:latin typeface="+mn-lt"/>
            </a:rPr>
            <a:t> </a:t>
          </a:r>
          <a:r>
            <a:rPr lang="en-GB" sz="1200" kern="1200" err="1">
              <a:latin typeface="+mn-lt"/>
            </a:rPr>
            <a:t>Betrag</a:t>
          </a:r>
          <a:r>
            <a:rPr lang="en-GB" sz="1200" kern="1200">
              <a:latin typeface="+mn-lt"/>
            </a:rPr>
            <a:t> </a:t>
          </a:r>
          <a:r>
            <a:rPr lang="en-GB" sz="1200" kern="1200" err="1">
              <a:latin typeface="+mn-lt"/>
            </a:rPr>
            <a:t>abhängig</a:t>
          </a:r>
          <a:r>
            <a:rPr lang="en-GB" sz="1200" kern="1200">
              <a:latin typeface="+mn-lt"/>
            </a:rPr>
            <a:t> von </a:t>
          </a:r>
          <a:r>
            <a:rPr lang="en-GB" sz="1200" kern="1200" err="1">
              <a:latin typeface="+mn-lt"/>
            </a:rPr>
            <a:t>abgeschlossenem</a:t>
          </a:r>
          <a:r>
            <a:rPr lang="en-GB" sz="1200" kern="1200">
              <a:latin typeface="+mn-lt"/>
            </a:rPr>
            <a:t> </a:t>
          </a:r>
          <a:r>
            <a:rPr lang="en-GB" sz="1200" kern="1200" err="1">
              <a:latin typeface="+mn-lt"/>
            </a:rPr>
            <a:t>Vertrag</a:t>
          </a:r>
          <a:endParaRPr lang="en-GB" sz="1200" kern="1200">
            <a:latin typeface="+mn-lt"/>
          </a:endParaRPr>
        </a:p>
        <a:p>
          <a:pPr marL="114300" lvl="1" indent="-114300" algn="l" defTabSz="533400">
            <a:lnSpc>
              <a:spcPct val="90000"/>
            </a:lnSpc>
            <a:spcBef>
              <a:spcPct val="0"/>
            </a:spcBef>
            <a:spcAft>
              <a:spcPct val="15000"/>
            </a:spcAft>
            <a:buChar char="•"/>
          </a:pPr>
          <a:r>
            <a:rPr lang="de-DE" sz="1200" kern="1200">
              <a:latin typeface="+mn-lt"/>
            </a:rPr>
            <a:t>Meilensteine für CO2-Einsparung (60% ab 3. Jahr, 90% im letzten Jahr der Laufzeit der Verträge)</a:t>
          </a:r>
          <a:endParaRPr lang="en-GB" sz="1200" kern="1200">
            <a:latin typeface="+mn-lt"/>
          </a:endParaRPr>
        </a:p>
      </dsp:txBody>
      <dsp:txXfrm rot="-5400000">
        <a:off x="3252034" y="2845457"/>
        <a:ext cx="8030069" cy="493191"/>
      </dsp:txXfrm>
    </dsp:sp>
    <dsp:sp modelId="{E2E438A6-5F37-4E34-923A-0CA8673CDF3A}">
      <dsp:nvSpPr>
        <dsp:cNvPr id="0" name=""/>
        <dsp:cNvSpPr/>
      </dsp:nvSpPr>
      <dsp:spPr>
        <a:xfrm>
          <a:off x="223" y="2832467"/>
          <a:ext cx="3225131" cy="519168"/>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WIE VIEL?</a:t>
          </a:r>
          <a:endParaRPr lang="en-GB" sz="2000" b="1" kern="1200"/>
        </a:p>
      </dsp:txBody>
      <dsp:txXfrm>
        <a:off x="25567" y="2857811"/>
        <a:ext cx="3174443" cy="468480"/>
      </dsp:txXfrm>
    </dsp:sp>
    <dsp:sp modelId="{600B0FCE-F633-4F00-B20F-1253DB6B5E6E}">
      <dsp:nvSpPr>
        <dsp:cNvPr id="0" name=""/>
        <dsp:cNvSpPr/>
      </dsp:nvSpPr>
      <dsp:spPr>
        <a:xfrm rot="5400000">
          <a:off x="7101309" y="-481832"/>
          <a:ext cx="328518" cy="8080400"/>
        </a:xfrm>
        <a:prstGeom prst="roundRect">
          <a:avLst/>
        </a:prstGeom>
        <a:solidFill>
          <a:srgbClr val="FEEAE8">
            <a:alpha val="90000"/>
          </a:srgbClr>
        </a:solidFill>
        <a:ln w="63500" cap="rnd" cmpd="sng" algn="ctr">
          <a:solidFill>
            <a:schemeClr val="bg1">
              <a:alpha val="90000"/>
            </a:schemeClr>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None/>
          </a:pPr>
          <a:r>
            <a:rPr lang="de-DE" sz="1200" kern="1200">
              <a:solidFill>
                <a:schemeClr val="tx1"/>
              </a:solidFill>
              <a:latin typeface="+mn-lt"/>
              <a:hlinkClick xmlns:r="http://schemas.openxmlformats.org/officeDocument/2006/relationships" r:id="rId1"/>
            </a:rPr>
            <a:t>https://www.klimaschutzvertraege.info/</a:t>
          </a:r>
          <a:r>
            <a:rPr lang="de-DE" sz="1200" kern="1200">
              <a:solidFill>
                <a:schemeClr val="tx1"/>
              </a:solidFill>
              <a:latin typeface="+mn-lt"/>
            </a:rPr>
            <a:t> </a:t>
          </a:r>
          <a:endParaRPr lang="en-GB" sz="1200" kern="1200">
            <a:solidFill>
              <a:schemeClr val="tx1"/>
            </a:solidFill>
            <a:latin typeface="+mn-lt"/>
          </a:endParaRPr>
        </a:p>
      </dsp:txBody>
      <dsp:txXfrm rot="-5400000">
        <a:off x="3241405" y="3410146"/>
        <a:ext cx="8048326" cy="296444"/>
      </dsp:txXfrm>
    </dsp:sp>
    <dsp:sp modelId="{C8A9DE35-1CD6-4E88-9A7A-CD82966A87BF}">
      <dsp:nvSpPr>
        <dsp:cNvPr id="0" name=""/>
        <dsp:cNvSpPr/>
      </dsp:nvSpPr>
      <dsp:spPr>
        <a:xfrm>
          <a:off x="223" y="3376676"/>
          <a:ext cx="3225145" cy="363383"/>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WO?</a:t>
          </a:r>
          <a:endParaRPr lang="en-GB" sz="2000" b="1" kern="1200"/>
        </a:p>
      </dsp:txBody>
      <dsp:txXfrm>
        <a:off x="17962" y="3394415"/>
        <a:ext cx="3189667" cy="327905"/>
      </dsp:txXfrm>
    </dsp:sp>
    <dsp:sp modelId="{BCBFAC89-216D-4DFF-897D-8C47A404ADDC}">
      <dsp:nvSpPr>
        <dsp:cNvPr id="0" name=""/>
        <dsp:cNvSpPr/>
      </dsp:nvSpPr>
      <dsp:spPr>
        <a:xfrm rot="5400000">
          <a:off x="7107678" y="-133685"/>
          <a:ext cx="316327" cy="8087229"/>
        </a:xfrm>
        <a:prstGeom prst="roundRect">
          <a:avLst/>
        </a:prstGeom>
        <a:solidFill>
          <a:srgbClr val="FEEAE8">
            <a:alpha val="90000"/>
          </a:srgbClr>
        </a:solidFill>
        <a:ln w="63500" cap="rnd" cmpd="sng" algn="ctr">
          <a:solidFill>
            <a:schemeClr val="bg1"/>
          </a:solidFill>
          <a:prstDash val="solid"/>
          <a:roun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Font typeface="Times New Roman" panose="02020603050405020304" pitchFamily="18" charset="0"/>
            <a:buNone/>
          </a:pPr>
          <a:r>
            <a:rPr lang="en-GB" sz="1200" kern="1200" dirty="0">
              <a:latin typeface="+mn-lt"/>
            </a:rPr>
            <a:t>6.10 – 1.12. </a:t>
          </a:r>
          <a:r>
            <a:rPr lang="en-GB" sz="1200" kern="1200" dirty="0" err="1">
              <a:latin typeface="+mn-lt"/>
            </a:rPr>
            <a:t>Vorbereitendes</a:t>
          </a:r>
          <a:r>
            <a:rPr lang="en-GB" sz="1200" kern="1200" dirty="0">
              <a:latin typeface="+mn-lt"/>
            </a:rPr>
            <a:t> </a:t>
          </a:r>
          <a:r>
            <a:rPr lang="en-GB" sz="1200" kern="1200" dirty="0" err="1">
              <a:latin typeface="+mn-lt"/>
            </a:rPr>
            <a:t>Verfahren</a:t>
          </a:r>
          <a:r>
            <a:rPr lang="en-GB" sz="1200" kern="1200" dirty="0">
              <a:latin typeface="+mn-lt"/>
            </a:rPr>
            <a:t> für </a:t>
          </a:r>
          <a:r>
            <a:rPr lang="en-GB" sz="1200" kern="1200" dirty="0" err="1">
              <a:latin typeface="+mn-lt"/>
            </a:rPr>
            <a:t>Gebotsverfahren</a:t>
          </a:r>
          <a:r>
            <a:rPr lang="en-GB" sz="1200" kern="1200" dirty="0">
              <a:latin typeface="+mn-lt"/>
            </a:rPr>
            <a:t> 2026, </a:t>
          </a:r>
          <a:r>
            <a:rPr lang="en-GB" sz="1200" kern="1200" dirty="0" err="1">
              <a:latin typeface="+mn-lt"/>
            </a:rPr>
            <a:t>Gebotsverfahren</a:t>
          </a:r>
          <a:r>
            <a:rPr lang="en-GB" sz="1200" kern="1200" dirty="0">
              <a:latin typeface="+mn-lt"/>
            </a:rPr>
            <a:t> </a:t>
          </a:r>
          <a:r>
            <a:rPr lang="en-GB" sz="1200" kern="1200" dirty="0" err="1">
              <a:latin typeface="+mn-lt"/>
            </a:rPr>
            <a:t>startet</a:t>
          </a:r>
          <a:r>
            <a:rPr lang="en-GB" sz="1200" kern="1200" dirty="0">
              <a:latin typeface="+mn-lt"/>
            </a:rPr>
            <a:t> </a:t>
          </a:r>
          <a:r>
            <a:rPr lang="en-GB" sz="1200" kern="1200" dirty="0" err="1">
              <a:latin typeface="+mn-lt"/>
            </a:rPr>
            <a:t>vrstl</a:t>
          </a:r>
          <a:r>
            <a:rPr lang="en-GB" sz="1200" kern="1200" dirty="0">
              <a:latin typeface="+mn-lt"/>
            </a:rPr>
            <a:t>. Mitte 2026</a:t>
          </a:r>
        </a:p>
      </dsp:txBody>
      <dsp:txXfrm rot="-5400000">
        <a:off x="3237669" y="3767208"/>
        <a:ext cx="8056345" cy="285443"/>
      </dsp:txXfrm>
    </dsp:sp>
    <dsp:sp modelId="{36DCF81B-4ED1-4AD8-B27C-5FE0EF7F2B66}">
      <dsp:nvSpPr>
        <dsp:cNvPr id="0" name=""/>
        <dsp:cNvSpPr/>
      </dsp:nvSpPr>
      <dsp:spPr>
        <a:xfrm>
          <a:off x="223" y="3751408"/>
          <a:ext cx="3222004" cy="317041"/>
        </a:xfrm>
        <a:prstGeom prst="roundRect">
          <a:avLst/>
        </a:prstGeom>
        <a:solidFill>
          <a:srgbClr val="FC5B2F"/>
        </a:solidFill>
        <a:ln w="635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b="1" kern="1200"/>
            <a:t>BIS WANN?</a:t>
          </a:r>
          <a:endParaRPr lang="en-GB" sz="2000" b="1" kern="1200"/>
        </a:p>
      </dsp:txBody>
      <dsp:txXfrm>
        <a:off x="15700" y="3766885"/>
        <a:ext cx="3191050" cy="286087"/>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E86DED3-6E9F-4975-9B7C-5376A1E8D9D0}" type="datetimeFigureOut">
              <a:rPr lang="en-GB" smtClean="0"/>
              <a:t>20/03/2026</a:t>
            </a:fld>
            <a:endParaRPr lang="en-GB"/>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FB6301-3AED-4F03-86FC-AC4C20111AF5}" type="slidenum">
              <a:rPr lang="en-GB" smtClean="0"/>
              <a:t>‹Nr.›</a:t>
            </a:fld>
            <a:endParaRPr lang="en-GB"/>
          </a:p>
        </p:txBody>
      </p:sp>
    </p:spTree>
    <p:extLst>
      <p:ext uri="{BB962C8B-B14F-4D97-AF65-F5344CB8AC3E}">
        <p14:creationId xmlns:p14="http://schemas.microsoft.com/office/powerpoint/2010/main" val="6945455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314450"/>
            <a:ext cx="3359150" cy="1889125"/>
          </a:xfrm>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6A2A10-B827-4CCE-9EB2-A13B5A721707}" type="slidenum">
              <a:rPr kumimoji="0" lang="de-DE" sz="10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de-DE" sz="10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4075563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314450"/>
            <a:ext cx="3359150" cy="1889125"/>
          </a:xfrm>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6A2A10-B827-4CCE-9EB2-A13B5A721707}" type="slidenum">
              <a:rPr kumimoji="0" lang="de-DE" sz="10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de-DE" sz="10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6007382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314450"/>
            <a:ext cx="3359150" cy="1889125"/>
          </a:xfrm>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6A2A10-B827-4CCE-9EB2-A13B5A721707}" type="slidenum">
              <a:rPr kumimoji="0" lang="de-DE" sz="10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de-DE" sz="10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5156182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314450"/>
            <a:ext cx="3359150" cy="1889125"/>
          </a:xfrm>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6A2A10-B827-4CCE-9EB2-A13B5A721707}" type="slidenum">
              <a:rPr kumimoji="0" lang="de-DE" sz="10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de-DE" sz="10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41862276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314450"/>
            <a:ext cx="3359150" cy="1889125"/>
          </a:xfrm>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6A2A10-B827-4CCE-9EB2-A13B5A721707}" type="slidenum">
              <a:rPr kumimoji="0" lang="de-DE" sz="10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de-DE" sz="10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5760726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314450"/>
            <a:ext cx="3359150" cy="1889125"/>
          </a:xfrm>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6A2A10-B827-4CCE-9EB2-A13B5A721707}" type="slidenum">
              <a:rPr kumimoji="0" lang="de-DE" sz="10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de-DE" sz="10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41187997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314450"/>
            <a:ext cx="3359150" cy="1889125"/>
          </a:xfrm>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6A2A10-B827-4CCE-9EB2-A13B5A721707}" type="slidenum">
              <a:rPr kumimoji="0" lang="de-DE" sz="10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de-DE" sz="10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799663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314450"/>
            <a:ext cx="3359150" cy="1889125"/>
          </a:xfrm>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6A2A10-B827-4CCE-9EB2-A13B5A721707}" type="slidenum">
              <a:rPr kumimoji="0" lang="de-DE" sz="10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de-DE" sz="10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0935143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314450"/>
            <a:ext cx="3359150" cy="1889125"/>
          </a:xfrm>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6A2A10-B827-4CCE-9EB2-A13B5A721707}" type="slidenum">
              <a:rPr kumimoji="0" lang="de-DE" sz="10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de-DE" sz="10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4798996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314450"/>
            <a:ext cx="3359150" cy="1889125"/>
          </a:xfrm>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6A2A10-B827-4CCE-9EB2-A13B5A721707}" type="slidenum">
              <a:rPr kumimoji="0" lang="de-DE" sz="10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de-DE" sz="10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4798996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p:spTree>
      <p:nvGrpSpPr>
        <p:cNvPr id="1" name=""/>
        <p:cNvGrpSpPr/>
        <p:nvPr/>
      </p:nvGrpSpPr>
      <p:grpSpPr>
        <a:xfrm>
          <a:off x="0" y="0"/>
          <a:ext cx="0" cy="0"/>
          <a:chOff x="0" y="0"/>
          <a:chExt cx="0" cy="0"/>
        </a:xfrm>
      </p:grpSpPr>
      <p:sp>
        <p:nvSpPr>
          <p:cNvPr id="12" name="Grafik 2">
            <a:extLst>
              <a:ext uri="{FF2B5EF4-FFF2-40B4-BE49-F238E27FC236}">
                <a16:creationId xmlns:a16="http://schemas.microsoft.com/office/drawing/2014/main" id="{BABC817F-6CAA-46CF-B8CE-62F4DBC2E864}"/>
              </a:ext>
            </a:extLst>
          </p:cNvPr>
          <p:cNvSpPr/>
          <p:nvPr userDrawn="1"/>
        </p:nvSpPr>
        <p:spPr bwMode="gray">
          <a:xfrm>
            <a:off x="550863" y="2882506"/>
            <a:ext cx="1872729" cy="1945922"/>
          </a:xfrm>
          <a:custGeom>
            <a:avLst/>
            <a:gdLst>
              <a:gd name="connsiteX0" fmla="*/ 723 w 1221432"/>
              <a:gd name="connsiteY0" fmla="*/ 630127 h 1269170"/>
              <a:gd name="connsiteX1" fmla="*/ 1199 w 1221432"/>
              <a:gd name="connsiteY1" fmla="*/ 195025 h 1269170"/>
              <a:gd name="connsiteX2" fmla="*/ 11200 w 1221432"/>
              <a:gd name="connsiteY2" fmla="*/ 115396 h 1269170"/>
              <a:gd name="connsiteX3" fmla="*/ 156171 w 1221432"/>
              <a:gd name="connsiteY3" fmla="*/ 1953 h 1269170"/>
              <a:gd name="connsiteX4" fmla="*/ 645089 w 1221432"/>
              <a:gd name="connsiteY4" fmla="*/ 3287 h 1269170"/>
              <a:gd name="connsiteX5" fmla="*/ 991704 w 1221432"/>
              <a:gd name="connsiteY5" fmla="*/ 146162 h 1269170"/>
              <a:gd name="connsiteX6" fmla="*/ 1220971 w 1221432"/>
              <a:gd name="connsiteY6" fmla="*/ 633270 h 1269170"/>
              <a:gd name="connsiteX7" fmla="*/ 1100384 w 1221432"/>
              <a:gd name="connsiteY7" fmla="*/ 1001983 h 1269170"/>
              <a:gd name="connsiteX8" fmla="*/ 573271 w 1221432"/>
              <a:gd name="connsiteY8" fmla="*/ 1267540 h 1269170"/>
              <a:gd name="connsiteX9" fmla="*/ 200938 w 1221432"/>
              <a:gd name="connsiteY9" fmla="*/ 1268778 h 1269170"/>
              <a:gd name="connsiteX10" fmla="*/ -325 w 1221432"/>
              <a:gd name="connsiteY10" fmla="*/ 1069610 h 1269170"/>
              <a:gd name="connsiteX11" fmla="*/ 723 w 1221432"/>
              <a:gd name="connsiteY11" fmla="*/ 630127 h 1269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1432" h="1269170">
                <a:moveTo>
                  <a:pt x="723" y="630127"/>
                </a:moveTo>
                <a:cubicBezTo>
                  <a:pt x="723" y="485156"/>
                  <a:pt x="247" y="340091"/>
                  <a:pt x="1199" y="195025"/>
                </a:cubicBezTo>
                <a:cubicBezTo>
                  <a:pt x="1132" y="168164"/>
                  <a:pt x="4495" y="141409"/>
                  <a:pt x="11200" y="115396"/>
                </a:cubicBezTo>
                <a:cubicBezTo>
                  <a:pt x="28650" y="49369"/>
                  <a:pt x="87886" y="3020"/>
                  <a:pt x="156171" y="1953"/>
                </a:cubicBezTo>
                <a:cubicBezTo>
                  <a:pt x="319144" y="715"/>
                  <a:pt x="482307" y="-2905"/>
                  <a:pt x="645089" y="3287"/>
                </a:cubicBezTo>
                <a:cubicBezTo>
                  <a:pt x="775867" y="8240"/>
                  <a:pt x="892168" y="62532"/>
                  <a:pt x="991704" y="146162"/>
                </a:cubicBezTo>
                <a:cubicBezTo>
                  <a:pt x="1142008" y="272654"/>
                  <a:pt x="1219161" y="437341"/>
                  <a:pt x="1220971" y="633270"/>
                </a:cubicBezTo>
                <a:cubicBezTo>
                  <a:pt x="1222333" y="766078"/>
                  <a:pt x="1179956" y="895646"/>
                  <a:pt x="1100384" y="1001983"/>
                </a:cubicBezTo>
                <a:cubicBezTo>
                  <a:pt x="969987" y="1180577"/>
                  <a:pt x="791869" y="1264968"/>
                  <a:pt x="573271" y="1267540"/>
                </a:cubicBezTo>
                <a:cubicBezTo>
                  <a:pt x="449446" y="1268969"/>
                  <a:pt x="324954" y="1264301"/>
                  <a:pt x="200938" y="1268778"/>
                </a:cubicBezTo>
                <a:cubicBezTo>
                  <a:pt x="76923" y="1273255"/>
                  <a:pt x="-3754" y="1186101"/>
                  <a:pt x="-325" y="1069610"/>
                </a:cubicBezTo>
                <a:cubicBezTo>
                  <a:pt x="3961" y="923306"/>
                  <a:pt x="723" y="776716"/>
                  <a:pt x="723" y="630127"/>
                </a:cubicBezTo>
                <a:close/>
              </a:path>
            </a:pathLst>
          </a:custGeom>
          <a:gradFill flip="none" rotWithShape="1">
            <a:gsLst>
              <a:gs pos="0">
                <a:srgbClr val="008795"/>
              </a:gs>
              <a:gs pos="100000">
                <a:srgbClr val="00C7D6"/>
              </a:gs>
            </a:gsLst>
            <a:lin ang="18900000" scaled="1"/>
            <a:tileRect/>
          </a:gradFill>
          <a:ln w="9525" cap="flat">
            <a:noFill/>
            <a:prstDash val="solid"/>
            <a:miter/>
          </a:ln>
        </p:spPr>
        <p:txBody>
          <a:bodyPr rtlCol="0" anchor="ctr"/>
          <a:lstStyle/>
          <a:p>
            <a:endParaRPr lang="de-DE"/>
          </a:p>
        </p:txBody>
      </p:sp>
      <p:sp>
        <p:nvSpPr>
          <p:cNvPr id="7" name="Grafik 2">
            <a:extLst>
              <a:ext uri="{FF2B5EF4-FFF2-40B4-BE49-F238E27FC236}">
                <a16:creationId xmlns:a16="http://schemas.microsoft.com/office/drawing/2014/main" id="{F13478C4-968B-4ECF-AA08-19E989399CBF}"/>
              </a:ext>
            </a:extLst>
          </p:cNvPr>
          <p:cNvSpPr/>
          <p:nvPr userDrawn="1"/>
        </p:nvSpPr>
        <p:spPr bwMode="gray">
          <a:xfrm rot="16200000">
            <a:off x="6562989" y="734083"/>
            <a:ext cx="5294516" cy="5292785"/>
          </a:xfrm>
          <a:custGeom>
            <a:avLst/>
            <a:gdLst>
              <a:gd name="connsiteX0" fmla="*/ 1020520 w 1339656"/>
              <a:gd name="connsiteY0" fmla="*/ 728768 h 1339218"/>
              <a:gd name="connsiteX1" fmla="*/ 778204 w 1339656"/>
              <a:gd name="connsiteY1" fmla="*/ 728768 h 1339218"/>
              <a:gd name="connsiteX2" fmla="*/ 729341 w 1339656"/>
              <a:gd name="connsiteY2" fmla="*/ 778393 h 1339218"/>
              <a:gd name="connsiteX3" fmla="*/ 729341 w 1339656"/>
              <a:gd name="connsiteY3" fmla="*/ 1240736 h 1339218"/>
              <a:gd name="connsiteX4" fmla="*/ 631043 w 1339656"/>
              <a:gd name="connsiteY4" fmla="*/ 1338653 h 1339218"/>
              <a:gd name="connsiteX5" fmla="*/ 244709 w 1339656"/>
              <a:gd name="connsiteY5" fmla="*/ 1189968 h 1339218"/>
              <a:gd name="connsiteX6" fmla="*/ 8488 w 1339656"/>
              <a:gd name="connsiteY6" fmla="*/ 779631 h 1339218"/>
              <a:gd name="connsiteX7" fmla="*/ 52113 w 1339656"/>
              <a:gd name="connsiteY7" fmla="*/ 410537 h 1339218"/>
              <a:gd name="connsiteX8" fmla="*/ 428827 w 1339656"/>
              <a:gd name="connsiteY8" fmla="*/ 47159 h 1339218"/>
              <a:gd name="connsiteX9" fmla="*/ 926794 w 1339656"/>
              <a:gd name="connsiteY9" fmla="*/ 55159 h 1339218"/>
              <a:gd name="connsiteX10" fmla="*/ 1331797 w 1339656"/>
              <a:gd name="connsiteY10" fmla="*/ 580939 h 1339218"/>
              <a:gd name="connsiteX11" fmla="*/ 1339226 w 1339656"/>
              <a:gd name="connsiteY11" fmla="*/ 657139 h 1339218"/>
              <a:gd name="connsiteX12" fmla="*/ 1267693 w 1339656"/>
              <a:gd name="connsiteY12" fmla="*/ 728482 h 1339218"/>
              <a:gd name="connsiteX13" fmla="*/ 1020805 w 1339656"/>
              <a:gd name="connsiteY13" fmla="*/ 728482 h 1339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9656" h="1339218">
                <a:moveTo>
                  <a:pt x="1020520" y="728768"/>
                </a:moveTo>
                <a:cubicBezTo>
                  <a:pt x="939748" y="728768"/>
                  <a:pt x="858595" y="728768"/>
                  <a:pt x="778204" y="728768"/>
                </a:cubicBezTo>
                <a:cubicBezTo>
                  <a:pt x="734389" y="728768"/>
                  <a:pt x="729436" y="733911"/>
                  <a:pt x="729341" y="778393"/>
                </a:cubicBezTo>
                <a:cubicBezTo>
                  <a:pt x="728864" y="932507"/>
                  <a:pt x="729341" y="1086621"/>
                  <a:pt x="729341" y="1240736"/>
                </a:cubicBezTo>
                <a:cubicBezTo>
                  <a:pt x="729341" y="1327700"/>
                  <a:pt x="716958" y="1341510"/>
                  <a:pt x="631043" y="1338653"/>
                </a:cubicBezTo>
                <a:cubicBezTo>
                  <a:pt x="489158" y="1334214"/>
                  <a:pt x="352960" y="1281798"/>
                  <a:pt x="244709" y="1189968"/>
                </a:cubicBezTo>
                <a:cubicBezTo>
                  <a:pt x="114787" y="1083002"/>
                  <a:pt x="34016" y="946033"/>
                  <a:pt x="8488" y="779631"/>
                </a:cubicBezTo>
                <a:cubicBezTo>
                  <a:pt x="-10562" y="653425"/>
                  <a:pt x="-465" y="529600"/>
                  <a:pt x="52113" y="410537"/>
                </a:cubicBezTo>
                <a:cubicBezTo>
                  <a:pt x="128313" y="237753"/>
                  <a:pt x="252710" y="115262"/>
                  <a:pt x="428827" y="47159"/>
                </a:cubicBezTo>
                <a:cubicBezTo>
                  <a:pt x="595705" y="-17897"/>
                  <a:pt x="763345" y="-16659"/>
                  <a:pt x="926794" y="55159"/>
                </a:cubicBezTo>
                <a:cubicBezTo>
                  <a:pt x="1156346" y="155934"/>
                  <a:pt x="1292077" y="332432"/>
                  <a:pt x="1331797" y="580939"/>
                </a:cubicBezTo>
                <a:cubicBezTo>
                  <a:pt x="1336378" y="606086"/>
                  <a:pt x="1338865" y="631574"/>
                  <a:pt x="1339226" y="657139"/>
                </a:cubicBezTo>
                <a:cubicBezTo>
                  <a:pt x="1339226" y="707336"/>
                  <a:pt x="1318557" y="727815"/>
                  <a:pt x="1267693" y="728482"/>
                </a:cubicBezTo>
                <a:cubicBezTo>
                  <a:pt x="1185398" y="729720"/>
                  <a:pt x="1103102" y="728482"/>
                  <a:pt x="1020805" y="728482"/>
                </a:cubicBezTo>
                <a:close/>
              </a:path>
            </a:pathLst>
          </a:custGeom>
          <a:gradFill>
            <a:gsLst>
              <a:gs pos="5000">
                <a:srgbClr val="FC5B2F"/>
              </a:gs>
              <a:gs pos="100000">
                <a:srgbClr val="FE935B"/>
              </a:gs>
            </a:gsLst>
            <a:lin ang="18900000" scaled="1"/>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p>
        </p:txBody>
      </p:sp>
      <p:sp>
        <p:nvSpPr>
          <p:cNvPr id="8" name="Grafik 2">
            <a:extLst>
              <a:ext uri="{FF2B5EF4-FFF2-40B4-BE49-F238E27FC236}">
                <a16:creationId xmlns:a16="http://schemas.microsoft.com/office/drawing/2014/main" id="{165EDB6C-383D-4816-8965-1E244FAD5314}"/>
              </a:ext>
            </a:extLst>
          </p:cNvPr>
          <p:cNvSpPr/>
          <p:nvPr userDrawn="1"/>
        </p:nvSpPr>
        <p:spPr bwMode="gray">
          <a:xfrm rot="16200000">
            <a:off x="9142967" y="1144865"/>
            <a:ext cx="610356" cy="1542495"/>
          </a:xfrm>
          <a:custGeom>
            <a:avLst/>
            <a:gdLst>
              <a:gd name="connsiteX0" fmla="*/ 374428 w 610356"/>
              <a:gd name="connsiteY0" fmla="*/ 1292176 h 1542495"/>
              <a:gd name="connsiteX1" fmla="*/ 411195 w 610356"/>
              <a:gd name="connsiteY1" fmla="*/ 1260838 h 1542495"/>
              <a:gd name="connsiteX2" fmla="*/ 496920 w 610356"/>
              <a:gd name="connsiteY2" fmla="*/ 1175113 h 1542495"/>
              <a:gd name="connsiteX3" fmla="*/ 560166 w 610356"/>
              <a:gd name="connsiteY3" fmla="*/ 1173875 h 1542495"/>
              <a:gd name="connsiteX4" fmla="*/ 562738 w 610356"/>
              <a:gd name="connsiteY4" fmla="*/ 1297700 h 1542495"/>
              <a:gd name="connsiteX5" fmla="*/ 343663 w 610356"/>
              <a:gd name="connsiteY5" fmla="*/ 1516775 h 1542495"/>
              <a:gd name="connsiteX6" fmla="*/ 272225 w 610356"/>
              <a:gd name="connsiteY6" fmla="*/ 1515823 h 1542495"/>
              <a:gd name="connsiteX7" fmla="*/ 24575 w 610356"/>
              <a:gd name="connsiteY7" fmla="*/ 1268173 h 1542495"/>
              <a:gd name="connsiteX8" fmla="*/ 23146 w 610356"/>
              <a:gd name="connsiteY8" fmla="*/ 1199783 h 1542495"/>
              <a:gd name="connsiteX9" fmla="*/ 137446 w 610356"/>
              <a:gd name="connsiteY9" fmla="*/ 1199783 h 1542495"/>
              <a:gd name="connsiteX10" fmla="*/ 234030 w 610356"/>
              <a:gd name="connsiteY10" fmla="*/ 1295890 h 1542495"/>
              <a:gd name="connsiteX11" fmla="*/ 244317 w 610356"/>
              <a:gd name="connsiteY11" fmla="*/ 1246837 h 1542495"/>
              <a:gd name="connsiteX12" fmla="*/ 244983 w 610356"/>
              <a:gd name="connsiteY12" fmla="*/ 577991 h 1542495"/>
              <a:gd name="connsiteX13" fmla="*/ 244983 w 610356"/>
              <a:gd name="connsiteY13" fmla="*/ 75167 h 1542495"/>
              <a:gd name="connsiteX14" fmla="*/ 245650 w 610356"/>
              <a:gd name="connsiteY14" fmla="*/ 34781 h 1542495"/>
              <a:gd name="connsiteX15" fmla="*/ 272387 w 610356"/>
              <a:gd name="connsiteY15" fmla="*/ 3052 h 1542495"/>
              <a:gd name="connsiteX16" fmla="*/ 275940 w 610356"/>
              <a:gd name="connsiteY16" fmla="*/ 2967 h 1542495"/>
              <a:gd name="connsiteX17" fmla="*/ 280417 w 610356"/>
              <a:gd name="connsiteY17" fmla="*/ 2967 h 1542495"/>
              <a:gd name="connsiteX18" fmla="*/ 372523 w 610356"/>
              <a:gd name="connsiteY18" fmla="*/ 86311 h 1542495"/>
              <a:gd name="connsiteX19" fmla="*/ 371761 w 610356"/>
              <a:gd name="connsiteY19" fmla="*/ 1231025 h 1542495"/>
              <a:gd name="connsiteX20" fmla="*/ 374428 w 610356"/>
              <a:gd name="connsiteY20" fmla="*/ 1292176 h 1542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0356" h="1542495">
                <a:moveTo>
                  <a:pt x="374428" y="1292176"/>
                </a:moveTo>
                <a:cubicBezTo>
                  <a:pt x="391859" y="1277412"/>
                  <a:pt x="402146" y="1269697"/>
                  <a:pt x="411195" y="1260838"/>
                </a:cubicBezTo>
                <a:cubicBezTo>
                  <a:pt x="439770" y="1232263"/>
                  <a:pt x="468345" y="1203688"/>
                  <a:pt x="496920" y="1175113"/>
                </a:cubicBezTo>
                <a:cubicBezTo>
                  <a:pt x="525495" y="1146538"/>
                  <a:pt x="531972" y="1147967"/>
                  <a:pt x="560166" y="1173875"/>
                </a:cubicBezTo>
                <a:cubicBezTo>
                  <a:pt x="626079" y="1234169"/>
                  <a:pt x="626079" y="1234169"/>
                  <a:pt x="562738" y="1297700"/>
                </a:cubicBezTo>
                <a:cubicBezTo>
                  <a:pt x="489709" y="1370728"/>
                  <a:pt x="416691" y="1443747"/>
                  <a:pt x="343663" y="1516775"/>
                </a:cubicBezTo>
                <a:cubicBezTo>
                  <a:pt x="309372" y="1550970"/>
                  <a:pt x="307373" y="1550875"/>
                  <a:pt x="272225" y="1515823"/>
                </a:cubicBezTo>
                <a:cubicBezTo>
                  <a:pt x="189672" y="1433270"/>
                  <a:pt x="107128" y="1350726"/>
                  <a:pt x="24575" y="1268173"/>
                </a:cubicBezTo>
                <a:cubicBezTo>
                  <a:pt x="-8667" y="1234835"/>
                  <a:pt x="-8381" y="1232454"/>
                  <a:pt x="23146" y="1199783"/>
                </a:cubicBezTo>
                <a:cubicBezTo>
                  <a:pt x="79058" y="1141776"/>
                  <a:pt x="79058" y="1141776"/>
                  <a:pt x="137446" y="1199783"/>
                </a:cubicBezTo>
                <a:cubicBezTo>
                  <a:pt x="168974" y="1231311"/>
                  <a:pt x="200692" y="1262744"/>
                  <a:pt x="234030" y="1295890"/>
                </a:cubicBezTo>
                <a:cubicBezTo>
                  <a:pt x="249270" y="1278936"/>
                  <a:pt x="244222" y="1261981"/>
                  <a:pt x="244317" y="1246837"/>
                </a:cubicBezTo>
                <a:cubicBezTo>
                  <a:pt x="244764" y="1023885"/>
                  <a:pt x="244983" y="800943"/>
                  <a:pt x="244983" y="577991"/>
                </a:cubicBezTo>
                <a:cubicBezTo>
                  <a:pt x="244983" y="410351"/>
                  <a:pt x="244983" y="242740"/>
                  <a:pt x="244983" y="75167"/>
                </a:cubicBezTo>
                <a:cubicBezTo>
                  <a:pt x="244983" y="61736"/>
                  <a:pt x="244983" y="48211"/>
                  <a:pt x="245650" y="34781"/>
                </a:cubicBezTo>
                <a:cubicBezTo>
                  <a:pt x="244269" y="18636"/>
                  <a:pt x="256242" y="4434"/>
                  <a:pt x="272387" y="3052"/>
                </a:cubicBezTo>
                <a:cubicBezTo>
                  <a:pt x="273568" y="2958"/>
                  <a:pt x="274759" y="2919"/>
                  <a:pt x="275940" y="2967"/>
                </a:cubicBezTo>
                <a:lnTo>
                  <a:pt x="280417" y="2967"/>
                </a:lnTo>
                <a:cubicBezTo>
                  <a:pt x="364427" y="-6558"/>
                  <a:pt x="372523" y="872"/>
                  <a:pt x="372523" y="86311"/>
                </a:cubicBezTo>
                <a:cubicBezTo>
                  <a:pt x="372523" y="467882"/>
                  <a:pt x="372266" y="849454"/>
                  <a:pt x="371761" y="1231025"/>
                </a:cubicBezTo>
                <a:cubicBezTo>
                  <a:pt x="372523" y="1248265"/>
                  <a:pt x="373571" y="1265506"/>
                  <a:pt x="374428" y="1292176"/>
                </a:cubicBezTo>
                <a:close/>
              </a:path>
            </a:pathLst>
          </a:custGeom>
          <a:solidFill>
            <a:srgbClr val="000000"/>
          </a:solidFill>
          <a:ln w="9525" cap="flat">
            <a:noFill/>
            <a:prstDash val="solid"/>
            <a:miter/>
          </a:ln>
        </p:spPr>
        <p:txBody>
          <a:bodyPr rtlCol="0" anchor="ctr"/>
          <a:lstStyle/>
          <a:p>
            <a:endParaRPr lang="de-DE"/>
          </a:p>
        </p:txBody>
      </p:sp>
      <p:sp>
        <p:nvSpPr>
          <p:cNvPr id="9" name="Grafik 2">
            <a:extLst>
              <a:ext uri="{FF2B5EF4-FFF2-40B4-BE49-F238E27FC236}">
                <a16:creationId xmlns:a16="http://schemas.microsoft.com/office/drawing/2014/main" id="{F2F9F3DE-559D-4E22-AC2E-0A560CD08A04}"/>
              </a:ext>
            </a:extLst>
          </p:cNvPr>
          <p:cNvSpPr/>
          <p:nvPr userDrawn="1"/>
        </p:nvSpPr>
        <p:spPr bwMode="gray">
          <a:xfrm>
            <a:off x="10380277" y="1196752"/>
            <a:ext cx="1315478" cy="1437317"/>
          </a:xfrm>
          <a:custGeom>
            <a:avLst/>
            <a:gdLst>
              <a:gd name="connsiteX0" fmla="*/ 1446513 w 1447286"/>
              <a:gd name="connsiteY0" fmla="*/ 797086 h 1581333"/>
              <a:gd name="connsiteX1" fmla="*/ 1446513 w 1447286"/>
              <a:gd name="connsiteY1" fmla="*/ 1043974 h 1581333"/>
              <a:gd name="connsiteX2" fmla="*/ 1302780 w 1447286"/>
              <a:gd name="connsiteY2" fmla="*/ 1291624 h 1581333"/>
              <a:gd name="connsiteX3" fmla="*/ 895015 w 1447286"/>
              <a:gd name="connsiteY3" fmla="*/ 1527368 h 1581333"/>
              <a:gd name="connsiteX4" fmla="*/ 726137 w 1447286"/>
              <a:gd name="connsiteY4" fmla="*/ 1581089 h 1581333"/>
              <a:gd name="connsiteX5" fmla="*/ 588787 w 1447286"/>
              <a:gd name="connsiteY5" fmla="*/ 1545465 h 1581333"/>
              <a:gd name="connsiteX6" fmla="*/ 157494 w 1447286"/>
              <a:gd name="connsiteY6" fmla="*/ 1296577 h 1581333"/>
              <a:gd name="connsiteX7" fmla="*/ 1856 w 1447286"/>
              <a:gd name="connsiteY7" fmla="*/ 1031972 h 1581333"/>
              <a:gd name="connsiteX8" fmla="*/ 1856 w 1447286"/>
              <a:gd name="connsiteY8" fmla="*/ 555722 h 1581333"/>
              <a:gd name="connsiteX9" fmla="*/ 162161 w 1447286"/>
              <a:gd name="connsiteY9" fmla="*/ 284641 h 1581333"/>
              <a:gd name="connsiteX10" fmla="*/ 593549 w 1447286"/>
              <a:gd name="connsiteY10" fmla="*/ 36038 h 1581333"/>
              <a:gd name="connsiteX11" fmla="*/ 842818 w 1447286"/>
              <a:gd name="connsiteY11" fmla="*/ 30228 h 1581333"/>
              <a:gd name="connsiteX12" fmla="*/ 1073228 w 1447286"/>
              <a:gd name="connsiteY12" fmla="*/ 160340 h 1581333"/>
              <a:gd name="connsiteX13" fmla="*/ 1282778 w 1447286"/>
              <a:gd name="connsiteY13" fmla="*/ 281117 h 1581333"/>
              <a:gd name="connsiteX14" fmla="*/ 1446703 w 1447286"/>
              <a:gd name="connsiteY14" fmla="*/ 558770 h 1581333"/>
              <a:gd name="connsiteX15" fmla="*/ 1446513 w 1447286"/>
              <a:gd name="connsiteY15" fmla="*/ 797086 h 158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47286" h="1581333">
                <a:moveTo>
                  <a:pt x="1446513" y="797086"/>
                </a:moveTo>
                <a:cubicBezTo>
                  <a:pt x="1446513" y="879382"/>
                  <a:pt x="1447275" y="961678"/>
                  <a:pt x="1446513" y="1043974"/>
                </a:cubicBezTo>
                <a:cubicBezTo>
                  <a:pt x="1445274" y="1153321"/>
                  <a:pt x="1396411" y="1236474"/>
                  <a:pt x="1302780" y="1291624"/>
                </a:cubicBezTo>
                <a:cubicBezTo>
                  <a:pt x="1167526" y="1371348"/>
                  <a:pt x="1031318" y="1449358"/>
                  <a:pt x="895015" y="1527368"/>
                </a:cubicBezTo>
                <a:cubicBezTo>
                  <a:pt x="842818" y="1557276"/>
                  <a:pt x="789192" y="1581851"/>
                  <a:pt x="726137" y="1581089"/>
                </a:cubicBezTo>
                <a:cubicBezTo>
                  <a:pt x="678055" y="1581203"/>
                  <a:pt x="630754" y="1568935"/>
                  <a:pt x="588787" y="1545465"/>
                </a:cubicBezTo>
                <a:cubicBezTo>
                  <a:pt x="444673" y="1463074"/>
                  <a:pt x="302370" y="1377540"/>
                  <a:pt x="157494" y="1296577"/>
                </a:cubicBezTo>
                <a:cubicBezTo>
                  <a:pt x="52719" y="1237903"/>
                  <a:pt x="4142" y="1147320"/>
                  <a:pt x="1856" y="1031972"/>
                </a:cubicBezTo>
                <a:cubicBezTo>
                  <a:pt x="-1192" y="873219"/>
                  <a:pt x="-1192" y="714476"/>
                  <a:pt x="1856" y="555722"/>
                </a:cubicBezTo>
                <a:cubicBezTo>
                  <a:pt x="4142" y="437041"/>
                  <a:pt x="52910" y="344553"/>
                  <a:pt x="162161" y="284641"/>
                </a:cubicBezTo>
                <a:cubicBezTo>
                  <a:pt x="307608" y="204822"/>
                  <a:pt x="449150" y="117954"/>
                  <a:pt x="593549" y="36038"/>
                </a:cubicBezTo>
                <a:cubicBezTo>
                  <a:pt x="674607" y="-10062"/>
                  <a:pt x="760046" y="-12444"/>
                  <a:pt x="842818" y="30228"/>
                </a:cubicBezTo>
                <a:cubicBezTo>
                  <a:pt x="921114" y="70709"/>
                  <a:pt x="996647" y="116525"/>
                  <a:pt x="1073228" y="160340"/>
                </a:cubicBezTo>
                <a:cubicBezTo>
                  <a:pt x="1143332" y="200344"/>
                  <a:pt x="1213246" y="240826"/>
                  <a:pt x="1282778" y="281117"/>
                </a:cubicBezTo>
                <a:cubicBezTo>
                  <a:pt x="1389649" y="342839"/>
                  <a:pt x="1450323" y="431040"/>
                  <a:pt x="1446703" y="558770"/>
                </a:cubicBezTo>
                <a:cubicBezTo>
                  <a:pt x="1444703" y="638114"/>
                  <a:pt x="1446513" y="717743"/>
                  <a:pt x="1446513" y="797086"/>
                </a:cubicBezTo>
                <a:close/>
              </a:path>
            </a:pathLst>
          </a:custGeom>
          <a:gradFill flip="none" rotWithShape="1">
            <a:gsLst>
              <a:gs pos="0">
                <a:schemeClr val="accent3"/>
              </a:gs>
              <a:gs pos="100000">
                <a:srgbClr val="CF91D2"/>
              </a:gs>
            </a:gsLst>
            <a:lin ang="18900000" scaled="1"/>
            <a:tileRect/>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p>
        </p:txBody>
      </p:sp>
      <p:sp>
        <p:nvSpPr>
          <p:cNvPr id="2" name="Titel 1">
            <a:extLst>
              <a:ext uri="{FF2B5EF4-FFF2-40B4-BE49-F238E27FC236}">
                <a16:creationId xmlns:a16="http://schemas.microsoft.com/office/drawing/2014/main" id="{00F7F99B-3DE6-488C-89FA-7E0CFDD30242}"/>
              </a:ext>
            </a:extLst>
          </p:cNvPr>
          <p:cNvSpPr>
            <a:spLocks noGrp="1"/>
          </p:cNvSpPr>
          <p:nvPr>
            <p:ph type="ctrTitle"/>
          </p:nvPr>
        </p:nvSpPr>
        <p:spPr bwMode="gray">
          <a:xfrm>
            <a:off x="983432" y="4077072"/>
            <a:ext cx="10080000" cy="1296000"/>
          </a:xfrm>
        </p:spPr>
        <p:txBody>
          <a:bodyPr anchor="t"/>
          <a:lstStyle>
            <a:lvl1pPr algn="l">
              <a:lnSpc>
                <a:spcPct val="90000"/>
              </a:lnSpc>
              <a:spcBef>
                <a:spcPts val="0"/>
              </a:spcBef>
              <a:defRPr sz="4400"/>
            </a:lvl1pPr>
          </a:lstStyle>
          <a:p>
            <a:r>
              <a:rPr lang="de-DE"/>
              <a:t>Mastertitelformat bearbeiten</a:t>
            </a:r>
          </a:p>
        </p:txBody>
      </p:sp>
      <p:sp>
        <p:nvSpPr>
          <p:cNvPr id="3" name="Untertitel 2">
            <a:extLst>
              <a:ext uri="{FF2B5EF4-FFF2-40B4-BE49-F238E27FC236}">
                <a16:creationId xmlns:a16="http://schemas.microsoft.com/office/drawing/2014/main" id="{C7D73E65-74E1-4ED9-8001-5EEF6555B393}"/>
              </a:ext>
            </a:extLst>
          </p:cNvPr>
          <p:cNvSpPr>
            <a:spLocks noGrp="1"/>
          </p:cNvSpPr>
          <p:nvPr>
            <p:ph type="subTitle" idx="1" hasCustomPrompt="1"/>
          </p:nvPr>
        </p:nvSpPr>
        <p:spPr bwMode="gray">
          <a:xfrm>
            <a:off x="983432" y="3645064"/>
            <a:ext cx="10080000" cy="360000"/>
          </a:xfrm>
        </p:spPr>
        <p:txBody>
          <a:bodyPr anchor="t"/>
          <a:lstStyle>
            <a:lvl1pPr marL="0" indent="0" algn="l">
              <a:lnSpc>
                <a:spcPct val="100000"/>
              </a:lnSpc>
              <a:spcBef>
                <a:spcPts val="0"/>
              </a:spcBef>
              <a:spcAft>
                <a:spcPts val="0"/>
              </a:spcAft>
              <a:buNone/>
              <a:defRPr sz="1600" b="1"/>
            </a:lvl1pPr>
            <a:lvl2pPr marL="0" indent="0" algn="l">
              <a:spcAft>
                <a:spcPts val="0"/>
              </a:spcAft>
              <a:buNone/>
              <a:defRPr sz="1600" b="1"/>
            </a:lvl2pPr>
            <a:lvl3pPr marL="0" indent="0" algn="l">
              <a:spcAft>
                <a:spcPts val="0"/>
              </a:spcAft>
              <a:buNone/>
              <a:defRPr sz="1600" b="1"/>
            </a:lvl3pPr>
            <a:lvl4pPr marL="0" indent="0" algn="l">
              <a:spcAft>
                <a:spcPts val="0"/>
              </a:spcAft>
              <a:buNone/>
              <a:defRPr sz="1600" b="1"/>
            </a:lvl4pPr>
            <a:lvl5pPr marL="0" indent="0" algn="l">
              <a:spcAft>
                <a:spcPts val="0"/>
              </a:spcAft>
              <a:buNone/>
              <a:defRPr sz="1600" b="1"/>
            </a:lvl5pPr>
            <a:lvl6pPr marL="0" indent="0" algn="l">
              <a:spcAft>
                <a:spcPts val="0"/>
              </a:spcAft>
              <a:buNone/>
              <a:defRPr sz="1600" b="1"/>
            </a:lvl6pPr>
            <a:lvl7pPr marL="0" indent="0" algn="l">
              <a:spcAft>
                <a:spcPts val="0"/>
              </a:spcAft>
              <a:buNone/>
              <a:defRPr sz="1600" b="1"/>
            </a:lvl7pPr>
            <a:lvl8pPr marL="0" indent="0" algn="l">
              <a:spcAft>
                <a:spcPts val="0"/>
              </a:spcAft>
              <a:buNone/>
              <a:defRPr sz="1600" b="1"/>
            </a:lvl8pPr>
            <a:lvl9pPr marL="0" indent="0" algn="l">
              <a:spcAft>
                <a:spcPts val="0"/>
              </a:spcAft>
              <a:buNone/>
              <a:defRPr sz="1600" b="1"/>
            </a:lvl9pPr>
          </a:lstStyle>
          <a:p>
            <a:pPr lvl="0"/>
            <a:r>
              <a:rPr lang="de-DE"/>
              <a:t>Optionaler Zusatztitel</a:t>
            </a:r>
          </a:p>
        </p:txBody>
      </p:sp>
      <p:sp>
        <p:nvSpPr>
          <p:cNvPr id="13" name="Textplatzhalter 12">
            <a:extLst>
              <a:ext uri="{FF2B5EF4-FFF2-40B4-BE49-F238E27FC236}">
                <a16:creationId xmlns:a16="http://schemas.microsoft.com/office/drawing/2014/main" id="{0D601D3A-AF10-4850-9950-6A5E30AA348F}"/>
              </a:ext>
            </a:extLst>
          </p:cNvPr>
          <p:cNvSpPr>
            <a:spLocks noGrp="1"/>
          </p:cNvSpPr>
          <p:nvPr>
            <p:ph type="body" sz="quarter" idx="10" hasCustomPrompt="1"/>
          </p:nvPr>
        </p:nvSpPr>
        <p:spPr bwMode="gray">
          <a:xfrm>
            <a:off x="983432" y="5445224"/>
            <a:ext cx="10080000" cy="360000"/>
          </a:xfrm>
        </p:spPr>
        <p:txBody>
          <a:bodyPr anchor="t"/>
          <a:lstStyle>
            <a:lvl1pPr marL="0">
              <a:lnSpc>
                <a:spcPct val="100000"/>
              </a:lnSpc>
              <a:spcBef>
                <a:spcPts val="0"/>
              </a:spcBef>
              <a:spcAft>
                <a:spcPts val="0"/>
              </a:spcAft>
              <a:buFontTx/>
              <a:buNone/>
              <a:defRPr b="0"/>
            </a:lvl1pPr>
            <a:lvl2pPr marL="0">
              <a:spcAft>
                <a:spcPts val="0"/>
              </a:spcAft>
              <a:buFontTx/>
              <a:buNone/>
              <a:defRPr b="0"/>
            </a:lvl2pPr>
            <a:lvl3pPr marL="0" indent="0">
              <a:spcAft>
                <a:spcPts val="0"/>
              </a:spcAft>
              <a:buFontTx/>
              <a:buNone/>
              <a:defRPr b="0"/>
            </a:lvl3pPr>
            <a:lvl4pPr marL="0" indent="0">
              <a:spcAft>
                <a:spcPts val="0"/>
              </a:spcAft>
              <a:buFontTx/>
              <a:buNone/>
              <a:defRPr b="0"/>
            </a:lvl4pPr>
            <a:lvl5pPr marL="0" indent="0">
              <a:spcAft>
                <a:spcPts val="0"/>
              </a:spcAft>
              <a:buFontTx/>
              <a:buNone/>
              <a:defRPr b="0"/>
            </a:lvl5pPr>
            <a:lvl6pPr marL="0" indent="0">
              <a:spcAft>
                <a:spcPts val="0"/>
              </a:spcAft>
              <a:buFontTx/>
              <a:buNone/>
              <a:defRPr b="0"/>
            </a:lvl6pPr>
            <a:lvl7pPr marL="0" indent="0">
              <a:spcAft>
                <a:spcPts val="0"/>
              </a:spcAft>
              <a:buFontTx/>
              <a:buNone/>
              <a:defRPr b="0"/>
            </a:lvl7pPr>
            <a:lvl8pPr marL="0" indent="0">
              <a:spcAft>
                <a:spcPts val="0"/>
              </a:spcAft>
              <a:buFontTx/>
              <a:buNone/>
              <a:defRPr b="0"/>
            </a:lvl8pPr>
            <a:lvl9pPr marL="0" indent="0">
              <a:spcAft>
                <a:spcPts val="0"/>
              </a:spcAft>
              <a:buFontTx/>
              <a:buNone/>
              <a:defRPr b="0"/>
            </a:lvl9pPr>
          </a:lstStyle>
          <a:p>
            <a:pPr lvl="0"/>
            <a:r>
              <a:rPr lang="de-DE"/>
              <a:t>Ort | Datum | Präsentator*in</a:t>
            </a:r>
          </a:p>
        </p:txBody>
      </p:sp>
      <p:pic>
        <p:nvPicPr>
          <p:cNvPr id="4" name="Grafik 3">
            <a:extLst>
              <a:ext uri="{FF2B5EF4-FFF2-40B4-BE49-F238E27FC236}">
                <a16:creationId xmlns:a16="http://schemas.microsoft.com/office/drawing/2014/main" id="{8D74EA1F-BE48-EE8B-45B4-5463B1B0EB2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0657" y="549274"/>
            <a:ext cx="2015684" cy="702186"/>
          </a:xfrm>
          <a:prstGeom prst="rect">
            <a:avLst/>
          </a:prstGeom>
        </p:spPr>
      </p:pic>
    </p:spTree>
    <p:extLst>
      <p:ext uri="{BB962C8B-B14F-4D97-AF65-F5344CB8AC3E}">
        <p14:creationId xmlns:p14="http://schemas.microsoft.com/office/powerpoint/2010/main" val="767226486"/>
      </p:ext>
    </p:extLst>
  </p:cSld>
  <p:clrMapOvr>
    <a:masterClrMapping/>
  </p:clrMapOvr>
  <p:extLst>
    <p:ext uri="{DCECCB84-F9BA-43D5-87BE-67443E8EF086}">
      <p15:sldGuideLst xmlns:p15="http://schemas.microsoft.com/office/powerpoint/2012/main">
        <p15:guide id="1" pos="697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mit zwei Bilder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BEAD10-3DE7-42F9-8583-61BAFF3C3AC1}"/>
              </a:ext>
            </a:extLst>
          </p:cNvPr>
          <p:cNvSpPr>
            <a:spLocks noGrp="1"/>
          </p:cNvSpPr>
          <p:nvPr>
            <p:ph type="title"/>
          </p:nvPr>
        </p:nvSpPr>
        <p:spPr bwMode="gray">
          <a:xfrm>
            <a:off x="550863" y="549276"/>
            <a:ext cx="11306175" cy="792000"/>
          </a:xfrm>
        </p:spPr>
        <p:txBody>
          <a:bodyPr/>
          <a:lstStyle/>
          <a:p>
            <a:r>
              <a:rPr lang="de-DE"/>
              <a:t>Mastertitelformat bearbeiten</a:t>
            </a:r>
          </a:p>
        </p:txBody>
      </p:sp>
      <p:sp>
        <p:nvSpPr>
          <p:cNvPr id="3" name="Inhaltsplatzhalter 2">
            <a:extLst>
              <a:ext uri="{FF2B5EF4-FFF2-40B4-BE49-F238E27FC236}">
                <a16:creationId xmlns:a16="http://schemas.microsoft.com/office/drawing/2014/main" id="{01C839CC-5632-454B-AAEF-DC22F7DFB0FB}"/>
              </a:ext>
            </a:extLst>
          </p:cNvPr>
          <p:cNvSpPr>
            <a:spLocks noGrp="1"/>
          </p:cNvSpPr>
          <p:nvPr>
            <p:ph idx="1"/>
          </p:nvPr>
        </p:nvSpPr>
        <p:spPr bwMode="gray">
          <a:xfrm>
            <a:off x="551384" y="1628800"/>
            <a:ext cx="5472000" cy="4608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BCA9A4C1-3442-4F48-9649-91A6B71F2791}"/>
              </a:ext>
            </a:extLst>
          </p:cNvPr>
          <p:cNvSpPr>
            <a:spLocks noGrp="1"/>
          </p:cNvSpPr>
          <p:nvPr>
            <p:ph type="ftr" sz="quarter" idx="11"/>
          </p:nvPr>
        </p:nvSpPr>
        <p:spPr bwMode="gray"/>
        <p:txBody>
          <a:bodyPr/>
          <a:lstStyle/>
          <a:p>
            <a:r>
              <a:rPr lang="de-DE"/>
              <a:t>DENEFF PowerPoint Master</a:t>
            </a:r>
          </a:p>
        </p:txBody>
      </p:sp>
      <p:sp>
        <p:nvSpPr>
          <p:cNvPr id="8" name="Bildplatzhalter 7">
            <a:extLst>
              <a:ext uri="{FF2B5EF4-FFF2-40B4-BE49-F238E27FC236}">
                <a16:creationId xmlns:a16="http://schemas.microsoft.com/office/drawing/2014/main" id="{345DAA3B-5723-449C-BA62-D84E7CCA54FB}"/>
              </a:ext>
            </a:extLst>
          </p:cNvPr>
          <p:cNvSpPr>
            <a:spLocks noGrp="1"/>
          </p:cNvSpPr>
          <p:nvPr>
            <p:ph type="pic" sz="quarter" idx="13" hasCustomPrompt="1"/>
          </p:nvPr>
        </p:nvSpPr>
        <p:spPr bwMode="gray">
          <a:xfrm>
            <a:off x="6384640" y="1628775"/>
            <a:ext cx="5472000" cy="2124000"/>
          </a:xfrm>
          <a:prstGeom prst="roundRect">
            <a:avLst>
              <a:gd name="adj" fmla="val 5979"/>
            </a:avLst>
          </a:prstGeom>
        </p:spPr>
        <p:txBody>
          <a:bodyPr bIns="720000" anchor="ctr"/>
          <a:lstStyle>
            <a:lvl1pPr marL="0" algn="ctr">
              <a:spcAft>
                <a:spcPts val="0"/>
              </a:spcAft>
              <a:buFontTx/>
              <a:buNone/>
              <a:defRPr sz="1200" b="0">
                <a:solidFill>
                  <a:schemeClr val="tx1"/>
                </a:solidFill>
              </a:defRPr>
            </a:lvl1pPr>
            <a:lvl2pPr marL="0" algn="ctr">
              <a:spcAft>
                <a:spcPts val="0"/>
              </a:spcAft>
              <a:buFontTx/>
              <a:buNone/>
              <a:defRPr sz="1200" b="0">
                <a:solidFill>
                  <a:schemeClr val="tx1"/>
                </a:solidFill>
              </a:defRPr>
            </a:lvl2pPr>
            <a:lvl3pPr marL="0" indent="0" algn="ctr">
              <a:spcAft>
                <a:spcPts val="0"/>
              </a:spcAft>
              <a:buFontTx/>
              <a:buNone/>
              <a:defRPr sz="1200" b="0">
                <a:solidFill>
                  <a:schemeClr val="tx1"/>
                </a:solidFill>
              </a:defRPr>
            </a:lvl3pPr>
            <a:lvl4pPr marL="0" indent="0" algn="ctr">
              <a:spcAft>
                <a:spcPts val="0"/>
              </a:spcAft>
              <a:buFontTx/>
              <a:buNone/>
              <a:defRPr sz="1200" b="0">
                <a:solidFill>
                  <a:schemeClr val="tx1"/>
                </a:solidFill>
              </a:defRPr>
            </a:lvl4pPr>
            <a:lvl5pPr marL="0" indent="0" algn="ctr">
              <a:spcAft>
                <a:spcPts val="0"/>
              </a:spcAft>
              <a:buFontTx/>
              <a:buNone/>
              <a:defRPr sz="1200" b="0">
                <a:solidFill>
                  <a:schemeClr val="tx1"/>
                </a:solidFill>
              </a:defRPr>
            </a:lvl5pPr>
            <a:lvl6pPr marL="0" indent="0" algn="ctr">
              <a:spcAft>
                <a:spcPts val="0"/>
              </a:spcAft>
              <a:buFontTx/>
              <a:buNone/>
              <a:defRPr sz="1200" b="0">
                <a:solidFill>
                  <a:schemeClr val="tx1"/>
                </a:solidFill>
              </a:defRPr>
            </a:lvl6pPr>
            <a:lvl7pPr marL="0" indent="0" algn="ctr">
              <a:spcAft>
                <a:spcPts val="0"/>
              </a:spcAft>
              <a:buFontTx/>
              <a:buNone/>
              <a:defRPr sz="1200" b="0">
                <a:solidFill>
                  <a:schemeClr val="tx1"/>
                </a:solidFill>
              </a:defRPr>
            </a:lvl7pPr>
            <a:lvl8pPr marL="0" indent="0" algn="ctr">
              <a:spcAft>
                <a:spcPts val="0"/>
              </a:spcAft>
              <a:buFontTx/>
              <a:buNone/>
              <a:defRPr sz="1200" b="0">
                <a:solidFill>
                  <a:schemeClr val="tx1"/>
                </a:solidFill>
              </a:defRPr>
            </a:lvl8pPr>
            <a:lvl9pPr marL="0" indent="0" algn="ctr">
              <a:spcAft>
                <a:spcPts val="0"/>
              </a:spcAft>
              <a:buFontTx/>
              <a:buNone/>
              <a:defRPr sz="1200" b="0">
                <a:solidFill>
                  <a:schemeClr val="tx1"/>
                </a:solidFill>
              </a:defRPr>
            </a:lvl9pPr>
          </a:lstStyle>
          <a:p>
            <a:pPr lvl="0"/>
            <a:r>
              <a:rPr lang="de-DE"/>
              <a:t>Bild durch Klick auf das Icon hinzufügen </a:t>
            </a:r>
            <a:br>
              <a:rPr lang="de-DE"/>
            </a:br>
            <a:r>
              <a:rPr lang="de-DE"/>
              <a:t>und ggf. zuschneiden</a:t>
            </a:r>
          </a:p>
        </p:txBody>
      </p:sp>
      <p:sp>
        <p:nvSpPr>
          <p:cNvPr id="7" name="Bildplatzhalter 6">
            <a:extLst>
              <a:ext uri="{FF2B5EF4-FFF2-40B4-BE49-F238E27FC236}">
                <a16:creationId xmlns:a16="http://schemas.microsoft.com/office/drawing/2014/main" id="{6B6FE22D-74A9-440D-B217-6175BD138841}"/>
              </a:ext>
            </a:extLst>
          </p:cNvPr>
          <p:cNvSpPr>
            <a:spLocks noGrp="1"/>
          </p:cNvSpPr>
          <p:nvPr>
            <p:ph type="pic" sz="quarter" idx="14" hasCustomPrompt="1"/>
          </p:nvPr>
        </p:nvSpPr>
        <p:spPr bwMode="gray">
          <a:xfrm>
            <a:off x="6384641" y="4113312"/>
            <a:ext cx="5472398" cy="2124000"/>
          </a:xfrm>
          <a:prstGeom prst="roundRect">
            <a:avLst>
              <a:gd name="adj" fmla="val 5979"/>
            </a:avLst>
          </a:prstGeom>
        </p:spPr>
        <p:txBody>
          <a:bodyPr bIns="720000" anchor="ctr"/>
          <a:lstStyle>
            <a:lvl1pPr marL="0" algn="ctr">
              <a:spcAft>
                <a:spcPts val="0"/>
              </a:spcAft>
              <a:buFontTx/>
              <a:buNone/>
              <a:defRPr sz="1200" b="0"/>
            </a:lvl1pPr>
            <a:lvl2pPr marL="0" algn="ctr">
              <a:spcAft>
                <a:spcPts val="0"/>
              </a:spcAft>
              <a:buFontTx/>
              <a:buNone/>
              <a:defRPr sz="1200" b="0"/>
            </a:lvl2pPr>
            <a:lvl3pPr marL="0" indent="0" algn="ctr">
              <a:spcAft>
                <a:spcPts val="0"/>
              </a:spcAft>
              <a:buFontTx/>
              <a:buNone/>
              <a:defRPr sz="1200" b="0"/>
            </a:lvl3pPr>
            <a:lvl4pPr marL="0" indent="0" algn="ctr">
              <a:spcAft>
                <a:spcPts val="0"/>
              </a:spcAft>
              <a:buFontTx/>
              <a:buNone/>
              <a:defRPr sz="1200" b="0"/>
            </a:lvl4pPr>
            <a:lvl5pPr marL="0" indent="0" algn="ctr">
              <a:spcAft>
                <a:spcPts val="0"/>
              </a:spcAft>
              <a:buFontTx/>
              <a:buNone/>
              <a:defRPr sz="1200" b="0"/>
            </a:lvl5pPr>
            <a:lvl6pPr marL="0" indent="0" algn="ctr">
              <a:spcAft>
                <a:spcPts val="0"/>
              </a:spcAft>
              <a:buFontTx/>
              <a:buNone/>
              <a:defRPr sz="1200" b="0"/>
            </a:lvl6pPr>
            <a:lvl7pPr marL="0" indent="0" algn="ctr">
              <a:spcAft>
                <a:spcPts val="0"/>
              </a:spcAft>
              <a:buFontTx/>
              <a:buNone/>
              <a:defRPr sz="1200" b="0"/>
            </a:lvl7pPr>
            <a:lvl8pPr marL="0" indent="0" algn="ctr">
              <a:spcAft>
                <a:spcPts val="0"/>
              </a:spcAft>
              <a:buFontTx/>
              <a:buNone/>
              <a:defRPr sz="1200" b="0"/>
            </a:lvl8pPr>
            <a:lvl9pPr marL="0" indent="0" algn="ctr">
              <a:spcAft>
                <a:spcPts val="0"/>
              </a:spcAft>
              <a:buFontTx/>
              <a:buNone/>
              <a:defRPr sz="1200" b="0"/>
            </a:lvl9pPr>
          </a:lstStyle>
          <a:p>
            <a:pPr lvl="0"/>
            <a:r>
              <a:rPr lang="de-DE"/>
              <a:t>Bild durch Klick auf das Icon hinzufügen </a:t>
            </a:r>
            <a:br>
              <a:rPr lang="de-DE"/>
            </a:br>
            <a:r>
              <a:rPr lang="de-DE"/>
              <a:t>und ggf. zuschneiden</a:t>
            </a:r>
          </a:p>
        </p:txBody>
      </p:sp>
      <p:sp>
        <p:nvSpPr>
          <p:cNvPr id="9" name="Foliennummernplatzhalter 5">
            <a:extLst>
              <a:ext uri="{FF2B5EF4-FFF2-40B4-BE49-F238E27FC236}">
                <a16:creationId xmlns:a16="http://schemas.microsoft.com/office/drawing/2014/main" id="{3AD3C395-ECC9-414B-9714-51E885F3462F}"/>
              </a:ext>
            </a:extLst>
          </p:cNvPr>
          <p:cNvSpPr>
            <a:spLocks noGrp="1"/>
          </p:cNvSpPr>
          <p:nvPr>
            <p:ph type="sldNum" sz="quarter" idx="4"/>
          </p:nvPr>
        </p:nvSpPr>
        <p:spPr bwMode="gray">
          <a:xfrm>
            <a:off x="11676640" y="6498644"/>
            <a:ext cx="180000" cy="202222"/>
          </a:xfrm>
          <a:prstGeom prst="rect">
            <a:avLst/>
          </a:prstGeom>
        </p:spPr>
        <p:txBody>
          <a:bodyPr vert="horz" lIns="0" tIns="0" rIns="0" bIns="0" rtlCol="0" anchor="b"/>
          <a:lstStyle>
            <a:lvl1pPr algn="l">
              <a:defRPr sz="1000">
                <a:solidFill>
                  <a:schemeClr val="tx1"/>
                </a:solidFill>
              </a:defRPr>
            </a:lvl1pPr>
          </a:lstStyle>
          <a:p>
            <a:fld id="{596A2A10-B827-4CCE-9EB2-A13B5A721707}" type="slidenum">
              <a:rPr lang="de-DE" smtClean="0"/>
              <a:pPr/>
              <a:t>‹Nr.›</a:t>
            </a:fld>
            <a:endParaRPr lang="de-DE"/>
          </a:p>
        </p:txBody>
      </p:sp>
    </p:spTree>
    <p:extLst>
      <p:ext uri="{BB962C8B-B14F-4D97-AF65-F5344CB8AC3E}">
        <p14:creationId xmlns:p14="http://schemas.microsoft.com/office/powerpoint/2010/main" val="21645593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 mit zwei Bildern und Rahmen">
    <p:spTree>
      <p:nvGrpSpPr>
        <p:cNvPr id="1" name=""/>
        <p:cNvGrpSpPr/>
        <p:nvPr/>
      </p:nvGrpSpPr>
      <p:grpSpPr>
        <a:xfrm>
          <a:off x="0" y="0"/>
          <a:ext cx="0" cy="0"/>
          <a:chOff x="0" y="0"/>
          <a:chExt cx="0" cy="0"/>
        </a:xfrm>
      </p:grpSpPr>
      <p:sp>
        <p:nvSpPr>
          <p:cNvPr id="10" name="Rechteck: abgerundete Ecken 9">
            <a:extLst>
              <a:ext uri="{FF2B5EF4-FFF2-40B4-BE49-F238E27FC236}">
                <a16:creationId xmlns:a16="http://schemas.microsoft.com/office/drawing/2014/main" id="{8AB89D92-1F14-44C7-9E5D-B8D78705899B}"/>
              </a:ext>
            </a:extLst>
          </p:cNvPr>
          <p:cNvSpPr/>
          <p:nvPr userDrawn="1"/>
        </p:nvSpPr>
        <p:spPr bwMode="gray">
          <a:xfrm>
            <a:off x="6168008" y="1628775"/>
            <a:ext cx="5689031" cy="4608000"/>
          </a:xfrm>
          <a:prstGeom prst="roundRect">
            <a:avLst>
              <a:gd name="adj" fmla="val 2756"/>
            </a:avLst>
          </a:prstGeom>
          <a:solidFill>
            <a:schemeClr val="bg1"/>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1600"/>
          </a:p>
        </p:txBody>
      </p:sp>
      <p:sp>
        <p:nvSpPr>
          <p:cNvPr id="2" name="Titel 1">
            <a:extLst>
              <a:ext uri="{FF2B5EF4-FFF2-40B4-BE49-F238E27FC236}">
                <a16:creationId xmlns:a16="http://schemas.microsoft.com/office/drawing/2014/main" id="{DCBEAD10-3DE7-42F9-8583-61BAFF3C3AC1}"/>
              </a:ext>
            </a:extLst>
          </p:cNvPr>
          <p:cNvSpPr>
            <a:spLocks noGrp="1"/>
          </p:cNvSpPr>
          <p:nvPr>
            <p:ph type="title"/>
          </p:nvPr>
        </p:nvSpPr>
        <p:spPr bwMode="gray">
          <a:xfrm>
            <a:off x="550863" y="549276"/>
            <a:ext cx="11306175" cy="792000"/>
          </a:xfrm>
        </p:spPr>
        <p:txBody>
          <a:bodyPr/>
          <a:lstStyle/>
          <a:p>
            <a:r>
              <a:rPr lang="de-DE"/>
              <a:t>Mastertitelformat bearbeiten</a:t>
            </a:r>
          </a:p>
        </p:txBody>
      </p:sp>
      <p:sp>
        <p:nvSpPr>
          <p:cNvPr id="3" name="Inhaltsplatzhalter 2">
            <a:extLst>
              <a:ext uri="{FF2B5EF4-FFF2-40B4-BE49-F238E27FC236}">
                <a16:creationId xmlns:a16="http://schemas.microsoft.com/office/drawing/2014/main" id="{01C839CC-5632-454B-AAEF-DC22F7DFB0FB}"/>
              </a:ext>
            </a:extLst>
          </p:cNvPr>
          <p:cNvSpPr>
            <a:spLocks noGrp="1"/>
          </p:cNvSpPr>
          <p:nvPr>
            <p:ph idx="1"/>
          </p:nvPr>
        </p:nvSpPr>
        <p:spPr bwMode="gray">
          <a:xfrm>
            <a:off x="551384" y="1628800"/>
            <a:ext cx="5472000" cy="4608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BCA9A4C1-3442-4F48-9649-91A6B71F2791}"/>
              </a:ext>
            </a:extLst>
          </p:cNvPr>
          <p:cNvSpPr>
            <a:spLocks noGrp="1"/>
          </p:cNvSpPr>
          <p:nvPr>
            <p:ph type="ftr" sz="quarter" idx="11"/>
          </p:nvPr>
        </p:nvSpPr>
        <p:spPr bwMode="gray"/>
        <p:txBody>
          <a:bodyPr/>
          <a:lstStyle/>
          <a:p>
            <a:r>
              <a:rPr lang="de-DE"/>
              <a:t>DENEFF PowerPoint Master</a:t>
            </a:r>
          </a:p>
        </p:txBody>
      </p:sp>
      <p:sp>
        <p:nvSpPr>
          <p:cNvPr id="8" name="Bildplatzhalter 7">
            <a:extLst>
              <a:ext uri="{FF2B5EF4-FFF2-40B4-BE49-F238E27FC236}">
                <a16:creationId xmlns:a16="http://schemas.microsoft.com/office/drawing/2014/main" id="{345DAA3B-5723-449C-BA62-D84E7CCA54FB}"/>
              </a:ext>
            </a:extLst>
          </p:cNvPr>
          <p:cNvSpPr>
            <a:spLocks noGrp="1"/>
          </p:cNvSpPr>
          <p:nvPr>
            <p:ph type="pic" sz="quarter" idx="13" hasCustomPrompt="1"/>
          </p:nvPr>
        </p:nvSpPr>
        <p:spPr bwMode="gray">
          <a:xfrm>
            <a:off x="6384032" y="1844824"/>
            <a:ext cx="5256000" cy="1944000"/>
          </a:xfrm>
          <a:prstGeom prst="rect">
            <a:avLst/>
          </a:prstGeom>
        </p:spPr>
        <p:txBody>
          <a:bodyPr bIns="720000" anchor="ctr"/>
          <a:lstStyle>
            <a:lvl1pPr marL="0" algn="ctr">
              <a:spcAft>
                <a:spcPts val="0"/>
              </a:spcAft>
              <a:buFontTx/>
              <a:buNone/>
              <a:defRPr sz="1200" b="0">
                <a:solidFill>
                  <a:schemeClr val="tx1"/>
                </a:solidFill>
              </a:defRPr>
            </a:lvl1pPr>
            <a:lvl2pPr marL="0" algn="ctr">
              <a:spcAft>
                <a:spcPts val="0"/>
              </a:spcAft>
              <a:buFontTx/>
              <a:buNone/>
              <a:defRPr sz="1200" b="0">
                <a:solidFill>
                  <a:schemeClr val="tx1"/>
                </a:solidFill>
              </a:defRPr>
            </a:lvl2pPr>
            <a:lvl3pPr marL="0" indent="0" algn="ctr">
              <a:spcAft>
                <a:spcPts val="0"/>
              </a:spcAft>
              <a:buFontTx/>
              <a:buNone/>
              <a:defRPr sz="1200" b="0">
                <a:solidFill>
                  <a:schemeClr val="tx1"/>
                </a:solidFill>
              </a:defRPr>
            </a:lvl3pPr>
            <a:lvl4pPr marL="0" indent="0" algn="ctr">
              <a:spcAft>
                <a:spcPts val="0"/>
              </a:spcAft>
              <a:buFontTx/>
              <a:buNone/>
              <a:defRPr sz="1200" b="0">
                <a:solidFill>
                  <a:schemeClr val="tx1"/>
                </a:solidFill>
              </a:defRPr>
            </a:lvl4pPr>
            <a:lvl5pPr marL="0" indent="0" algn="ctr">
              <a:spcAft>
                <a:spcPts val="0"/>
              </a:spcAft>
              <a:buFontTx/>
              <a:buNone/>
              <a:defRPr sz="1200" b="0">
                <a:solidFill>
                  <a:schemeClr val="tx1"/>
                </a:solidFill>
              </a:defRPr>
            </a:lvl5pPr>
            <a:lvl6pPr marL="0" indent="0" algn="ctr">
              <a:spcAft>
                <a:spcPts val="0"/>
              </a:spcAft>
              <a:buFontTx/>
              <a:buNone/>
              <a:defRPr sz="1200" b="0">
                <a:solidFill>
                  <a:schemeClr val="tx1"/>
                </a:solidFill>
              </a:defRPr>
            </a:lvl6pPr>
            <a:lvl7pPr marL="0" indent="0" algn="ctr">
              <a:spcAft>
                <a:spcPts val="0"/>
              </a:spcAft>
              <a:buFontTx/>
              <a:buNone/>
              <a:defRPr sz="1200" b="0">
                <a:solidFill>
                  <a:schemeClr val="tx1"/>
                </a:solidFill>
              </a:defRPr>
            </a:lvl7pPr>
            <a:lvl8pPr marL="0" indent="0" algn="ctr">
              <a:spcAft>
                <a:spcPts val="0"/>
              </a:spcAft>
              <a:buFontTx/>
              <a:buNone/>
              <a:defRPr sz="1200" b="0">
                <a:solidFill>
                  <a:schemeClr val="tx1"/>
                </a:solidFill>
              </a:defRPr>
            </a:lvl8pPr>
            <a:lvl9pPr marL="0" indent="0" algn="ctr">
              <a:spcAft>
                <a:spcPts val="0"/>
              </a:spcAft>
              <a:buFontTx/>
              <a:buNone/>
              <a:defRPr sz="1200" b="0">
                <a:solidFill>
                  <a:schemeClr val="tx1"/>
                </a:solidFill>
              </a:defRPr>
            </a:lvl9pPr>
          </a:lstStyle>
          <a:p>
            <a:pPr lvl="0"/>
            <a:r>
              <a:rPr lang="de-DE"/>
              <a:t>Bild durch Klick auf das Icon hinzufügen </a:t>
            </a:r>
            <a:br>
              <a:rPr lang="de-DE"/>
            </a:br>
            <a:r>
              <a:rPr lang="de-DE"/>
              <a:t>und ggf. zuschneiden</a:t>
            </a:r>
          </a:p>
        </p:txBody>
      </p:sp>
      <p:sp>
        <p:nvSpPr>
          <p:cNvPr id="7" name="Bildplatzhalter 6">
            <a:extLst>
              <a:ext uri="{FF2B5EF4-FFF2-40B4-BE49-F238E27FC236}">
                <a16:creationId xmlns:a16="http://schemas.microsoft.com/office/drawing/2014/main" id="{6B6FE22D-74A9-440D-B217-6175BD138841}"/>
              </a:ext>
            </a:extLst>
          </p:cNvPr>
          <p:cNvSpPr>
            <a:spLocks noGrp="1"/>
          </p:cNvSpPr>
          <p:nvPr>
            <p:ph type="pic" sz="quarter" idx="14" hasCustomPrompt="1"/>
          </p:nvPr>
        </p:nvSpPr>
        <p:spPr bwMode="gray">
          <a:xfrm>
            <a:off x="6384032" y="4077288"/>
            <a:ext cx="5256000" cy="1944000"/>
          </a:xfrm>
          <a:prstGeom prst="rect">
            <a:avLst/>
          </a:prstGeom>
        </p:spPr>
        <p:txBody>
          <a:bodyPr bIns="720000" anchor="ctr"/>
          <a:lstStyle>
            <a:lvl1pPr marL="0" algn="ctr">
              <a:spcAft>
                <a:spcPts val="0"/>
              </a:spcAft>
              <a:buFontTx/>
              <a:buNone/>
              <a:defRPr sz="1200" b="0"/>
            </a:lvl1pPr>
            <a:lvl2pPr marL="0" algn="ctr">
              <a:spcAft>
                <a:spcPts val="0"/>
              </a:spcAft>
              <a:buFontTx/>
              <a:buNone/>
              <a:defRPr sz="1200" b="0"/>
            </a:lvl2pPr>
            <a:lvl3pPr marL="0" indent="0" algn="ctr">
              <a:spcAft>
                <a:spcPts val="0"/>
              </a:spcAft>
              <a:buFontTx/>
              <a:buNone/>
              <a:defRPr sz="1200" b="0"/>
            </a:lvl3pPr>
            <a:lvl4pPr marL="0" indent="0" algn="ctr">
              <a:spcAft>
                <a:spcPts val="0"/>
              </a:spcAft>
              <a:buFontTx/>
              <a:buNone/>
              <a:defRPr sz="1200" b="0"/>
            </a:lvl4pPr>
            <a:lvl5pPr marL="0" indent="0" algn="ctr">
              <a:spcAft>
                <a:spcPts val="0"/>
              </a:spcAft>
              <a:buFontTx/>
              <a:buNone/>
              <a:defRPr sz="1200" b="0"/>
            </a:lvl5pPr>
            <a:lvl6pPr marL="0" indent="0" algn="ctr">
              <a:spcAft>
                <a:spcPts val="0"/>
              </a:spcAft>
              <a:buFontTx/>
              <a:buNone/>
              <a:defRPr sz="1200" b="0"/>
            </a:lvl6pPr>
            <a:lvl7pPr marL="0" indent="0" algn="ctr">
              <a:spcAft>
                <a:spcPts val="0"/>
              </a:spcAft>
              <a:buFontTx/>
              <a:buNone/>
              <a:defRPr sz="1200" b="0"/>
            </a:lvl7pPr>
            <a:lvl8pPr marL="0" indent="0" algn="ctr">
              <a:spcAft>
                <a:spcPts val="0"/>
              </a:spcAft>
              <a:buFontTx/>
              <a:buNone/>
              <a:defRPr sz="1200" b="0"/>
            </a:lvl8pPr>
            <a:lvl9pPr marL="0" indent="0" algn="ctr">
              <a:spcAft>
                <a:spcPts val="0"/>
              </a:spcAft>
              <a:buFontTx/>
              <a:buNone/>
              <a:defRPr sz="1200" b="0"/>
            </a:lvl9pPr>
          </a:lstStyle>
          <a:p>
            <a:pPr lvl="0"/>
            <a:r>
              <a:rPr lang="de-DE"/>
              <a:t>Bild durch Klick auf das Icon hinzufügen </a:t>
            </a:r>
            <a:br>
              <a:rPr lang="de-DE"/>
            </a:br>
            <a:r>
              <a:rPr lang="de-DE"/>
              <a:t>und ggf. zuschneiden</a:t>
            </a:r>
          </a:p>
        </p:txBody>
      </p:sp>
      <p:sp>
        <p:nvSpPr>
          <p:cNvPr id="9" name="Foliennummernplatzhalter 5">
            <a:extLst>
              <a:ext uri="{FF2B5EF4-FFF2-40B4-BE49-F238E27FC236}">
                <a16:creationId xmlns:a16="http://schemas.microsoft.com/office/drawing/2014/main" id="{3AD3C395-ECC9-414B-9714-51E885F3462F}"/>
              </a:ext>
            </a:extLst>
          </p:cNvPr>
          <p:cNvSpPr>
            <a:spLocks noGrp="1"/>
          </p:cNvSpPr>
          <p:nvPr>
            <p:ph type="sldNum" sz="quarter" idx="4"/>
          </p:nvPr>
        </p:nvSpPr>
        <p:spPr bwMode="gray">
          <a:xfrm>
            <a:off x="11676640" y="6498644"/>
            <a:ext cx="180000" cy="202222"/>
          </a:xfrm>
          <a:prstGeom prst="rect">
            <a:avLst/>
          </a:prstGeom>
        </p:spPr>
        <p:txBody>
          <a:bodyPr vert="horz" lIns="0" tIns="0" rIns="0" bIns="0" rtlCol="0" anchor="b"/>
          <a:lstStyle>
            <a:lvl1pPr algn="l">
              <a:defRPr sz="1000">
                <a:solidFill>
                  <a:schemeClr val="tx1"/>
                </a:solidFill>
              </a:defRPr>
            </a:lvl1pPr>
          </a:lstStyle>
          <a:p>
            <a:fld id="{596A2A10-B827-4CCE-9EB2-A13B5A721707}" type="slidenum">
              <a:rPr lang="de-DE" smtClean="0"/>
              <a:pPr/>
              <a:t>‹Nr.›</a:t>
            </a:fld>
            <a:endParaRPr lang="de-DE"/>
          </a:p>
        </p:txBody>
      </p:sp>
    </p:spTree>
    <p:extLst>
      <p:ext uri="{BB962C8B-B14F-4D97-AF65-F5344CB8AC3E}">
        <p14:creationId xmlns:p14="http://schemas.microsoft.com/office/powerpoint/2010/main" val="14723459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 mit Rahmen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BEAD10-3DE7-42F9-8583-61BAFF3C3AC1}"/>
              </a:ext>
            </a:extLst>
          </p:cNvPr>
          <p:cNvSpPr>
            <a:spLocks noGrp="1"/>
          </p:cNvSpPr>
          <p:nvPr>
            <p:ph type="title"/>
          </p:nvPr>
        </p:nvSpPr>
        <p:spPr bwMode="gray">
          <a:xfrm>
            <a:off x="550864" y="549276"/>
            <a:ext cx="6769272" cy="792000"/>
          </a:xfrm>
        </p:spPr>
        <p:txBody>
          <a:bodyPr/>
          <a:lstStyle/>
          <a:p>
            <a:r>
              <a:rPr lang="de-DE"/>
              <a:t>Mastertitelformat bearbeiten</a:t>
            </a:r>
          </a:p>
        </p:txBody>
      </p:sp>
      <p:sp>
        <p:nvSpPr>
          <p:cNvPr id="5" name="Fußzeilenplatzhalter 4">
            <a:extLst>
              <a:ext uri="{FF2B5EF4-FFF2-40B4-BE49-F238E27FC236}">
                <a16:creationId xmlns:a16="http://schemas.microsoft.com/office/drawing/2014/main" id="{BCA9A4C1-3442-4F48-9649-91A6B71F2791}"/>
              </a:ext>
            </a:extLst>
          </p:cNvPr>
          <p:cNvSpPr>
            <a:spLocks noGrp="1"/>
          </p:cNvSpPr>
          <p:nvPr>
            <p:ph type="ftr" sz="quarter" idx="11"/>
          </p:nvPr>
        </p:nvSpPr>
        <p:spPr bwMode="gray"/>
        <p:txBody>
          <a:bodyPr/>
          <a:lstStyle/>
          <a:p>
            <a:r>
              <a:rPr lang="de-DE"/>
              <a:t>DENEFF PowerPoint Master</a:t>
            </a:r>
          </a:p>
        </p:txBody>
      </p:sp>
      <p:sp>
        <p:nvSpPr>
          <p:cNvPr id="9" name="Foliennummernplatzhalter 5">
            <a:extLst>
              <a:ext uri="{FF2B5EF4-FFF2-40B4-BE49-F238E27FC236}">
                <a16:creationId xmlns:a16="http://schemas.microsoft.com/office/drawing/2014/main" id="{3AD3C395-ECC9-414B-9714-51E885F3462F}"/>
              </a:ext>
            </a:extLst>
          </p:cNvPr>
          <p:cNvSpPr>
            <a:spLocks noGrp="1"/>
          </p:cNvSpPr>
          <p:nvPr>
            <p:ph type="sldNum" sz="quarter" idx="4"/>
          </p:nvPr>
        </p:nvSpPr>
        <p:spPr bwMode="gray">
          <a:xfrm>
            <a:off x="11676640" y="6498644"/>
            <a:ext cx="180000" cy="202222"/>
          </a:xfrm>
          <a:prstGeom prst="rect">
            <a:avLst/>
          </a:prstGeom>
        </p:spPr>
        <p:txBody>
          <a:bodyPr vert="horz" lIns="0" tIns="0" rIns="0" bIns="0" rtlCol="0" anchor="b"/>
          <a:lstStyle>
            <a:lvl1pPr algn="l">
              <a:defRPr sz="1000">
                <a:solidFill>
                  <a:schemeClr val="tx1"/>
                </a:solidFill>
              </a:defRPr>
            </a:lvl1pPr>
          </a:lstStyle>
          <a:p>
            <a:fld id="{596A2A10-B827-4CCE-9EB2-A13B5A721707}" type="slidenum">
              <a:rPr lang="de-DE" smtClean="0"/>
              <a:pPr/>
              <a:t>‹Nr.›</a:t>
            </a:fld>
            <a:endParaRPr lang="de-DE"/>
          </a:p>
        </p:txBody>
      </p:sp>
      <p:sp>
        <p:nvSpPr>
          <p:cNvPr id="13" name="Picture Placeholder 12">
            <a:extLst>
              <a:ext uri="{FF2B5EF4-FFF2-40B4-BE49-F238E27FC236}">
                <a16:creationId xmlns:a16="http://schemas.microsoft.com/office/drawing/2014/main" id="{7CF697C6-0274-4BB0-842F-61CA1055372D}"/>
              </a:ext>
            </a:extLst>
          </p:cNvPr>
          <p:cNvSpPr>
            <a:spLocks noGrp="1"/>
          </p:cNvSpPr>
          <p:nvPr>
            <p:ph type="pic" sz="quarter" idx="12" hasCustomPrompt="1"/>
          </p:nvPr>
        </p:nvSpPr>
        <p:spPr bwMode="gray">
          <a:xfrm>
            <a:off x="7612037" y="549275"/>
            <a:ext cx="4579964" cy="5688013"/>
          </a:xfrm>
          <a:custGeom>
            <a:avLst/>
            <a:gdLst>
              <a:gd name="connsiteX0" fmla="*/ 290589 w 4579964"/>
              <a:gd name="connsiteY0" fmla="*/ 0 h 5670044"/>
              <a:gd name="connsiteX1" fmla="*/ 4579964 w 4579964"/>
              <a:gd name="connsiteY1" fmla="*/ 0 h 5670044"/>
              <a:gd name="connsiteX2" fmla="*/ 4579964 w 4579964"/>
              <a:gd name="connsiteY2" fmla="*/ 5670044 h 5670044"/>
              <a:gd name="connsiteX3" fmla="*/ 290589 w 4579964"/>
              <a:gd name="connsiteY3" fmla="*/ 5670044 h 5670044"/>
              <a:gd name="connsiteX4" fmla="*/ 5903 w 4579964"/>
              <a:gd name="connsiteY4" fmla="*/ 5438018 h 5670044"/>
              <a:gd name="connsiteX5" fmla="*/ 0 w 4579964"/>
              <a:gd name="connsiteY5" fmla="*/ 5379465 h 5670044"/>
              <a:gd name="connsiteX6" fmla="*/ 0 w 4579964"/>
              <a:gd name="connsiteY6" fmla="*/ 290579 h 5670044"/>
              <a:gd name="connsiteX7" fmla="*/ 5903 w 4579964"/>
              <a:gd name="connsiteY7" fmla="*/ 232026 h 5670044"/>
              <a:gd name="connsiteX8" fmla="*/ 290589 w 4579964"/>
              <a:gd name="connsiteY8" fmla="*/ 0 h 56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9964" h="5670044">
                <a:moveTo>
                  <a:pt x="290589" y="0"/>
                </a:moveTo>
                <a:lnTo>
                  <a:pt x="4579964" y="0"/>
                </a:lnTo>
                <a:lnTo>
                  <a:pt x="4579964" y="5670044"/>
                </a:lnTo>
                <a:lnTo>
                  <a:pt x="290589" y="5670044"/>
                </a:lnTo>
                <a:cubicBezTo>
                  <a:pt x="150162" y="5670044"/>
                  <a:pt x="33000" y="5570435"/>
                  <a:pt x="5903" y="5438018"/>
                </a:cubicBezTo>
                <a:lnTo>
                  <a:pt x="0" y="5379465"/>
                </a:lnTo>
                <a:lnTo>
                  <a:pt x="0" y="290579"/>
                </a:lnTo>
                <a:lnTo>
                  <a:pt x="5903" y="232026"/>
                </a:lnTo>
                <a:cubicBezTo>
                  <a:pt x="33000" y="99609"/>
                  <a:pt x="150162" y="0"/>
                  <a:pt x="290589" y="0"/>
                </a:cubicBezTo>
                <a:close/>
              </a:path>
            </a:pathLst>
          </a:custGeom>
        </p:spPr>
        <p:txBody>
          <a:bodyPr wrap="square" tIns="0" bIns="720000" anchor="ctr">
            <a:noAutofit/>
          </a:bodyPr>
          <a:lstStyle>
            <a:lvl1pPr algn="ctr">
              <a:spcAft>
                <a:spcPts val="0"/>
              </a:spcAft>
              <a:defRPr sz="1200" b="0"/>
            </a:lvl1pPr>
          </a:lstStyle>
          <a:p>
            <a:r>
              <a:rPr lang="de-DE"/>
              <a:t>Bild durch Klick auf das Icon hinzufügen</a:t>
            </a:r>
            <a:br>
              <a:rPr lang="de-DE"/>
            </a:br>
            <a:r>
              <a:rPr lang="de-DE"/>
              <a:t>und ggf. zuschneiden</a:t>
            </a:r>
          </a:p>
        </p:txBody>
      </p:sp>
      <p:sp>
        <p:nvSpPr>
          <p:cNvPr id="14" name="Textplatzhalter 8">
            <a:extLst>
              <a:ext uri="{FF2B5EF4-FFF2-40B4-BE49-F238E27FC236}">
                <a16:creationId xmlns:a16="http://schemas.microsoft.com/office/drawing/2014/main" id="{D3B9A7BD-91C0-4E12-BE93-78BA87CA47C4}"/>
              </a:ext>
            </a:extLst>
          </p:cNvPr>
          <p:cNvSpPr>
            <a:spLocks noGrp="1"/>
          </p:cNvSpPr>
          <p:nvPr>
            <p:ph type="body" sz="quarter" idx="15"/>
          </p:nvPr>
        </p:nvSpPr>
        <p:spPr bwMode="gray">
          <a:xfrm>
            <a:off x="550864" y="1928263"/>
            <a:ext cx="6769272" cy="3816424"/>
          </a:xfrm>
          <a:prstGeom prst="roundRect">
            <a:avLst>
              <a:gd name="adj" fmla="val 5880"/>
            </a:avLst>
          </a:prstGeom>
          <a:noFill/>
          <a:ln w="25400">
            <a:solidFill>
              <a:schemeClr val="tx1"/>
            </a:solidFill>
          </a:ln>
        </p:spPr>
        <p:txBody>
          <a:bodyPr lIns="972000" tIns="1188000" rIns="108000" bIns="108000" anchor="ctr" anchorCtr="0"/>
          <a:lstStyle>
            <a:lvl1pPr>
              <a:spcAft>
                <a:spcPts val="300"/>
              </a:spcAft>
              <a:defRPr sz="1800"/>
            </a:lvl1pPr>
            <a:lvl2pPr>
              <a:spcAft>
                <a:spcPts val="300"/>
              </a:spcAft>
              <a:defRPr sz="1800"/>
            </a:lvl2pPr>
            <a:lvl3pPr>
              <a:spcAft>
                <a:spcPts val="300"/>
              </a:spcAft>
              <a:defRPr sz="1800"/>
            </a:lvl3pPr>
            <a:lvl4pPr>
              <a:spcAft>
                <a:spcPts val="300"/>
              </a:spcAft>
              <a:defRPr sz="18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de-DE"/>
              <a:t>Mastertextformat bearbeiten</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14746125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ld mit Text">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BCA9A4C1-3442-4F48-9649-91A6B71F2791}"/>
              </a:ext>
            </a:extLst>
          </p:cNvPr>
          <p:cNvSpPr>
            <a:spLocks noGrp="1"/>
          </p:cNvSpPr>
          <p:nvPr>
            <p:ph type="ftr" sz="quarter" idx="11"/>
          </p:nvPr>
        </p:nvSpPr>
        <p:spPr bwMode="gray"/>
        <p:txBody>
          <a:bodyPr/>
          <a:lstStyle/>
          <a:p>
            <a:r>
              <a:rPr lang="de-DE"/>
              <a:t>DENEFF PowerPoint Master</a:t>
            </a:r>
          </a:p>
        </p:txBody>
      </p:sp>
      <p:sp>
        <p:nvSpPr>
          <p:cNvPr id="8" name="Bildplatzhalter 7">
            <a:extLst>
              <a:ext uri="{FF2B5EF4-FFF2-40B4-BE49-F238E27FC236}">
                <a16:creationId xmlns:a16="http://schemas.microsoft.com/office/drawing/2014/main" id="{345DAA3B-5723-449C-BA62-D84E7CCA54FB}"/>
              </a:ext>
            </a:extLst>
          </p:cNvPr>
          <p:cNvSpPr>
            <a:spLocks noGrp="1"/>
          </p:cNvSpPr>
          <p:nvPr>
            <p:ph type="pic" sz="quarter" idx="13" hasCustomPrompt="1"/>
          </p:nvPr>
        </p:nvSpPr>
        <p:spPr bwMode="gray">
          <a:xfrm>
            <a:off x="551384" y="549275"/>
            <a:ext cx="8856000" cy="5688000"/>
          </a:xfrm>
          <a:prstGeom prst="roundRect">
            <a:avLst>
              <a:gd name="adj" fmla="val 2233"/>
            </a:avLst>
          </a:prstGeom>
        </p:spPr>
        <p:txBody>
          <a:bodyPr bIns="720000" anchor="ctr"/>
          <a:lstStyle>
            <a:lvl1pPr marL="0" algn="ctr">
              <a:spcAft>
                <a:spcPts val="0"/>
              </a:spcAft>
              <a:buFontTx/>
              <a:buNone/>
              <a:defRPr sz="1200" b="0">
                <a:solidFill>
                  <a:schemeClr val="tx1"/>
                </a:solidFill>
              </a:defRPr>
            </a:lvl1pPr>
            <a:lvl2pPr marL="0" algn="ctr">
              <a:spcAft>
                <a:spcPts val="0"/>
              </a:spcAft>
              <a:buFontTx/>
              <a:buNone/>
              <a:defRPr sz="1200" b="0">
                <a:solidFill>
                  <a:schemeClr val="tx1"/>
                </a:solidFill>
              </a:defRPr>
            </a:lvl2pPr>
            <a:lvl3pPr marL="0" indent="0" algn="ctr">
              <a:spcAft>
                <a:spcPts val="0"/>
              </a:spcAft>
              <a:buFontTx/>
              <a:buNone/>
              <a:defRPr sz="1200" b="0">
                <a:solidFill>
                  <a:schemeClr val="tx1"/>
                </a:solidFill>
              </a:defRPr>
            </a:lvl3pPr>
            <a:lvl4pPr marL="0" indent="0" algn="ctr">
              <a:spcAft>
                <a:spcPts val="0"/>
              </a:spcAft>
              <a:buFontTx/>
              <a:buNone/>
              <a:defRPr sz="1200" b="0">
                <a:solidFill>
                  <a:schemeClr val="tx1"/>
                </a:solidFill>
              </a:defRPr>
            </a:lvl4pPr>
            <a:lvl5pPr marL="0" indent="0" algn="ctr">
              <a:spcAft>
                <a:spcPts val="0"/>
              </a:spcAft>
              <a:buFontTx/>
              <a:buNone/>
              <a:defRPr sz="1200" b="0">
                <a:solidFill>
                  <a:schemeClr val="tx1"/>
                </a:solidFill>
              </a:defRPr>
            </a:lvl5pPr>
            <a:lvl6pPr marL="0" indent="0" algn="ctr">
              <a:spcAft>
                <a:spcPts val="0"/>
              </a:spcAft>
              <a:buFontTx/>
              <a:buNone/>
              <a:defRPr sz="1200" b="0">
                <a:solidFill>
                  <a:schemeClr val="tx1"/>
                </a:solidFill>
              </a:defRPr>
            </a:lvl6pPr>
            <a:lvl7pPr marL="0" indent="0" algn="ctr">
              <a:spcAft>
                <a:spcPts val="0"/>
              </a:spcAft>
              <a:buFontTx/>
              <a:buNone/>
              <a:defRPr sz="1200" b="0">
                <a:solidFill>
                  <a:schemeClr val="tx1"/>
                </a:solidFill>
              </a:defRPr>
            </a:lvl7pPr>
            <a:lvl8pPr marL="0" indent="0" algn="ctr">
              <a:spcAft>
                <a:spcPts val="0"/>
              </a:spcAft>
              <a:buFontTx/>
              <a:buNone/>
              <a:defRPr sz="1200" b="0">
                <a:solidFill>
                  <a:schemeClr val="tx1"/>
                </a:solidFill>
              </a:defRPr>
            </a:lvl8pPr>
            <a:lvl9pPr marL="0" indent="0" algn="ctr">
              <a:spcAft>
                <a:spcPts val="0"/>
              </a:spcAft>
              <a:buFontTx/>
              <a:buNone/>
              <a:defRPr sz="1200" b="0">
                <a:solidFill>
                  <a:schemeClr val="tx1"/>
                </a:solidFill>
              </a:defRPr>
            </a:lvl9pPr>
          </a:lstStyle>
          <a:p>
            <a:pPr lvl="0"/>
            <a:r>
              <a:rPr lang="de-DE"/>
              <a:t>Bild durch Klick auf das Icon hinzufügen </a:t>
            </a:r>
            <a:br>
              <a:rPr lang="de-DE"/>
            </a:br>
            <a:r>
              <a:rPr lang="de-DE"/>
              <a:t>und ggf. zuschneiden</a:t>
            </a:r>
          </a:p>
        </p:txBody>
      </p:sp>
      <p:sp>
        <p:nvSpPr>
          <p:cNvPr id="9" name="Textplatzhalter 3">
            <a:extLst>
              <a:ext uri="{FF2B5EF4-FFF2-40B4-BE49-F238E27FC236}">
                <a16:creationId xmlns:a16="http://schemas.microsoft.com/office/drawing/2014/main" id="{8CE4344D-5BAD-43B1-BFDA-9372B7AB601A}"/>
              </a:ext>
            </a:extLst>
          </p:cNvPr>
          <p:cNvSpPr>
            <a:spLocks noGrp="1"/>
          </p:cNvSpPr>
          <p:nvPr>
            <p:ph type="body" sz="quarter" idx="14"/>
          </p:nvPr>
        </p:nvSpPr>
        <p:spPr bwMode="gray">
          <a:xfrm>
            <a:off x="9768640" y="1628775"/>
            <a:ext cx="2088000" cy="460851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Foliennummernplatzhalter 5">
            <a:extLst>
              <a:ext uri="{FF2B5EF4-FFF2-40B4-BE49-F238E27FC236}">
                <a16:creationId xmlns:a16="http://schemas.microsoft.com/office/drawing/2014/main" id="{DC672FF8-0B45-434F-AF9A-EF242EFB514C}"/>
              </a:ext>
            </a:extLst>
          </p:cNvPr>
          <p:cNvSpPr>
            <a:spLocks noGrp="1"/>
          </p:cNvSpPr>
          <p:nvPr>
            <p:ph type="sldNum" sz="quarter" idx="4"/>
          </p:nvPr>
        </p:nvSpPr>
        <p:spPr bwMode="gray">
          <a:xfrm>
            <a:off x="11676640" y="6498644"/>
            <a:ext cx="180000" cy="202222"/>
          </a:xfrm>
          <a:prstGeom prst="rect">
            <a:avLst/>
          </a:prstGeom>
        </p:spPr>
        <p:txBody>
          <a:bodyPr vert="horz" lIns="0" tIns="0" rIns="0" bIns="0" rtlCol="0" anchor="b"/>
          <a:lstStyle>
            <a:lvl1pPr algn="l">
              <a:defRPr sz="1000">
                <a:solidFill>
                  <a:schemeClr val="tx1"/>
                </a:solidFill>
              </a:defRPr>
            </a:lvl1pPr>
          </a:lstStyle>
          <a:p>
            <a:fld id="{596A2A10-B827-4CCE-9EB2-A13B5A721707}" type="slidenum">
              <a:rPr lang="de-DE" smtClean="0"/>
              <a:pPr/>
              <a:t>‹Nr.›</a:t>
            </a:fld>
            <a:endParaRPr lang="de-DE"/>
          </a:p>
        </p:txBody>
      </p:sp>
    </p:spTree>
    <p:extLst>
      <p:ext uri="{BB962C8B-B14F-4D97-AF65-F5344CB8AC3E}">
        <p14:creationId xmlns:p14="http://schemas.microsoft.com/office/powerpoint/2010/main" val="1180634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Vollflächiges Bild">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345DAA3B-5723-449C-BA62-D84E7CCA54FB}"/>
              </a:ext>
            </a:extLst>
          </p:cNvPr>
          <p:cNvSpPr>
            <a:spLocks noGrp="1"/>
          </p:cNvSpPr>
          <p:nvPr>
            <p:ph type="pic" sz="quarter" idx="13" hasCustomPrompt="1"/>
          </p:nvPr>
        </p:nvSpPr>
        <p:spPr bwMode="gray">
          <a:xfrm>
            <a:off x="0" y="0"/>
            <a:ext cx="12192000" cy="6858000"/>
          </a:xfrm>
          <a:prstGeom prst="rect">
            <a:avLst/>
          </a:prstGeom>
        </p:spPr>
        <p:txBody>
          <a:bodyPr bIns="720000" anchor="ctr"/>
          <a:lstStyle>
            <a:lvl1pPr marL="0" algn="ctr">
              <a:spcAft>
                <a:spcPts val="0"/>
              </a:spcAft>
              <a:buFontTx/>
              <a:buNone/>
              <a:defRPr sz="1200" b="0">
                <a:solidFill>
                  <a:schemeClr val="tx1"/>
                </a:solidFill>
              </a:defRPr>
            </a:lvl1pPr>
            <a:lvl2pPr marL="0" algn="ctr">
              <a:spcAft>
                <a:spcPts val="0"/>
              </a:spcAft>
              <a:buFontTx/>
              <a:buNone/>
              <a:defRPr sz="1200" b="0">
                <a:solidFill>
                  <a:schemeClr val="tx1"/>
                </a:solidFill>
              </a:defRPr>
            </a:lvl2pPr>
            <a:lvl3pPr marL="0" indent="0" algn="ctr">
              <a:spcAft>
                <a:spcPts val="0"/>
              </a:spcAft>
              <a:buFontTx/>
              <a:buNone/>
              <a:defRPr sz="1200" b="0">
                <a:solidFill>
                  <a:schemeClr val="tx1"/>
                </a:solidFill>
              </a:defRPr>
            </a:lvl3pPr>
            <a:lvl4pPr marL="0" indent="0" algn="ctr">
              <a:spcAft>
                <a:spcPts val="0"/>
              </a:spcAft>
              <a:buFontTx/>
              <a:buNone/>
              <a:defRPr sz="1200" b="0">
                <a:solidFill>
                  <a:schemeClr val="tx1"/>
                </a:solidFill>
              </a:defRPr>
            </a:lvl4pPr>
            <a:lvl5pPr marL="0" indent="0" algn="ctr">
              <a:spcAft>
                <a:spcPts val="0"/>
              </a:spcAft>
              <a:buFontTx/>
              <a:buNone/>
              <a:defRPr sz="1200" b="0">
                <a:solidFill>
                  <a:schemeClr val="tx1"/>
                </a:solidFill>
              </a:defRPr>
            </a:lvl5pPr>
            <a:lvl6pPr marL="0" indent="0" algn="ctr">
              <a:spcAft>
                <a:spcPts val="0"/>
              </a:spcAft>
              <a:buFontTx/>
              <a:buNone/>
              <a:defRPr sz="1200" b="0">
                <a:solidFill>
                  <a:schemeClr val="tx1"/>
                </a:solidFill>
              </a:defRPr>
            </a:lvl6pPr>
            <a:lvl7pPr marL="0" indent="0" algn="ctr">
              <a:spcAft>
                <a:spcPts val="0"/>
              </a:spcAft>
              <a:buFontTx/>
              <a:buNone/>
              <a:defRPr sz="1200" b="0">
                <a:solidFill>
                  <a:schemeClr val="tx1"/>
                </a:solidFill>
              </a:defRPr>
            </a:lvl7pPr>
            <a:lvl8pPr marL="0" indent="0" algn="ctr">
              <a:spcAft>
                <a:spcPts val="0"/>
              </a:spcAft>
              <a:buFontTx/>
              <a:buNone/>
              <a:defRPr sz="1200" b="0">
                <a:solidFill>
                  <a:schemeClr val="tx1"/>
                </a:solidFill>
              </a:defRPr>
            </a:lvl8pPr>
            <a:lvl9pPr marL="0" indent="0" algn="ctr">
              <a:spcAft>
                <a:spcPts val="0"/>
              </a:spcAft>
              <a:buFontTx/>
              <a:buNone/>
              <a:defRPr sz="1200" b="0">
                <a:solidFill>
                  <a:schemeClr val="tx1"/>
                </a:solidFill>
              </a:defRPr>
            </a:lvl9pPr>
          </a:lstStyle>
          <a:p>
            <a:pPr lvl="0"/>
            <a:r>
              <a:rPr lang="de-DE"/>
              <a:t>Bild durch Klick auf das Icon hinzufügen </a:t>
            </a:r>
            <a:br>
              <a:rPr lang="de-DE"/>
            </a:br>
            <a:r>
              <a:rPr lang="de-DE"/>
              <a:t>und ggf. zuschneiden</a:t>
            </a:r>
          </a:p>
        </p:txBody>
      </p:sp>
      <p:sp>
        <p:nvSpPr>
          <p:cNvPr id="4" name="Textplatzhalter 3">
            <a:extLst>
              <a:ext uri="{FF2B5EF4-FFF2-40B4-BE49-F238E27FC236}">
                <a16:creationId xmlns:a16="http://schemas.microsoft.com/office/drawing/2014/main" id="{FC1BD339-3882-47FB-BF94-84BEDFB7FB6E}"/>
              </a:ext>
            </a:extLst>
          </p:cNvPr>
          <p:cNvSpPr>
            <a:spLocks noGrp="1"/>
          </p:cNvSpPr>
          <p:nvPr>
            <p:ph type="body" sz="quarter" idx="14"/>
          </p:nvPr>
        </p:nvSpPr>
        <p:spPr bwMode="gray">
          <a:xfrm>
            <a:off x="551384" y="4293096"/>
            <a:ext cx="4032000" cy="1944000"/>
          </a:xfrm>
          <a:prstGeom prst="roundRect">
            <a:avLst>
              <a:gd name="adj" fmla="val 6533"/>
            </a:avLst>
          </a:prstGeom>
          <a:solidFill>
            <a:schemeClr val="bg1"/>
          </a:solidFill>
        </p:spPr>
        <p:txBody>
          <a:bodyPr lIns="72000" tIns="72000" rIns="72000" bIns="72000" anchor="ct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0456881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Zitat">
    <p:spTree>
      <p:nvGrpSpPr>
        <p:cNvPr id="1" name=""/>
        <p:cNvGrpSpPr/>
        <p:nvPr/>
      </p:nvGrpSpPr>
      <p:grpSpPr>
        <a:xfrm>
          <a:off x="0" y="0"/>
          <a:ext cx="0" cy="0"/>
          <a:chOff x="0" y="0"/>
          <a:chExt cx="0" cy="0"/>
        </a:xfrm>
      </p:grpSpPr>
      <p:sp>
        <p:nvSpPr>
          <p:cNvPr id="6" name="Grafik 2">
            <a:extLst>
              <a:ext uri="{FF2B5EF4-FFF2-40B4-BE49-F238E27FC236}">
                <a16:creationId xmlns:a16="http://schemas.microsoft.com/office/drawing/2014/main" id="{1B2864EB-0B02-4661-854E-2D7B90162AF8}"/>
              </a:ext>
            </a:extLst>
          </p:cNvPr>
          <p:cNvSpPr/>
          <p:nvPr userDrawn="1"/>
        </p:nvSpPr>
        <p:spPr bwMode="gray">
          <a:xfrm>
            <a:off x="9568566" y="4365312"/>
            <a:ext cx="1872000" cy="1872000"/>
          </a:xfrm>
          <a:prstGeom prst="ellipse">
            <a:avLst/>
          </a:prstGeom>
          <a:gradFill flip="none" rotWithShape="1">
            <a:gsLst>
              <a:gs pos="0">
                <a:srgbClr val="D94291"/>
              </a:gs>
              <a:gs pos="100000">
                <a:srgbClr val="CF91D2"/>
              </a:gs>
            </a:gsLst>
            <a:lin ang="5400000" scaled="1"/>
            <a:tileRect/>
          </a:gradFill>
          <a:ln w="9525" cap="flat">
            <a:noFill/>
            <a:prstDash val="solid"/>
            <a:miter/>
          </a:ln>
        </p:spPr>
        <p:txBody>
          <a:bodyPr rtlCol="0" anchor="ctr"/>
          <a:lstStyle/>
          <a:p>
            <a:endParaRPr lang="de-DE"/>
          </a:p>
        </p:txBody>
      </p:sp>
      <p:sp>
        <p:nvSpPr>
          <p:cNvPr id="7" name="Grafik 2">
            <a:extLst>
              <a:ext uri="{FF2B5EF4-FFF2-40B4-BE49-F238E27FC236}">
                <a16:creationId xmlns:a16="http://schemas.microsoft.com/office/drawing/2014/main" id="{6769863C-37F9-428C-A7C9-B9A8B0028826}"/>
              </a:ext>
            </a:extLst>
          </p:cNvPr>
          <p:cNvSpPr/>
          <p:nvPr userDrawn="1"/>
        </p:nvSpPr>
        <p:spPr bwMode="gray">
          <a:xfrm>
            <a:off x="1038976" y="548584"/>
            <a:ext cx="4229423" cy="4247880"/>
          </a:xfrm>
          <a:custGeom>
            <a:avLst/>
            <a:gdLst>
              <a:gd name="connsiteX0" fmla="*/ 454312 w 1392284"/>
              <a:gd name="connsiteY0" fmla="*/ 1393369 h 1398358"/>
              <a:gd name="connsiteX1" fmla="*/ 220949 w 1392284"/>
              <a:gd name="connsiteY1" fmla="*/ 1393369 h 1398358"/>
              <a:gd name="connsiteX2" fmla="*/ 59882 w 1392284"/>
              <a:gd name="connsiteY2" fmla="*/ 1384988 h 1398358"/>
              <a:gd name="connsiteX3" fmla="*/ 10637 w 1392284"/>
              <a:gd name="connsiteY3" fmla="*/ 1352031 h 1398358"/>
              <a:gd name="connsiteX4" fmla="*/ 25306 w 1392284"/>
              <a:gd name="connsiteY4" fmla="*/ 1298881 h 1398358"/>
              <a:gd name="connsiteX5" fmla="*/ 138748 w 1392284"/>
              <a:gd name="connsiteY5" fmla="*/ 1183914 h 1398358"/>
              <a:gd name="connsiteX6" fmla="*/ 142559 w 1392284"/>
              <a:gd name="connsiteY6" fmla="*/ 1121431 h 1398358"/>
              <a:gd name="connsiteX7" fmla="*/ 3398 w 1392284"/>
              <a:gd name="connsiteY7" fmla="*/ 767006 h 1398358"/>
              <a:gd name="connsiteX8" fmla="*/ 195422 w 1392284"/>
              <a:gd name="connsiteY8" fmla="*/ 213698 h 1398358"/>
              <a:gd name="connsiteX9" fmla="*/ 1139540 w 1392284"/>
              <a:gd name="connsiteY9" fmla="*/ 161215 h 1398358"/>
              <a:gd name="connsiteX10" fmla="*/ 1389381 w 1392284"/>
              <a:gd name="connsiteY10" fmla="*/ 644800 h 1398358"/>
              <a:gd name="connsiteX11" fmla="*/ 1198881 w 1392284"/>
              <a:gd name="connsiteY11" fmla="*/ 1181248 h 1398358"/>
              <a:gd name="connsiteX12" fmla="*/ 803403 w 1392284"/>
              <a:gd name="connsiteY12" fmla="*/ 1384035 h 1398358"/>
              <a:gd name="connsiteX13" fmla="*/ 454312 w 1392284"/>
              <a:gd name="connsiteY13" fmla="*/ 1398132 h 1398358"/>
              <a:gd name="connsiteX0" fmla="*/ 454741 w 1392283"/>
              <a:gd name="connsiteY0" fmla="*/ 1398359 h 1398359"/>
              <a:gd name="connsiteX1" fmla="*/ 221378 w 1392283"/>
              <a:gd name="connsiteY1" fmla="*/ 1393596 h 1398359"/>
              <a:gd name="connsiteX2" fmla="*/ 60311 w 1392283"/>
              <a:gd name="connsiteY2" fmla="*/ 1385215 h 1398359"/>
              <a:gd name="connsiteX3" fmla="*/ 11066 w 1392283"/>
              <a:gd name="connsiteY3" fmla="*/ 1352258 h 1398359"/>
              <a:gd name="connsiteX4" fmla="*/ 25735 w 1392283"/>
              <a:gd name="connsiteY4" fmla="*/ 1299108 h 1398359"/>
              <a:gd name="connsiteX5" fmla="*/ 139177 w 1392283"/>
              <a:gd name="connsiteY5" fmla="*/ 1184141 h 1398359"/>
              <a:gd name="connsiteX6" fmla="*/ 142988 w 1392283"/>
              <a:gd name="connsiteY6" fmla="*/ 1121658 h 1398359"/>
              <a:gd name="connsiteX7" fmla="*/ 3827 w 1392283"/>
              <a:gd name="connsiteY7" fmla="*/ 767233 h 1398359"/>
              <a:gd name="connsiteX8" fmla="*/ 195851 w 1392283"/>
              <a:gd name="connsiteY8" fmla="*/ 213925 h 1398359"/>
              <a:gd name="connsiteX9" fmla="*/ 1139969 w 1392283"/>
              <a:gd name="connsiteY9" fmla="*/ 161442 h 1398359"/>
              <a:gd name="connsiteX10" fmla="*/ 1389810 w 1392283"/>
              <a:gd name="connsiteY10" fmla="*/ 645027 h 1398359"/>
              <a:gd name="connsiteX11" fmla="*/ 1199310 w 1392283"/>
              <a:gd name="connsiteY11" fmla="*/ 1181475 h 1398359"/>
              <a:gd name="connsiteX12" fmla="*/ 803832 w 1392283"/>
              <a:gd name="connsiteY12" fmla="*/ 1384262 h 1398359"/>
              <a:gd name="connsiteX13" fmla="*/ 454741 w 1392283"/>
              <a:gd name="connsiteY13" fmla="*/ 1398359 h 1398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92283" h="1398359">
                <a:moveTo>
                  <a:pt x="454741" y="1398359"/>
                </a:moveTo>
                <a:lnTo>
                  <a:pt x="221378" y="1393596"/>
                </a:lnTo>
                <a:cubicBezTo>
                  <a:pt x="167657" y="1392644"/>
                  <a:pt x="114031" y="1388262"/>
                  <a:pt x="60311" y="1385215"/>
                </a:cubicBezTo>
                <a:cubicBezTo>
                  <a:pt x="38632" y="1385567"/>
                  <a:pt x="19010" y="1372432"/>
                  <a:pt x="11066" y="1352258"/>
                </a:cubicBezTo>
                <a:cubicBezTo>
                  <a:pt x="2684" y="1331494"/>
                  <a:pt x="12019" y="1313491"/>
                  <a:pt x="25735" y="1299108"/>
                </a:cubicBezTo>
                <a:cubicBezTo>
                  <a:pt x="62977" y="1260246"/>
                  <a:pt x="101935" y="1222908"/>
                  <a:pt x="139177" y="1184141"/>
                </a:cubicBezTo>
                <a:cubicBezTo>
                  <a:pt x="167752" y="1154424"/>
                  <a:pt x="167752" y="1154614"/>
                  <a:pt x="142988" y="1121658"/>
                </a:cubicBezTo>
                <a:cubicBezTo>
                  <a:pt x="64816" y="1018607"/>
                  <a:pt x="16658" y="895944"/>
                  <a:pt x="3827" y="767233"/>
                </a:cubicBezTo>
                <a:cubicBezTo>
                  <a:pt x="-17223" y="552539"/>
                  <a:pt x="48785" y="366611"/>
                  <a:pt x="195851" y="213925"/>
                </a:cubicBezTo>
                <a:cubicBezTo>
                  <a:pt x="454265" y="-54299"/>
                  <a:pt x="861554" y="-68586"/>
                  <a:pt x="1139969" y="161442"/>
                </a:cubicBezTo>
                <a:cubicBezTo>
                  <a:pt x="1291702" y="286696"/>
                  <a:pt x="1374284" y="448335"/>
                  <a:pt x="1389810" y="645027"/>
                </a:cubicBezTo>
                <a:cubicBezTo>
                  <a:pt x="1406288" y="852672"/>
                  <a:pt x="1340185" y="1032313"/>
                  <a:pt x="1199310" y="1181475"/>
                </a:cubicBezTo>
                <a:cubicBezTo>
                  <a:pt x="1092916" y="1294155"/>
                  <a:pt x="959375" y="1367402"/>
                  <a:pt x="803832" y="1384262"/>
                </a:cubicBezTo>
                <a:cubicBezTo>
                  <a:pt x="688294" y="1396740"/>
                  <a:pt x="571136" y="1393787"/>
                  <a:pt x="454741" y="1398359"/>
                </a:cubicBezTo>
                <a:close/>
              </a:path>
            </a:pathLst>
          </a:custGeom>
          <a:gradFill>
            <a:gsLst>
              <a:gs pos="5000">
                <a:srgbClr val="FC5B2F"/>
              </a:gs>
              <a:gs pos="100000">
                <a:srgbClr val="FE935B"/>
              </a:gs>
            </a:gsLst>
            <a:lin ang="18900000" scaled="1"/>
          </a:gradFill>
          <a:ln w="9525" cap="flat">
            <a:noFill/>
            <a:prstDash val="solid"/>
            <a:miter/>
          </a:ln>
        </p:spPr>
        <p:txBody>
          <a:bodyPr rtlCol="0" anchor="ctr"/>
          <a:lstStyle/>
          <a:p>
            <a:endParaRPr lang="de-DE"/>
          </a:p>
        </p:txBody>
      </p:sp>
      <p:sp>
        <p:nvSpPr>
          <p:cNvPr id="8" name="Grafik 2">
            <a:extLst>
              <a:ext uri="{FF2B5EF4-FFF2-40B4-BE49-F238E27FC236}">
                <a16:creationId xmlns:a16="http://schemas.microsoft.com/office/drawing/2014/main" id="{ECAFCE63-70E3-45F2-BF8E-AF6B75667417}"/>
              </a:ext>
            </a:extLst>
          </p:cNvPr>
          <p:cNvSpPr/>
          <p:nvPr userDrawn="1"/>
        </p:nvSpPr>
        <p:spPr bwMode="gray">
          <a:xfrm>
            <a:off x="551384" y="828057"/>
            <a:ext cx="1284750" cy="1403744"/>
          </a:xfrm>
          <a:custGeom>
            <a:avLst/>
            <a:gdLst>
              <a:gd name="connsiteX0" fmla="*/ 1446513 w 1447286"/>
              <a:gd name="connsiteY0" fmla="*/ 797086 h 1581333"/>
              <a:gd name="connsiteX1" fmla="*/ 1446513 w 1447286"/>
              <a:gd name="connsiteY1" fmla="*/ 1043974 h 1581333"/>
              <a:gd name="connsiteX2" fmla="*/ 1302780 w 1447286"/>
              <a:gd name="connsiteY2" fmla="*/ 1291624 h 1581333"/>
              <a:gd name="connsiteX3" fmla="*/ 895015 w 1447286"/>
              <a:gd name="connsiteY3" fmla="*/ 1527368 h 1581333"/>
              <a:gd name="connsiteX4" fmla="*/ 726137 w 1447286"/>
              <a:gd name="connsiteY4" fmla="*/ 1581089 h 1581333"/>
              <a:gd name="connsiteX5" fmla="*/ 588787 w 1447286"/>
              <a:gd name="connsiteY5" fmla="*/ 1545465 h 1581333"/>
              <a:gd name="connsiteX6" fmla="*/ 157494 w 1447286"/>
              <a:gd name="connsiteY6" fmla="*/ 1296577 h 1581333"/>
              <a:gd name="connsiteX7" fmla="*/ 1856 w 1447286"/>
              <a:gd name="connsiteY7" fmla="*/ 1031972 h 1581333"/>
              <a:gd name="connsiteX8" fmla="*/ 1856 w 1447286"/>
              <a:gd name="connsiteY8" fmla="*/ 555722 h 1581333"/>
              <a:gd name="connsiteX9" fmla="*/ 162161 w 1447286"/>
              <a:gd name="connsiteY9" fmla="*/ 284641 h 1581333"/>
              <a:gd name="connsiteX10" fmla="*/ 593549 w 1447286"/>
              <a:gd name="connsiteY10" fmla="*/ 36038 h 1581333"/>
              <a:gd name="connsiteX11" fmla="*/ 842818 w 1447286"/>
              <a:gd name="connsiteY11" fmla="*/ 30228 h 1581333"/>
              <a:gd name="connsiteX12" fmla="*/ 1073228 w 1447286"/>
              <a:gd name="connsiteY12" fmla="*/ 160340 h 1581333"/>
              <a:gd name="connsiteX13" fmla="*/ 1282778 w 1447286"/>
              <a:gd name="connsiteY13" fmla="*/ 281117 h 1581333"/>
              <a:gd name="connsiteX14" fmla="*/ 1446703 w 1447286"/>
              <a:gd name="connsiteY14" fmla="*/ 558770 h 1581333"/>
              <a:gd name="connsiteX15" fmla="*/ 1446513 w 1447286"/>
              <a:gd name="connsiteY15" fmla="*/ 797086 h 158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47286" h="1581333">
                <a:moveTo>
                  <a:pt x="1446513" y="797086"/>
                </a:moveTo>
                <a:cubicBezTo>
                  <a:pt x="1446513" y="879382"/>
                  <a:pt x="1447275" y="961678"/>
                  <a:pt x="1446513" y="1043974"/>
                </a:cubicBezTo>
                <a:cubicBezTo>
                  <a:pt x="1445274" y="1153321"/>
                  <a:pt x="1396411" y="1236474"/>
                  <a:pt x="1302780" y="1291624"/>
                </a:cubicBezTo>
                <a:cubicBezTo>
                  <a:pt x="1167526" y="1371348"/>
                  <a:pt x="1031318" y="1449358"/>
                  <a:pt x="895015" y="1527368"/>
                </a:cubicBezTo>
                <a:cubicBezTo>
                  <a:pt x="842818" y="1557276"/>
                  <a:pt x="789192" y="1581851"/>
                  <a:pt x="726137" y="1581089"/>
                </a:cubicBezTo>
                <a:cubicBezTo>
                  <a:pt x="678055" y="1581203"/>
                  <a:pt x="630754" y="1568935"/>
                  <a:pt x="588787" y="1545465"/>
                </a:cubicBezTo>
                <a:cubicBezTo>
                  <a:pt x="444673" y="1463074"/>
                  <a:pt x="302370" y="1377540"/>
                  <a:pt x="157494" y="1296577"/>
                </a:cubicBezTo>
                <a:cubicBezTo>
                  <a:pt x="52719" y="1237903"/>
                  <a:pt x="4142" y="1147320"/>
                  <a:pt x="1856" y="1031972"/>
                </a:cubicBezTo>
                <a:cubicBezTo>
                  <a:pt x="-1192" y="873219"/>
                  <a:pt x="-1192" y="714476"/>
                  <a:pt x="1856" y="555722"/>
                </a:cubicBezTo>
                <a:cubicBezTo>
                  <a:pt x="4142" y="437041"/>
                  <a:pt x="52910" y="344553"/>
                  <a:pt x="162161" y="284641"/>
                </a:cubicBezTo>
                <a:cubicBezTo>
                  <a:pt x="307608" y="204822"/>
                  <a:pt x="449150" y="117954"/>
                  <a:pt x="593549" y="36038"/>
                </a:cubicBezTo>
                <a:cubicBezTo>
                  <a:pt x="674607" y="-10062"/>
                  <a:pt x="760046" y="-12444"/>
                  <a:pt x="842818" y="30228"/>
                </a:cubicBezTo>
                <a:cubicBezTo>
                  <a:pt x="921114" y="70709"/>
                  <a:pt x="996647" y="116525"/>
                  <a:pt x="1073228" y="160340"/>
                </a:cubicBezTo>
                <a:cubicBezTo>
                  <a:pt x="1143332" y="200344"/>
                  <a:pt x="1213246" y="240826"/>
                  <a:pt x="1282778" y="281117"/>
                </a:cubicBezTo>
                <a:cubicBezTo>
                  <a:pt x="1389649" y="342839"/>
                  <a:pt x="1450323" y="431040"/>
                  <a:pt x="1446703" y="558770"/>
                </a:cubicBezTo>
                <a:cubicBezTo>
                  <a:pt x="1444703" y="638114"/>
                  <a:pt x="1446513" y="717743"/>
                  <a:pt x="1446513" y="797086"/>
                </a:cubicBezTo>
                <a:close/>
              </a:path>
            </a:pathLst>
          </a:custGeom>
          <a:gradFill flip="none" rotWithShape="1">
            <a:gsLst>
              <a:gs pos="0">
                <a:srgbClr val="008795"/>
              </a:gs>
              <a:gs pos="100000">
                <a:srgbClr val="00C7D6"/>
              </a:gs>
            </a:gsLst>
            <a:lin ang="18900000" scaled="1"/>
            <a:tileRect/>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p>
        </p:txBody>
      </p:sp>
      <p:sp>
        <p:nvSpPr>
          <p:cNvPr id="9" name="Grafik 2">
            <a:extLst>
              <a:ext uri="{FF2B5EF4-FFF2-40B4-BE49-F238E27FC236}">
                <a16:creationId xmlns:a16="http://schemas.microsoft.com/office/drawing/2014/main" id="{3FFE415E-3BD0-4642-B9DC-67BDCE693DA3}"/>
              </a:ext>
            </a:extLst>
          </p:cNvPr>
          <p:cNvSpPr/>
          <p:nvPr userDrawn="1"/>
        </p:nvSpPr>
        <p:spPr bwMode="gray">
          <a:xfrm rot="5400000">
            <a:off x="10780214" y="4834721"/>
            <a:ext cx="610356" cy="1542495"/>
          </a:xfrm>
          <a:custGeom>
            <a:avLst/>
            <a:gdLst>
              <a:gd name="connsiteX0" fmla="*/ 374428 w 610356"/>
              <a:gd name="connsiteY0" fmla="*/ 1292176 h 1542495"/>
              <a:gd name="connsiteX1" fmla="*/ 411195 w 610356"/>
              <a:gd name="connsiteY1" fmla="*/ 1260838 h 1542495"/>
              <a:gd name="connsiteX2" fmla="*/ 496920 w 610356"/>
              <a:gd name="connsiteY2" fmla="*/ 1175113 h 1542495"/>
              <a:gd name="connsiteX3" fmla="*/ 560166 w 610356"/>
              <a:gd name="connsiteY3" fmla="*/ 1173875 h 1542495"/>
              <a:gd name="connsiteX4" fmla="*/ 562738 w 610356"/>
              <a:gd name="connsiteY4" fmla="*/ 1297700 h 1542495"/>
              <a:gd name="connsiteX5" fmla="*/ 343663 w 610356"/>
              <a:gd name="connsiteY5" fmla="*/ 1516775 h 1542495"/>
              <a:gd name="connsiteX6" fmla="*/ 272225 w 610356"/>
              <a:gd name="connsiteY6" fmla="*/ 1515823 h 1542495"/>
              <a:gd name="connsiteX7" fmla="*/ 24575 w 610356"/>
              <a:gd name="connsiteY7" fmla="*/ 1268173 h 1542495"/>
              <a:gd name="connsiteX8" fmla="*/ 23146 w 610356"/>
              <a:gd name="connsiteY8" fmla="*/ 1199783 h 1542495"/>
              <a:gd name="connsiteX9" fmla="*/ 137446 w 610356"/>
              <a:gd name="connsiteY9" fmla="*/ 1199783 h 1542495"/>
              <a:gd name="connsiteX10" fmla="*/ 234030 w 610356"/>
              <a:gd name="connsiteY10" fmla="*/ 1295890 h 1542495"/>
              <a:gd name="connsiteX11" fmla="*/ 244317 w 610356"/>
              <a:gd name="connsiteY11" fmla="*/ 1246837 h 1542495"/>
              <a:gd name="connsiteX12" fmla="*/ 244983 w 610356"/>
              <a:gd name="connsiteY12" fmla="*/ 577991 h 1542495"/>
              <a:gd name="connsiteX13" fmla="*/ 244983 w 610356"/>
              <a:gd name="connsiteY13" fmla="*/ 75167 h 1542495"/>
              <a:gd name="connsiteX14" fmla="*/ 245650 w 610356"/>
              <a:gd name="connsiteY14" fmla="*/ 34781 h 1542495"/>
              <a:gd name="connsiteX15" fmla="*/ 272387 w 610356"/>
              <a:gd name="connsiteY15" fmla="*/ 3052 h 1542495"/>
              <a:gd name="connsiteX16" fmla="*/ 275940 w 610356"/>
              <a:gd name="connsiteY16" fmla="*/ 2967 h 1542495"/>
              <a:gd name="connsiteX17" fmla="*/ 280417 w 610356"/>
              <a:gd name="connsiteY17" fmla="*/ 2967 h 1542495"/>
              <a:gd name="connsiteX18" fmla="*/ 372523 w 610356"/>
              <a:gd name="connsiteY18" fmla="*/ 86311 h 1542495"/>
              <a:gd name="connsiteX19" fmla="*/ 371761 w 610356"/>
              <a:gd name="connsiteY19" fmla="*/ 1231025 h 1542495"/>
              <a:gd name="connsiteX20" fmla="*/ 374428 w 610356"/>
              <a:gd name="connsiteY20" fmla="*/ 1292176 h 1542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0356" h="1542495">
                <a:moveTo>
                  <a:pt x="374428" y="1292176"/>
                </a:moveTo>
                <a:cubicBezTo>
                  <a:pt x="391859" y="1277412"/>
                  <a:pt x="402146" y="1269697"/>
                  <a:pt x="411195" y="1260838"/>
                </a:cubicBezTo>
                <a:cubicBezTo>
                  <a:pt x="439770" y="1232263"/>
                  <a:pt x="468345" y="1203688"/>
                  <a:pt x="496920" y="1175113"/>
                </a:cubicBezTo>
                <a:cubicBezTo>
                  <a:pt x="525495" y="1146538"/>
                  <a:pt x="531972" y="1147967"/>
                  <a:pt x="560166" y="1173875"/>
                </a:cubicBezTo>
                <a:cubicBezTo>
                  <a:pt x="626079" y="1234169"/>
                  <a:pt x="626079" y="1234169"/>
                  <a:pt x="562738" y="1297700"/>
                </a:cubicBezTo>
                <a:cubicBezTo>
                  <a:pt x="489709" y="1370728"/>
                  <a:pt x="416691" y="1443747"/>
                  <a:pt x="343663" y="1516775"/>
                </a:cubicBezTo>
                <a:cubicBezTo>
                  <a:pt x="309372" y="1550970"/>
                  <a:pt x="307373" y="1550875"/>
                  <a:pt x="272225" y="1515823"/>
                </a:cubicBezTo>
                <a:cubicBezTo>
                  <a:pt x="189672" y="1433270"/>
                  <a:pt x="107128" y="1350726"/>
                  <a:pt x="24575" y="1268173"/>
                </a:cubicBezTo>
                <a:cubicBezTo>
                  <a:pt x="-8667" y="1234835"/>
                  <a:pt x="-8381" y="1232454"/>
                  <a:pt x="23146" y="1199783"/>
                </a:cubicBezTo>
                <a:cubicBezTo>
                  <a:pt x="79058" y="1141776"/>
                  <a:pt x="79058" y="1141776"/>
                  <a:pt x="137446" y="1199783"/>
                </a:cubicBezTo>
                <a:cubicBezTo>
                  <a:pt x="168974" y="1231311"/>
                  <a:pt x="200692" y="1262744"/>
                  <a:pt x="234030" y="1295890"/>
                </a:cubicBezTo>
                <a:cubicBezTo>
                  <a:pt x="249270" y="1278936"/>
                  <a:pt x="244222" y="1261981"/>
                  <a:pt x="244317" y="1246837"/>
                </a:cubicBezTo>
                <a:cubicBezTo>
                  <a:pt x="244764" y="1023885"/>
                  <a:pt x="244983" y="800943"/>
                  <a:pt x="244983" y="577991"/>
                </a:cubicBezTo>
                <a:cubicBezTo>
                  <a:pt x="244983" y="410351"/>
                  <a:pt x="244983" y="242740"/>
                  <a:pt x="244983" y="75167"/>
                </a:cubicBezTo>
                <a:cubicBezTo>
                  <a:pt x="244983" y="61736"/>
                  <a:pt x="244983" y="48211"/>
                  <a:pt x="245650" y="34781"/>
                </a:cubicBezTo>
                <a:cubicBezTo>
                  <a:pt x="244269" y="18636"/>
                  <a:pt x="256242" y="4434"/>
                  <a:pt x="272387" y="3052"/>
                </a:cubicBezTo>
                <a:cubicBezTo>
                  <a:pt x="273568" y="2958"/>
                  <a:pt x="274759" y="2919"/>
                  <a:pt x="275940" y="2967"/>
                </a:cubicBezTo>
                <a:lnTo>
                  <a:pt x="280417" y="2967"/>
                </a:lnTo>
                <a:cubicBezTo>
                  <a:pt x="364427" y="-6558"/>
                  <a:pt x="372523" y="872"/>
                  <a:pt x="372523" y="86311"/>
                </a:cubicBezTo>
                <a:cubicBezTo>
                  <a:pt x="372523" y="467882"/>
                  <a:pt x="372266" y="849454"/>
                  <a:pt x="371761" y="1231025"/>
                </a:cubicBezTo>
                <a:cubicBezTo>
                  <a:pt x="372523" y="1248265"/>
                  <a:pt x="373571" y="1265506"/>
                  <a:pt x="374428" y="1292176"/>
                </a:cubicBezTo>
                <a:close/>
              </a:path>
            </a:pathLst>
          </a:custGeom>
          <a:solidFill>
            <a:srgbClr val="000000"/>
          </a:solidFill>
          <a:ln w="9525"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AA103474-4EBB-4B30-B1D2-6F6F5D799AB5}"/>
              </a:ext>
            </a:extLst>
          </p:cNvPr>
          <p:cNvSpPr>
            <a:spLocks noGrp="1"/>
          </p:cNvSpPr>
          <p:nvPr>
            <p:ph type="title"/>
          </p:nvPr>
        </p:nvSpPr>
        <p:spPr bwMode="gray">
          <a:xfrm>
            <a:off x="1992424" y="1628800"/>
            <a:ext cx="7920000" cy="2664000"/>
          </a:xfrm>
        </p:spPr>
        <p:txBody>
          <a:bodyPr/>
          <a:lstStyle>
            <a:lvl1pPr>
              <a:defRPr sz="3600"/>
            </a:lvl1pPr>
          </a:lstStyle>
          <a:p>
            <a:r>
              <a:rPr lang="de-DE"/>
              <a:t>Mastertitelformat bearbeiten</a:t>
            </a:r>
          </a:p>
        </p:txBody>
      </p:sp>
      <p:pic>
        <p:nvPicPr>
          <p:cNvPr id="12" name="Grafik 11">
            <a:extLst>
              <a:ext uri="{FF2B5EF4-FFF2-40B4-BE49-F238E27FC236}">
                <a16:creationId xmlns:a16="http://schemas.microsoft.com/office/drawing/2014/main" id="{5AF52DD1-8132-447B-AAE8-8E4E02D3704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8875" t="54059" r="38874" b="31059"/>
          <a:stretch/>
        </p:blipFill>
        <p:spPr bwMode="gray">
          <a:xfrm>
            <a:off x="761711" y="1133886"/>
            <a:ext cx="864096" cy="792087"/>
          </a:xfrm>
          <a:prstGeom prst="rect">
            <a:avLst/>
          </a:prstGeom>
        </p:spPr>
      </p:pic>
      <p:sp>
        <p:nvSpPr>
          <p:cNvPr id="14" name="Textplatzhalter 13">
            <a:extLst>
              <a:ext uri="{FF2B5EF4-FFF2-40B4-BE49-F238E27FC236}">
                <a16:creationId xmlns:a16="http://schemas.microsoft.com/office/drawing/2014/main" id="{1680C73D-201E-447A-9C40-6E6CD5A672ED}"/>
              </a:ext>
            </a:extLst>
          </p:cNvPr>
          <p:cNvSpPr>
            <a:spLocks noGrp="1"/>
          </p:cNvSpPr>
          <p:nvPr>
            <p:ph type="body" sz="quarter" idx="13" hasCustomPrompt="1"/>
          </p:nvPr>
        </p:nvSpPr>
        <p:spPr bwMode="gray">
          <a:xfrm>
            <a:off x="5700456" y="5481288"/>
            <a:ext cx="4500000" cy="540000"/>
          </a:xfrm>
        </p:spPr>
        <p:txBody>
          <a:bodyPr anchor="t"/>
          <a:lstStyle>
            <a:lvl1pPr algn="r">
              <a:spcAft>
                <a:spcPts val="200"/>
              </a:spcAft>
              <a:buFontTx/>
              <a:buNone/>
              <a:defRPr/>
            </a:lvl1pPr>
            <a:lvl2pPr algn="r">
              <a:spcAft>
                <a:spcPts val="200"/>
              </a:spcAft>
              <a:buFontTx/>
              <a:buNone/>
              <a:defRPr/>
            </a:lvl2pPr>
            <a:lvl3pPr marL="0" indent="0" algn="r">
              <a:spcAft>
                <a:spcPts val="0"/>
              </a:spcAft>
              <a:buFontTx/>
              <a:buNone/>
              <a:defRPr/>
            </a:lvl3pPr>
            <a:lvl4pPr marL="216000" indent="0" algn="r">
              <a:spcAft>
                <a:spcPts val="0"/>
              </a:spcAft>
              <a:buFontTx/>
              <a:buNone/>
              <a:defRPr/>
            </a:lvl4pPr>
            <a:lvl5pPr marL="432000" indent="0" algn="r">
              <a:spcAft>
                <a:spcPts val="0"/>
              </a:spcAft>
              <a:buFontTx/>
              <a:buNone/>
              <a:defRPr/>
            </a:lvl5pPr>
            <a:lvl6pPr marL="648000" indent="0" algn="r">
              <a:spcAft>
                <a:spcPts val="0"/>
              </a:spcAft>
              <a:buFontTx/>
              <a:buNone/>
              <a:defRPr/>
            </a:lvl6pPr>
            <a:lvl7pPr marL="864000" indent="0" algn="r">
              <a:spcAft>
                <a:spcPts val="0"/>
              </a:spcAft>
              <a:buFontTx/>
              <a:buNone/>
              <a:defRPr/>
            </a:lvl7pPr>
            <a:lvl8pPr marL="1080000" indent="0" algn="r">
              <a:spcAft>
                <a:spcPts val="0"/>
              </a:spcAft>
              <a:buFontTx/>
              <a:buNone/>
              <a:defRPr/>
            </a:lvl8pPr>
            <a:lvl9pPr marL="1296000" indent="0" algn="r">
              <a:spcAft>
                <a:spcPts val="0"/>
              </a:spcAft>
              <a:buFontTx/>
              <a:buNone/>
              <a:defRPr/>
            </a:lvl9pPr>
          </a:lstStyle>
          <a:p>
            <a:pPr lvl="0"/>
            <a:r>
              <a:rPr lang="de-DE"/>
              <a:t>Vorname Nachname</a:t>
            </a:r>
          </a:p>
          <a:p>
            <a:pPr lvl="1"/>
            <a:r>
              <a:rPr lang="de-DE"/>
              <a:t>Firma</a:t>
            </a:r>
          </a:p>
        </p:txBody>
      </p:sp>
      <p:sp>
        <p:nvSpPr>
          <p:cNvPr id="10" name="Bildplatzhalter 9">
            <a:extLst>
              <a:ext uri="{FF2B5EF4-FFF2-40B4-BE49-F238E27FC236}">
                <a16:creationId xmlns:a16="http://schemas.microsoft.com/office/drawing/2014/main" id="{A52CDB99-F325-4651-B270-3522A184E11D}"/>
              </a:ext>
            </a:extLst>
          </p:cNvPr>
          <p:cNvSpPr>
            <a:spLocks noGrp="1"/>
          </p:cNvSpPr>
          <p:nvPr>
            <p:ph type="pic" sz="quarter" idx="14" hasCustomPrompt="1"/>
          </p:nvPr>
        </p:nvSpPr>
        <p:spPr bwMode="gray">
          <a:xfrm>
            <a:off x="10314144" y="3212976"/>
            <a:ext cx="1542496" cy="1944000"/>
          </a:xfrm>
          <a:prstGeom prst="roundRect">
            <a:avLst>
              <a:gd name="adj" fmla="val 4900"/>
            </a:avLst>
          </a:prstGeom>
          <a:solidFill>
            <a:schemeClr val="bg1"/>
          </a:solidFill>
        </p:spPr>
        <p:txBody>
          <a:bodyPr bIns="864000" anchor="ctr"/>
          <a:lstStyle>
            <a:lvl1pPr marL="0" indent="0" algn="ctr">
              <a:spcAft>
                <a:spcPts val="0"/>
              </a:spcAft>
              <a:buFont typeface="Arial" panose="020B0604020202020204" pitchFamily="34" charset="0"/>
              <a:buNone/>
              <a:defRPr sz="1200" b="0"/>
            </a:lvl1pPr>
            <a:lvl2pPr marL="0" indent="0" algn="ctr">
              <a:spcAft>
                <a:spcPts val="0"/>
              </a:spcAft>
              <a:buFont typeface="Arial" panose="020B0604020202020204" pitchFamily="34" charset="0"/>
              <a:buNone/>
              <a:defRPr sz="1200" b="0"/>
            </a:lvl2pPr>
            <a:lvl3pPr marL="0" indent="0" algn="ctr">
              <a:spcAft>
                <a:spcPts val="0"/>
              </a:spcAft>
              <a:buNone/>
              <a:defRPr sz="1200" b="0"/>
            </a:lvl3pPr>
            <a:lvl4pPr marL="0" indent="0" algn="ctr">
              <a:spcAft>
                <a:spcPts val="0"/>
              </a:spcAft>
              <a:buNone/>
              <a:defRPr sz="1200" b="0"/>
            </a:lvl4pPr>
            <a:lvl5pPr marL="0" indent="0" algn="ctr">
              <a:spcAft>
                <a:spcPts val="0"/>
              </a:spcAft>
              <a:buNone/>
              <a:defRPr sz="1200" b="0"/>
            </a:lvl5pPr>
            <a:lvl6pPr marL="0" indent="0" algn="ctr">
              <a:spcAft>
                <a:spcPts val="0"/>
              </a:spcAft>
              <a:buNone/>
              <a:defRPr sz="1200" b="0"/>
            </a:lvl6pPr>
            <a:lvl7pPr marL="0" indent="0" algn="ctr">
              <a:spcAft>
                <a:spcPts val="0"/>
              </a:spcAft>
              <a:buNone/>
              <a:defRPr sz="1200" b="0"/>
            </a:lvl7pPr>
            <a:lvl8pPr marL="0" indent="0" algn="ctr">
              <a:spcAft>
                <a:spcPts val="0"/>
              </a:spcAft>
              <a:buNone/>
              <a:defRPr sz="1200" b="0"/>
            </a:lvl8pPr>
            <a:lvl9pPr marL="0" indent="0" algn="ctr">
              <a:spcAft>
                <a:spcPts val="0"/>
              </a:spcAft>
              <a:buNone/>
              <a:defRPr sz="1200" b="0"/>
            </a:lvl9pPr>
          </a:lstStyle>
          <a:p>
            <a:pPr lvl="0"/>
            <a:r>
              <a:rPr lang="de-DE"/>
              <a:t>Bild durch Klick auf </a:t>
            </a:r>
            <a:br>
              <a:rPr lang="de-DE"/>
            </a:br>
            <a:r>
              <a:rPr lang="de-DE"/>
              <a:t>das Icon hinzufügen und </a:t>
            </a:r>
            <a:br>
              <a:rPr lang="de-DE"/>
            </a:br>
            <a:r>
              <a:rPr lang="de-DE"/>
              <a:t>ggf. zuschneiden</a:t>
            </a:r>
          </a:p>
        </p:txBody>
      </p:sp>
    </p:spTree>
    <p:extLst>
      <p:ext uri="{BB962C8B-B14F-4D97-AF65-F5344CB8AC3E}">
        <p14:creationId xmlns:p14="http://schemas.microsoft.com/office/powerpoint/2010/main" val="186342154"/>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mplate Politik">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E0360988-84E2-4F7C-B031-45DFCDF06AFD}"/>
              </a:ext>
            </a:extLst>
          </p:cNvPr>
          <p:cNvSpPr/>
          <p:nvPr userDrawn="1"/>
        </p:nvSpPr>
        <p:spPr bwMode="gray">
          <a:xfrm>
            <a:off x="0" y="404664"/>
            <a:ext cx="432000" cy="25200"/>
          </a:xfrm>
          <a:prstGeom prst="rect">
            <a:avLst/>
          </a:prstGeom>
          <a:solidFill>
            <a:srgbClr val="00879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92000" rtlCol="0" anchor="ctr"/>
          <a:lstStyle/>
          <a:p>
            <a:r>
              <a:rPr lang="de-DE" sz="1000">
                <a:solidFill>
                  <a:schemeClr val="tx1"/>
                </a:solidFill>
                <a:latin typeface="Segoe UI" panose="020B0502040204020203" pitchFamily="34" charset="0"/>
                <a:cs typeface="Segoe UI" panose="020B0502040204020203" pitchFamily="34" charset="0"/>
              </a:rPr>
              <a:t>Politik </a:t>
            </a:r>
          </a:p>
        </p:txBody>
      </p:sp>
      <p:sp>
        <p:nvSpPr>
          <p:cNvPr id="2" name="Titel 1">
            <a:extLst>
              <a:ext uri="{FF2B5EF4-FFF2-40B4-BE49-F238E27FC236}">
                <a16:creationId xmlns:a16="http://schemas.microsoft.com/office/drawing/2014/main" id="{AA103474-4EBB-4B30-B1D2-6F6F5D799AB5}"/>
              </a:ext>
            </a:extLst>
          </p:cNvPr>
          <p:cNvSpPr>
            <a:spLocks noGrp="1"/>
          </p:cNvSpPr>
          <p:nvPr>
            <p:ph type="title"/>
          </p:nvPr>
        </p:nvSpPr>
        <p:spPr bwMode="gray"/>
        <p:txBody>
          <a:bodyPr/>
          <a:lstStyle/>
          <a:p>
            <a:r>
              <a:rPr lang="de-DE"/>
              <a:t>Mastertitelformat bearbeiten</a:t>
            </a:r>
          </a:p>
        </p:txBody>
      </p:sp>
      <p:sp>
        <p:nvSpPr>
          <p:cNvPr id="4" name="Fußzeilenplatzhalter 3">
            <a:extLst>
              <a:ext uri="{FF2B5EF4-FFF2-40B4-BE49-F238E27FC236}">
                <a16:creationId xmlns:a16="http://schemas.microsoft.com/office/drawing/2014/main" id="{976D4EE2-D83E-423F-862C-4526945969BB}"/>
              </a:ext>
            </a:extLst>
          </p:cNvPr>
          <p:cNvSpPr>
            <a:spLocks noGrp="1"/>
          </p:cNvSpPr>
          <p:nvPr>
            <p:ph type="ftr" sz="quarter" idx="11"/>
          </p:nvPr>
        </p:nvSpPr>
        <p:spPr bwMode="gray"/>
        <p:txBody>
          <a:bodyPr/>
          <a:lstStyle/>
          <a:p>
            <a:r>
              <a:rPr lang="de-DE"/>
              <a:t>DENEFF PowerPoint Master</a:t>
            </a:r>
          </a:p>
        </p:txBody>
      </p:sp>
      <p:sp>
        <p:nvSpPr>
          <p:cNvPr id="5" name="Foliennummernplatzhalter 4">
            <a:extLst>
              <a:ext uri="{FF2B5EF4-FFF2-40B4-BE49-F238E27FC236}">
                <a16:creationId xmlns:a16="http://schemas.microsoft.com/office/drawing/2014/main" id="{45A1933F-FFB9-489F-8D62-977CE088E776}"/>
              </a:ext>
            </a:extLst>
          </p:cNvPr>
          <p:cNvSpPr>
            <a:spLocks noGrp="1"/>
          </p:cNvSpPr>
          <p:nvPr>
            <p:ph type="sldNum" sz="quarter" idx="12"/>
          </p:nvPr>
        </p:nvSpPr>
        <p:spPr bwMode="gray"/>
        <p:txBody>
          <a:bodyPr/>
          <a:lstStyle/>
          <a:p>
            <a:fld id="{596A2A10-B827-4CCE-9EB2-A13B5A721707}" type="slidenum">
              <a:rPr lang="de-DE" smtClean="0"/>
              <a:t>‹Nr.›</a:t>
            </a:fld>
            <a:endParaRPr lang="de-DE"/>
          </a:p>
        </p:txBody>
      </p:sp>
      <p:sp>
        <p:nvSpPr>
          <p:cNvPr id="8" name="Textplatzhalter 7">
            <a:extLst>
              <a:ext uri="{FF2B5EF4-FFF2-40B4-BE49-F238E27FC236}">
                <a16:creationId xmlns:a16="http://schemas.microsoft.com/office/drawing/2014/main" id="{00E921AC-92AC-4FB7-A20D-05AB4BA21E93}"/>
              </a:ext>
            </a:extLst>
          </p:cNvPr>
          <p:cNvSpPr>
            <a:spLocks noGrp="1"/>
          </p:cNvSpPr>
          <p:nvPr>
            <p:ph type="body" sz="quarter" idx="13"/>
          </p:nvPr>
        </p:nvSpPr>
        <p:spPr bwMode="gray">
          <a:xfrm>
            <a:off x="4512216" y="1628775"/>
            <a:ext cx="3528000" cy="1368000"/>
          </a:xfrm>
        </p:spPr>
        <p:txBody>
          <a:bodyPr/>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Textplatzhalter 9">
            <a:extLst>
              <a:ext uri="{FF2B5EF4-FFF2-40B4-BE49-F238E27FC236}">
                <a16:creationId xmlns:a16="http://schemas.microsoft.com/office/drawing/2014/main" id="{22173212-6FFA-4853-AF8C-4782F2962079}"/>
              </a:ext>
            </a:extLst>
          </p:cNvPr>
          <p:cNvSpPr>
            <a:spLocks noGrp="1"/>
          </p:cNvSpPr>
          <p:nvPr>
            <p:ph type="body" sz="quarter" idx="14"/>
          </p:nvPr>
        </p:nvSpPr>
        <p:spPr bwMode="gray">
          <a:xfrm>
            <a:off x="8329038" y="1628775"/>
            <a:ext cx="3528000" cy="1368000"/>
          </a:xfrm>
        </p:spPr>
        <p:txBody>
          <a:bodyPr/>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3" name="Textplatzhalter 7">
            <a:extLst>
              <a:ext uri="{FF2B5EF4-FFF2-40B4-BE49-F238E27FC236}">
                <a16:creationId xmlns:a16="http://schemas.microsoft.com/office/drawing/2014/main" id="{225498F7-D488-4249-BA7D-354F1A54E275}"/>
              </a:ext>
            </a:extLst>
          </p:cNvPr>
          <p:cNvSpPr>
            <a:spLocks noGrp="1"/>
          </p:cNvSpPr>
          <p:nvPr>
            <p:ph type="body" sz="quarter" idx="15"/>
          </p:nvPr>
        </p:nvSpPr>
        <p:spPr bwMode="gray">
          <a:xfrm>
            <a:off x="1271464" y="1628775"/>
            <a:ext cx="2952000" cy="1368000"/>
          </a:xfrm>
        </p:spPr>
        <p:txBody>
          <a:bodyPr/>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marL="648000" indent="0">
              <a:spcAft>
                <a:spcPts val="300"/>
              </a:spcAft>
              <a:buNone/>
              <a:defRPr sz="1400"/>
            </a:lvl6pPr>
            <a:lvl7pPr>
              <a:spcAft>
                <a:spcPts val="300"/>
              </a:spcAft>
              <a:defRPr sz="1400"/>
            </a:lvl7pPr>
            <a:lvl8pPr>
              <a:spcAft>
                <a:spcPts val="300"/>
              </a:spcAft>
              <a:defRPr sz="1400"/>
            </a:lvl8pPr>
            <a:lvl9pPr>
              <a:spcAft>
                <a:spcPts val="300"/>
              </a:spcAft>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Textplatzhalter 14">
            <a:extLst>
              <a:ext uri="{FF2B5EF4-FFF2-40B4-BE49-F238E27FC236}">
                <a16:creationId xmlns:a16="http://schemas.microsoft.com/office/drawing/2014/main" id="{ECFF0E3A-4933-4ECD-9BE2-20FA4AC2EA93}"/>
              </a:ext>
            </a:extLst>
          </p:cNvPr>
          <p:cNvSpPr>
            <a:spLocks noGrp="1"/>
          </p:cNvSpPr>
          <p:nvPr>
            <p:ph type="body" sz="quarter" idx="16" hasCustomPrompt="1"/>
          </p:nvPr>
        </p:nvSpPr>
        <p:spPr bwMode="gray">
          <a:xfrm>
            <a:off x="551384" y="1628856"/>
            <a:ext cx="504000" cy="504000"/>
          </a:xfrm>
          <a:prstGeom prst="ellipse">
            <a:avLst/>
          </a:prstGeom>
          <a:solidFill>
            <a:schemeClr val="tx1"/>
          </a:solidFill>
        </p:spPr>
        <p:txBody>
          <a:bodyPr anchor="ctr"/>
          <a:lstStyle>
            <a:lvl1pPr marL="0" algn="ctr">
              <a:spcAft>
                <a:spcPts val="0"/>
              </a:spcAft>
              <a:buFontTx/>
              <a:buNone/>
              <a:defRPr sz="800" b="0">
                <a:solidFill>
                  <a:schemeClr val="bg1"/>
                </a:solidFill>
              </a:defRPr>
            </a:lvl1pPr>
            <a:lvl2pPr marL="0" algn="ctr">
              <a:spcAft>
                <a:spcPts val="0"/>
              </a:spcAft>
              <a:buFontTx/>
              <a:buNone/>
              <a:defRPr sz="800" b="0">
                <a:solidFill>
                  <a:schemeClr val="bg1"/>
                </a:solidFill>
              </a:defRPr>
            </a:lvl2pPr>
            <a:lvl3pPr marL="0" indent="0" algn="ctr">
              <a:spcAft>
                <a:spcPts val="0"/>
              </a:spcAft>
              <a:buFontTx/>
              <a:buNone/>
              <a:defRPr sz="800" b="0">
                <a:solidFill>
                  <a:schemeClr val="bg1"/>
                </a:solidFill>
              </a:defRPr>
            </a:lvl3pPr>
            <a:lvl4pPr marL="0" indent="0" algn="ctr">
              <a:spcAft>
                <a:spcPts val="0"/>
              </a:spcAft>
              <a:buFontTx/>
              <a:buNone/>
              <a:defRPr sz="800" b="0">
                <a:solidFill>
                  <a:schemeClr val="bg1"/>
                </a:solidFill>
              </a:defRPr>
            </a:lvl4pPr>
            <a:lvl5pPr marL="0" indent="0" algn="ctr">
              <a:spcAft>
                <a:spcPts val="0"/>
              </a:spcAft>
              <a:buFontTx/>
              <a:buNone/>
              <a:defRPr sz="800" b="0">
                <a:solidFill>
                  <a:schemeClr val="bg1"/>
                </a:solidFill>
              </a:defRPr>
            </a:lvl5pPr>
            <a:lvl6pPr marL="0" indent="0" algn="ctr">
              <a:spcAft>
                <a:spcPts val="0"/>
              </a:spcAft>
              <a:buFontTx/>
              <a:buNone/>
              <a:defRPr sz="800" b="0">
                <a:solidFill>
                  <a:schemeClr val="bg1"/>
                </a:solidFill>
              </a:defRPr>
            </a:lvl6pPr>
            <a:lvl7pPr marL="0" indent="0" algn="ctr">
              <a:spcAft>
                <a:spcPts val="0"/>
              </a:spcAft>
              <a:buFontTx/>
              <a:buNone/>
              <a:defRPr sz="800" b="0">
                <a:solidFill>
                  <a:schemeClr val="bg1"/>
                </a:solidFill>
              </a:defRPr>
            </a:lvl7pPr>
            <a:lvl8pPr marL="0" indent="0" algn="ctr">
              <a:spcAft>
                <a:spcPts val="0"/>
              </a:spcAft>
              <a:buFontTx/>
              <a:buNone/>
              <a:defRPr sz="800" b="0">
                <a:solidFill>
                  <a:schemeClr val="bg1"/>
                </a:solidFill>
              </a:defRPr>
            </a:lvl8pPr>
            <a:lvl9pPr marL="0" indent="0" algn="ctr">
              <a:spcAft>
                <a:spcPts val="0"/>
              </a:spcAft>
              <a:buFontTx/>
              <a:buNone/>
              <a:defRPr sz="800" b="0">
                <a:solidFill>
                  <a:schemeClr val="bg1"/>
                </a:solidFill>
              </a:defRPr>
            </a:lvl9pPr>
          </a:lstStyle>
          <a:p>
            <a:pPr lvl="0"/>
            <a:r>
              <a:rPr lang="de-DE"/>
              <a:t>Icon</a:t>
            </a:r>
          </a:p>
        </p:txBody>
      </p:sp>
      <p:sp>
        <p:nvSpPr>
          <p:cNvPr id="16" name="Textplatzhalter 7">
            <a:extLst>
              <a:ext uri="{FF2B5EF4-FFF2-40B4-BE49-F238E27FC236}">
                <a16:creationId xmlns:a16="http://schemas.microsoft.com/office/drawing/2014/main" id="{691B6F3C-0BF3-4FFD-8DEE-5189EF38FC64}"/>
              </a:ext>
            </a:extLst>
          </p:cNvPr>
          <p:cNvSpPr>
            <a:spLocks noGrp="1"/>
          </p:cNvSpPr>
          <p:nvPr>
            <p:ph type="body" sz="quarter" idx="17"/>
          </p:nvPr>
        </p:nvSpPr>
        <p:spPr bwMode="gray">
          <a:xfrm>
            <a:off x="4512216" y="3249043"/>
            <a:ext cx="3528000" cy="1368000"/>
          </a:xfrm>
        </p:spPr>
        <p:txBody>
          <a:bodyPr/>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7" name="Textplatzhalter 9">
            <a:extLst>
              <a:ext uri="{FF2B5EF4-FFF2-40B4-BE49-F238E27FC236}">
                <a16:creationId xmlns:a16="http://schemas.microsoft.com/office/drawing/2014/main" id="{CC24B697-0FF3-477E-89AD-97AB06027075}"/>
              </a:ext>
            </a:extLst>
          </p:cNvPr>
          <p:cNvSpPr>
            <a:spLocks noGrp="1"/>
          </p:cNvSpPr>
          <p:nvPr>
            <p:ph type="body" sz="quarter" idx="18"/>
          </p:nvPr>
        </p:nvSpPr>
        <p:spPr bwMode="gray">
          <a:xfrm>
            <a:off x="8329038" y="3249043"/>
            <a:ext cx="3528000" cy="1368000"/>
          </a:xfrm>
        </p:spPr>
        <p:txBody>
          <a:bodyPr/>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8" name="Textplatzhalter 7">
            <a:extLst>
              <a:ext uri="{FF2B5EF4-FFF2-40B4-BE49-F238E27FC236}">
                <a16:creationId xmlns:a16="http://schemas.microsoft.com/office/drawing/2014/main" id="{C949FEB1-BBF0-4CF9-B92F-576C2CB6AC78}"/>
              </a:ext>
            </a:extLst>
          </p:cNvPr>
          <p:cNvSpPr>
            <a:spLocks noGrp="1"/>
          </p:cNvSpPr>
          <p:nvPr>
            <p:ph type="body" sz="quarter" idx="19"/>
          </p:nvPr>
        </p:nvSpPr>
        <p:spPr bwMode="gray">
          <a:xfrm>
            <a:off x="1271464" y="3249043"/>
            <a:ext cx="2952000" cy="1368000"/>
          </a:xfrm>
        </p:spPr>
        <p:txBody>
          <a:bodyPr/>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Textplatzhalter 7">
            <a:extLst>
              <a:ext uri="{FF2B5EF4-FFF2-40B4-BE49-F238E27FC236}">
                <a16:creationId xmlns:a16="http://schemas.microsoft.com/office/drawing/2014/main" id="{5D559EDF-FB3E-471F-9CD8-A1AEF5C989D3}"/>
              </a:ext>
            </a:extLst>
          </p:cNvPr>
          <p:cNvSpPr>
            <a:spLocks noGrp="1"/>
          </p:cNvSpPr>
          <p:nvPr>
            <p:ph type="body" sz="quarter" idx="20"/>
          </p:nvPr>
        </p:nvSpPr>
        <p:spPr bwMode="gray">
          <a:xfrm>
            <a:off x="4512216" y="4869312"/>
            <a:ext cx="3528000" cy="1368000"/>
          </a:xfrm>
        </p:spPr>
        <p:txBody>
          <a:bodyPr/>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0" name="Textplatzhalter 9">
            <a:extLst>
              <a:ext uri="{FF2B5EF4-FFF2-40B4-BE49-F238E27FC236}">
                <a16:creationId xmlns:a16="http://schemas.microsoft.com/office/drawing/2014/main" id="{82D0A9EF-A512-4AA1-9D61-7740214AE1AF}"/>
              </a:ext>
            </a:extLst>
          </p:cNvPr>
          <p:cNvSpPr>
            <a:spLocks noGrp="1"/>
          </p:cNvSpPr>
          <p:nvPr>
            <p:ph type="body" sz="quarter" idx="21"/>
          </p:nvPr>
        </p:nvSpPr>
        <p:spPr bwMode="gray">
          <a:xfrm>
            <a:off x="8329038" y="4869312"/>
            <a:ext cx="3528000" cy="1368000"/>
          </a:xfrm>
        </p:spPr>
        <p:txBody>
          <a:bodyPr/>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1" name="Textplatzhalter 7">
            <a:extLst>
              <a:ext uri="{FF2B5EF4-FFF2-40B4-BE49-F238E27FC236}">
                <a16:creationId xmlns:a16="http://schemas.microsoft.com/office/drawing/2014/main" id="{C7E7771D-F6E0-4630-8E7D-67B24182BAA1}"/>
              </a:ext>
            </a:extLst>
          </p:cNvPr>
          <p:cNvSpPr>
            <a:spLocks noGrp="1"/>
          </p:cNvSpPr>
          <p:nvPr>
            <p:ph type="body" sz="quarter" idx="22"/>
          </p:nvPr>
        </p:nvSpPr>
        <p:spPr bwMode="gray">
          <a:xfrm>
            <a:off x="1271464" y="4869312"/>
            <a:ext cx="2952000" cy="1368000"/>
          </a:xfrm>
        </p:spPr>
        <p:txBody>
          <a:bodyPr/>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3" name="Textplatzhalter 22">
            <a:extLst>
              <a:ext uri="{FF2B5EF4-FFF2-40B4-BE49-F238E27FC236}">
                <a16:creationId xmlns:a16="http://schemas.microsoft.com/office/drawing/2014/main" id="{B943FA1B-2CB0-45FD-A72B-F21651B7536E}"/>
              </a:ext>
            </a:extLst>
          </p:cNvPr>
          <p:cNvSpPr>
            <a:spLocks noGrp="1"/>
          </p:cNvSpPr>
          <p:nvPr>
            <p:ph type="body" sz="quarter" idx="23" hasCustomPrompt="1"/>
          </p:nvPr>
        </p:nvSpPr>
        <p:spPr bwMode="gray">
          <a:xfrm>
            <a:off x="550863" y="3110309"/>
            <a:ext cx="11304000" cy="25200"/>
          </a:xfrm>
          <a:solidFill>
            <a:schemeClr val="tx1"/>
          </a:solidFill>
        </p:spPr>
        <p:txBody>
          <a:bodyPr/>
          <a:lstStyle>
            <a:lvl1pPr marL="0" indent="0">
              <a:spcAft>
                <a:spcPts val="0"/>
              </a:spcAft>
              <a:buFont typeface="Arial" panose="020B0604020202020204" pitchFamily="34" charset="0"/>
              <a:buNone/>
              <a:defRPr sz="100">
                <a:solidFill>
                  <a:schemeClr val="tx1">
                    <a:alpha val="0"/>
                  </a:schemeClr>
                </a:solidFill>
              </a:defRPr>
            </a:lvl1pPr>
            <a:lvl2pPr marL="0" indent="0">
              <a:spcAft>
                <a:spcPts val="0"/>
              </a:spcAft>
              <a:buFont typeface="Arial" panose="020B0604020202020204" pitchFamily="34" charset="0"/>
              <a:buNone/>
              <a:defRPr sz="100">
                <a:solidFill>
                  <a:schemeClr val="tx1">
                    <a:alpha val="0"/>
                  </a:schemeClr>
                </a:solidFill>
              </a:defRPr>
            </a:lvl2pPr>
            <a:lvl3pPr marL="0" indent="0">
              <a:spcAft>
                <a:spcPts val="0"/>
              </a:spcAft>
              <a:buNone/>
              <a:defRPr sz="100">
                <a:solidFill>
                  <a:schemeClr val="tx1">
                    <a:alpha val="0"/>
                  </a:schemeClr>
                </a:solidFill>
              </a:defRPr>
            </a:lvl3pPr>
            <a:lvl4pPr marL="0" indent="0">
              <a:spcAft>
                <a:spcPts val="0"/>
              </a:spcAft>
              <a:buNone/>
              <a:defRPr sz="100">
                <a:solidFill>
                  <a:schemeClr val="tx1">
                    <a:alpha val="0"/>
                  </a:schemeClr>
                </a:solidFill>
              </a:defRPr>
            </a:lvl4pPr>
            <a:lvl5pPr marL="0" indent="0">
              <a:spcAft>
                <a:spcPts val="0"/>
              </a:spcAft>
              <a:buNone/>
              <a:defRPr sz="100">
                <a:solidFill>
                  <a:schemeClr val="tx1">
                    <a:alpha val="0"/>
                  </a:schemeClr>
                </a:solidFill>
              </a:defRPr>
            </a:lvl5pPr>
            <a:lvl6pPr marL="0" indent="0">
              <a:spcAft>
                <a:spcPts val="0"/>
              </a:spcAft>
              <a:buNone/>
              <a:defRPr sz="100">
                <a:solidFill>
                  <a:schemeClr val="tx1">
                    <a:alpha val="0"/>
                  </a:schemeClr>
                </a:solidFill>
              </a:defRPr>
            </a:lvl6pPr>
            <a:lvl7pPr marL="0" indent="0">
              <a:spcAft>
                <a:spcPts val="0"/>
              </a:spcAft>
              <a:buNone/>
              <a:defRPr sz="100">
                <a:solidFill>
                  <a:schemeClr val="tx1">
                    <a:alpha val="0"/>
                  </a:schemeClr>
                </a:solidFill>
              </a:defRPr>
            </a:lvl7pPr>
            <a:lvl8pPr marL="0" indent="0">
              <a:spcAft>
                <a:spcPts val="0"/>
              </a:spcAft>
              <a:buNone/>
              <a:defRPr sz="100">
                <a:solidFill>
                  <a:schemeClr val="tx1">
                    <a:alpha val="0"/>
                  </a:schemeClr>
                </a:solidFill>
              </a:defRPr>
            </a:lvl8pPr>
            <a:lvl9pPr marL="0" indent="0">
              <a:spcAft>
                <a:spcPts val="0"/>
              </a:spcAft>
              <a:buNone/>
              <a:defRPr sz="100">
                <a:solidFill>
                  <a:schemeClr val="tx1">
                    <a:alpha val="0"/>
                  </a:schemeClr>
                </a:solidFill>
              </a:defRPr>
            </a:lvl9pPr>
          </a:lstStyle>
          <a:p>
            <a:pPr lvl="0"/>
            <a:r>
              <a:rPr lang="de-DE"/>
              <a:t> </a:t>
            </a:r>
          </a:p>
        </p:txBody>
      </p:sp>
      <p:sp>
        <p:nvSpPr>
          <p:cNvPr id="24" name="Textplatzhalter 22">
            <a:extLst>
              <a:ext uri="{FF2B5EF4-FFF2-40B4-BE49-F238E27FC236}">
                <a16:creationId xmlns:a16="http://schemas.microsoft.com/office/drawing/2014/main" id="{AC832C97-374F-41AD-8340-CDD8CA10DEA6}"/>
              </a:ext>
            </a:extLst>
          </p:cNvPr>
          <p:cNvSpPr>
            <a:spLocks noGrp="1"/>
          </p:cNvSpPr>
          <p:nvPr>
            <p:ph type="body" sz="quarter" idx="24" hasCustomPrompt="1"/>
          </p:nvPr>
        </p:nvSpPr>
        <p:spPr bwMode="gray">
          <a:xfrm>
            <a:off x="550863" y="4730577"/>
            <a:ext cx="11304000" cy="25200"/>
          </a:xfrm>
          <a:solidFill>
            <a:schemeClr val="tx1"/>
          </a:solidFill>
        </p:spPr>
        <p:txBody>
          <a:bodyPr/>
          <a:lstStyle>
            <a:lvl1pPr marL="0" indent="0">
              <a:spcAft>
                <a:spcPts val="0"/>
              </a:spcAft>
              <a:buFont typeface="Arial" panose="020B0604020202020204" pitchFamily="34" charset="0"/>
              <a:buNone/>
              <a:defRPr sz="100">
                <a:solidFill>
                  <a:schemeClr val="tx1">
                    <a:alpha val="0"/>
                  </a:schemeClr>
                </a:solidFill>
              </a:defRPr>
            </a:lvl1pPr>
            <a:lvl2pPr marL="0" indent="0">
              <a:spcAft>
                <a:spcPts val="0"/>
              </a:spcAft>
              <a:buFont typeface="Arial" panose="020B0604020202020204" pitchFamily="34" charset="0"/>
              <a:buNone/>
              <a:defRPr sz="100">
                <a:solidFill>
                  <a:schemeClr val="tx1">
                    <a:alpha val="0"/>
                  </a:schemeClr>
                </a:solidFill>
              </a:defRPr>
            </a:lvl2pPr>
            <a:lvl3pPr marL="0" indent="0">
              <a:spcAft>
                <a:spcPts val="0"/>
              </a:spcAft>
              <a:buNone/>
              <a:defRPr sz="100">
                <a:solidFill>
                  <a:schemeClr val="tx1">
                    <a:alpha val="0"/>
                  </a:schemeClr>
                </a:solidFill>
              </a:defRPr>
            </a:lvl3pPr>
            <a:lvl4pPr marL="0" indent="0">
              <a:spcAft>
                <a:spcPts val="0"/>
              </a:spcAft>
              <a:buNone/>
              <a:defRPr sz="100">
                <a:solidFill>
                  <a:schemeClr val="tx1">
                    <a:alpha val="0"/>
                  </a:schemeClr>
                </a:solidFill>
              </a:defRPr>
            </a:lvl4pPr>
            <a:lvl5pPr marL="0" indent="0">
              <a:spcAft>
                <a:spcPts val="0"/>
              </a:spcAft>
              <a:buNone/>
              <a:defRPr sz="100">
                <a:solidFill>
                  <a:schemeClr val="tx1">
                    <a:alpha val="0"/>
                  </a:schemeClr>
                </a:solidFill>
              </a:defRPr>
            </a:lvl5pPr>
            <a:lvl6pPr marL="0" indent="0">
              <a:spcAft>
                <a:spcPts val="0"/>
              </a:spcAft>
              <a:buNone/>
              <a:defRPr sz="100">
                <a:solidFill>
                  <a:schemeClr val="tx1">
                    <a:alpha val="0"/>
                  </a:schemeClr>
                </a:solidFill>
              </a:defRPr>
            </a:lvl6pPr>
            <a:lvl7pPr marL="0" indent="0">
              <a:spcAft>
                <a:spcPts val="0"/>
              </a:spcAft>
              <a:buNone/>
              <a:defRPr sz="100">
                <a:solidFill>
                  <a:schemeClr val="tx1">
                    <a:alpha val="0"/>
                  </a:schemeClr>
                </a:solidFill>
              </a:defRPr>
            </a:lvl7pPr>
            <a:lvl8pPr marL="0" indent="0">
              <a:spcAft>
                <a:spcPts val="0"/>
              </a:spcAft>
              <a:buNone/>
              <a:defRPr sz="100">
                <a:solidFill>
                  <a:schemeClr val="tx1">
                    <a:alpha val="0"/>
                  </a:schemeClr>
                </a:solidFill>
              </a:defRPr>
            </a:lvl8pPr>
            <a:lvl9pPr marL="0" indent="0">
              <a:spcAft>
                <a:spcPts val="0"/>
              </a:spcAft>
              <a:buNone/>
              <a:defRPr sz="100">
                <a:solidFill>
                  <a:schemeClr val="tx1">
                    <a:alpha val="0"/>
                  </a:schemeClr>
                </a:solidFill>
              </a:defRPr>
            </a:lvl9pPr>
          </a:lstStyle>
          <a:p>
            <a:pPr lvl="0"/>
            <a:r>
              <a:rPr lang="de-DE"/>
              <a:t> </a:t>
            </a:r>
          </a:p>
        </p:txBody>
      </p:sp>
      <p:sp>
        <p:nvSpPr>
          <p:cNvPr id="25" name="Textplatzhalter 14">
            <a:extLst>
              <a:ext uri="{FF2B5EF4-FFF2-40B4-BE49-F238E27FC236}">
                <a16:creationId xmlns:a16="http://schemas.microsoft.com/office/drawing/2014/main" id="{66AB1082-20AB-41AD-B278-DE91EFBBE711}"/>
              </a:ext>
            </a:extLst>
          </p:cNvPr>
          <p:cNvSpPr>
            <a:spLocks noGrp="1"/>
          </p:cNvSpPr>
          <p:nvPr>
            <p:ph type="body" sz="quarter" idx="25" hasCustomPrompt="1"/>
          </p:nvPr>
        </p:nvSpPr>
        <p:spPr bwMode="gray">
          <a:xfrm>
            <a:off x="551384" y="3249043"/>
            <a:ext cx="504000" cy="504000"/>
          </a:xfrm>
          <a:prstGeom prst="ellipse">
            <a:avLst/>
          </a:prstGeom>
          <a:solidFill>
            <a:schemeClr val="tx1"/>
          </a:solidFill>
        </p:spPr>
        <p:txBody>
          <a:bodyPr anchor="ctr"/>
          <a:lstStyle>
            <a:lvl1pPr marL="0" algn="ctr">
              <a:spcAft>
                <a:spcPts val="0"/>
              </a:spcAft>
              <a:buFontTx/>
              <a:buNone/>
              <a:defRPr sz="800" b="0">
                <a:solidFill>
                  <a:schemeClr val="bg1"/>
                </a:solidFill>
              </a:defRPr>
            </a:lvl1pPr>
            <a:lvl2pPr marL="0" algn="ctr">
              <a:spcAft>
                <a:spcPts val="0"/>
              </a:spcAft>
              <a:buFontTx/>
              <a:buNone/>
              <a:defRPr sz="800" b="0">
                <a:solidFill>
                  <a:schemeClr val="bg1"/>
                </a:solidFill>
              </a:defRPr>
            </a:lvl2pPr>
            <a:lvl3pPr marL="0" indent="0" algn="ctr">
              <a:spcAft>
                <a:spcPts val="0"/>
              </a:spcAft>
              <a:buFontTx/>
              <a:buNone/>
              <a:defRPr sz="800" b="0">
                <a:solidFill>
                  <a:schemeClr val="bg1"/>
                </a:solidFill>
              </a:defRPr>
            </a:lvl3pPr>
            <a:lvl4pPr marL="0" indent="0" algn="ctr">
              <a:spcAft>
                <a:spcPts val="0"/>
              </a:spcAft>
              <a:buFontTx/>
              <a:buNone/>
              <a:defRPr sz="800" b="0">
                <a:solidFill>
                  <a:schemeClr val="bg1"/>
                </a:solidFill>
              </a:defRPr>
            </a:lvl4pPr>
            <a:lvl5pPr marL="0" indent="0" algn="ctr">
              <a:spcAft>
                <a:spcPts val="0"/>
              </a:spcAft>
              <a:buFontTx/>
              <a:buNone/>
              <a:defRPr sz="800" b="0">
                <a:solidFill>
                  <a:schemeClr val="bg1"/>
                </a:solidFill>
              </a:defRPr>
            </a:lvl5pPr>
            <a:lvl6pPr marL="0" indent="0" algn="ctr">
              <a:spcAft>
                <a:spcPts val="0"/>
              </a:spcAft>
              <a:buFontTx/>
              <a:buNone/>
              <a:defRPr sz="800" b="0">
                <a:solidFill>
                  <a:schemeClr val="bg1"/>
                </a:solidFill>
              </a:defRPr>
            </a:lvl6pPr>
            <a:lvl7pPr marL="0" indent="0" algn="ctr">
              <a:spcAft>
                <a:spcPts val="0"/>
              </a:spcAft>
              <a:buFontTx/>
              <a:buNone/>
              <a:defRPr sz="800" b="0">
                <a:solidFill>
                  <a:schemeClr val="bg1"/>
                </a:solidFill>
              </a:defRPr>
            </a:lvl7pPr>
            <a:lvl8pPr marL="0" indent="0" algn="ctr">
              <a:spcAft>
                <a:spcPts val="0"/>
              </a:spcAft>
              <a:buFontTx/>
              <a:buNone/>
              <a:defRPr sz="800" b="0">
                <a:solidFill>
                  <a:schemeClr val="bg1"/>
                </a:solidFill>
              </a:defRPr>
            </a:lvl8pPr>
            <a:lvl9pPr marL="0" indent="0" algn="ctr">
              <a:spcAft>
                <a:spcPts val="0"/>
              </a:spcAft>
              <a:buFontTx/>
              <a:buNone/>
              <a:defRPr sz="800" b="0">
                <a:solidFill>
                  <a:schemeClr val="bg1"/>
                </a:solidFill>
              </a:defRPr>
            </a:lvl9pPr>
          </a:lstStyle>
          <a:p>
            <a:pPr lvl="0"/>
            <a:r>
              <a:rPr lang="de-DE"/>
              <a:t>Icon</a:t>
            </a:r>
          </a:p>
        </p:txBody>
      </p:sp>
      <p:sp>
        <p:nvSpPr>
          <p:cNvPr id="26" name="Textplatzhalter 14">
            <a:extLst>
              <a:ext uri="{FF2B5EF4-FFF2-40B4-BE49-F238E27FC236}">
                <a16:creationId xmlns:a16="http://schemas.microsoft.com/office/drawing/2014/main" id="{91AE273B-3F3B-4B51-A778-B4C80AE4347C}"/>
              </a:ext>
            </a:extLst>
          </p:cNvPr>
          <p:cNvSpPr>
            <a:spLocks noGrp="1"/>
          </p:cNvSpPr>
          <p:nvPr>
            <p:ph type="body" sz="quarter" idx="26" hasCustomPrompt="1"/>
          </p:nvPr>
        </p:nvSpPr>
        <p:spPr bwMode="gray">
          <a:xfrm>
            <a:off x="551384" y="4869312"/>
            <a:ext cx="504000" cy="504000"/>
          </a:xfrm>
          <a:prstGeom prst="ellipse">
            <a:avLst/>
          </a:prstGeom>
          <a:solidFill>
            <a:schemeClr val="tx1"/>
          </a:solidFill>
        </p:spPr>
        <p:txBody>
          <a:bodyPr anchor="ctr"/>
          <a:lstStyle>
            <a:lvl1pPr marL="0" algn="ctr">
              <a:spcAft>
                <a:spcPts val="0"/>
              </a:spcAft>
              <a:buFontTx/>
              <a:buNone/>
              <a:defRPr sz="800" b="0">
                <a:solidFill>
                  <a:schemeClr val="bg1"/>
                </a:solidFill>
              </a:defRPr>
            </a:lvl1pPr>
            <a:lvl2pPr marL="0" algn="ctr">
              <a:spcAft>
                <a:spcPts val="0"/>
              </a:spcAft>
              <a:buFontTx/>
              <a:buNone/>
              <a:defRPr sz="800" b="0">
                <a:solidFill>
                  <a:schemeClr val="bg1"/>
                </a:solidFill>
              </a:defRPr>
            </a:lvl2pPr>
            <a:lvl3pPr marL="0" indent="0" algn="ctr">
              <a:spcAft>
                <a:spcPts val="0"/>
              </a:spcAft>
              <a:buFontTx/>
              <a:buNone/>
              <a:defRPr sz="800" b="0">
                <a:solidFill>
                  <a:schemeClr val="bg1"/>
                </a:solidFill>
              </a:defRPr>
            </a:lvl3pPr>
            <a:lvl4pPr marL="0" indent="0" algn="ctr">
              <a:spcAft>
                <a:spcPts val="0"/>
              </a:spcAft>
              <a:buFontTx/>
              <a:buNone/>
              <a:defRPr sz="800" b="0">
                <a:solidFill>
                  <a:schemeClr val="bg1"/>
                </a:solidFill>
              </a:defRPr>
            </a:lvl4pPr>
            <a:lvl5pPr marL="0" indent="0" algn="ctr">
              <a:spcAft>
                <a:spcPts val="0"/>
              </a:spcAft>
              <a:buFontTx/>
              <a:buNone/>
              <a:defRPr sz="800" b="0">
                <a:solidFill>
                  <a:schemeClr val="bg1"/>
                </a:solidFill>
              </a:defRPr>
            </a:lvl5pPr>
            <a:lvl6pPr marL="0" indent="0" algn="ctr">
              <a:spcAft>
                <a:spcPts val="0"/>
              </a:spcAft>
              <a:buFontTx/>
              <a:buNone/>
              <a:defRPr sz="800" b="0">
                <a:solidFill>
                  <a:schemeClr val="bg1"/>
                </a:solidFill>
              </a:defRPr>
            </a:lvl6pPr>
            <a:lvl7pPr marL="0" indent="0" algn="ctr">
              <a:spcAft>
                <a:spcPts val="0"/>
              </a:spcAft>
              <a:buFontTx/>
              <a:buNone/>
              <a:defRPr sz="800" b="0">
                <a:solidFill>
                  <a:schemeClr val="bg1"/>
                </a:solidFill>
              </a:defRPr>
            </a:lvl7pPr>
            <a:lvl8pPr marL="0" indent="0" algn="ctr">
              <a:spcAft>
                <a:spcPts val="0"/>
              </a:spcAft>
              <a:buFontTx/>
              <a:buNone/>
              <a:defRPr sz="800" b="0">
                <a:solidFill>
                  <a:schemeClr val="bg1"/>
                </a:solidFill>
              </a:defRPr>
            </a:lvl8pPr>
            <a:lvl9pPr marL="0" indent="0" algn="ctr">
              <a:spcAft>
                <a:spcPts val="0"/>
              </a:spcAft>
              <a:buFontTx/>
              <a:buNone/>
              <a:defRPr sz="800" b="0">
                <a:solidFill>
                  <a:schemeClr val="bg1"/>
                </a:solidFill>
              </a:defRPr>
            </a:lvl9pPr>
          </a:lstStyle>
          <a:p>
            <a:pPr lvl="0"/>
            <a:r>
              <a:rPr lang="de-DE"/>
              <a:t>Icon</a:t>
            </a:r>
          </a:p>
        </p:txBody>
      </p:sp>
    </p:spTree>
    <p:extLst>
      <p:ext uri="{BB962C8B-B14F-4D97-AF65-F5344CB8AC3E}">
        <p14:creationId xmlns:p14="http://schemas.microsoft.com/office/powerpoint/2010/main" val="5119470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mplate Innovation">
    <p:spTree>
      <p:nvGrpSpPr>
        <p:cNvPr id="1" name=""/>
        <p:cNvGrpSpPr/>
        <p:nvPr/>
      </p:nvGrpSpPr>
      <p:grpSpPr>
        <a:xfrm>
          <a:off x="0" y="0"/>
          <a:ext cx="0" cy="0"/>
          <a:chOff x="0" y="0"/>
          <a:chExt cx="0" cy="0"/>
        </a:xfrm>
      </p:grpSpPr>
      <p:sp>
        <p:nvSpPr>
          <p:cNvPr id="27" name="Rechteck 26">
            <a:extLst>
              <a:ext uri="{FF2B5EF4-FFF2-40B4-BE49-F238E27FC236}">
                <a16:creationId xmlns:a16="http://schemas.microsoft.com/office/drawing/2014/main" id="{2A16F9D8-4456-48C6-A597-0129C0CCB048}"/>
              </a:ext>
            </a:extLst>
          </p:cNvPr>
          <p:cNvSpPr/>
          <p:nvPr userDrawn="1"/>
        </p:nvSpPr>
        <p:spPr bwMode="gray">
          <a:xfrm>
            <a:off x="0" y="404664"/>
            <a:ext cx="432000" cy="25200"/>
          </a:xfrm>
          <a:prstGeom prst="rect">
            <a:avLst/>
          </a:prstGeom>
          <a:solidFill>
            <a:srgbClr val="FC5B2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92000" rtlCol="0" anchor="ctr"/>
          <a:lstStyle/>
          <a:p>
            <a:r>
              <a:rPr lang="de-DE" sz="1000">
                <a:solidFill>
                  <a:schemeClr val="tx1"/>
                </a:solidFill>
                <a:latin typeface="Segoe UI" panose="020B0502040204020203" pitchFamily="34" charset="0"/>
                <a:cs typeface="Segoe UI" panose="020B0502040204020203" pitchFamily="34" charset="0"/>
              </a:rPr>
              <a:t>Innovation</a:t>
            </a:r>
          </a:p>
        </p:txBody>
      </p:sp>
      <p:sp>
        <p:nvSpPr>
          <p:cNvPr id="2" name="Titel 1">
            <a:extLst>
              <a:ext uri="{FF2B5EF4-FFF2-40B4-BE49-F238E27FC236}">
                <a16:creationId xmlns:a16="http://schemas.microsoft.com/office/drawing/2014/main" id="{AA103474-4EBB-4B30-B1D2-6F6F5D799AB5}"/>
              </a:ext>
            </a:extLst>
          </p:cNvPr>
          <p:cNvSpPr>
            <a:spLocks noGrp="1"/>
          </p:cNvSpPr>
          <p:nvPr>
            <p:ph type="title"/>
          </p:nvPr>
        </p:nvSpPr>
        <p:spPr bwMode="gray"/>
        <p:txBody>
          <a:bodyPr/>
          <a:lstStyle/>
          <a:p>
            <a:r>
              <a:rPr lang="de-DE"/>
              <a:t>Mastertitelformat bearbeiten</a:t>
            </a:r>
          </a:p>
        </p:txBody>
      </p:sp>
      <p:sp>
        <p:nvSpPr>
          <p:cNvPr id="4" name="Fußzeilenplatzhalter 3">
            <a:extLst>
              <a:ext uri="{FF2B5EF4-FFF2-40B4-BE49-F238E27FC236}">
                <a16:creationId xmlns:a16="http://schemas.microsoft.com/office/drawing/2014/main" id="{976D4EE2-D83E-423F-862C-4526945969BB}"/>
              </a:ext>
            </a:extLst>
          </p:cNvPr>
          <p:cNvSpPr>
            <a:spLocks noGrp="1"/>
          </p:cNvSpPr>
          <p:nvPr>
            <p:ph type="ftr" sz="quarter" idx="11"/>
          </p:nvPr>
        </p:nvSpPr>
        <p:spPr bwMode="gray"/>
        <p:txBody>
          <a:bodyPr/>
          <a:lstStyle/>
          <a:p>
            <a:r>
              <a:rPr lang="de-DE"/>
              <a:t>DENEFF PowerPoint Master</a:t>
            </a:r>
          </a:p>
        </p:txBody>
      </p:sp>
      <p:sp>
        <p:nvSpPr>
          <p:cNvPr id="5" name="Foliennummernplatzhalter 4">
            <a:extLst>
              <a:ext uri="{FF2B5EF4-FFF2-40B4-BE49-F238E27FC236}">
                <a16:creationId xmlns:a16="http://schemas.microsoft.com/office/drawing/2014/main" id="{45A1933F-FFB9-489F-8D62-977CE088E776}"/>
              </a:ext>
            </a:extLst>
          </p:cNvPr>
          <p:cNvSpPr>
            <a:spLocks noGrp="1"/>
          </p:cNvSpPr>
          <p:nvPr>
            <p:ph type="sldNum" sz="quarter" idx="12"/>
          </p:nvPr>
        </p:nvSpPr>
        <p:spPr bwMode="gray"/>
        <p:txBody>
          <a:bodyPr/>
          <a:lstStyle/>
          <a:p>
            <a:fld id="{596A2A10-B827-4CCE-9EB2-A13B5A721707}" type="slidenum">
              <a:rPr lang="de-DE" smtClean="0"/>
              <a:t>‹Nr.›</a:t>
            </a:fld>
            <a:endParaRPr lang="de-DE"/>
          </a:p>
        </p:txBody>
      </p:sp>
      <p:sp>
        <p:nvSpPr>
          <p:cNvPr id="8" name="Textplatzhalter 7">
            <a:extLst>
              <a:ext uri="{FF2B5EF4-FFF2-40B4-BE49-F238E27FC236}">
                <a16:creationId xmlns:a16="http://schemas.microsoft.com/office/drawing/2014/main" id="{00E921AC-92AC-4FB7-A20D-05AB4BA21E93}"/>
              </a:ext>
            </a:extLst>
          </p:cNvPr>
          <p:cNvSpPr>
            <a:spLocks noGrp="1"/>
          </p:cNvSpPr>
          <p:nvPr>
            <p:ph type="body" sz="quarter" idx="13"/>
          </p:nvPr>
        </p:nvSpPr>
        <p:spPr bwMode="gray">
          <a:xfrm>
            <a:off x="4512216" y="1628775"/>
            <a:ext cx="3528000" cy="1368000"/>
          </a:xfrm>
        </p:spPr>
        <p:txBody>
          <a:bodyPr/>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marL="648000" indent="0">
              <a:spcAft>
                <a:spcPts val="300"/>
              </a:spcAft>
              <a:buNone/>
              <a:defRPr sz="1400"/>
            </a:lvl6pPr>
            <a:lvl7pPr>
              <a:spcAft>
                <a:spcPts val="300"/>
              </a:spcAft>
              <a:defRPr sz="1400"/>
            </a:lvl7pPr>
            <a:lvl8pPr>
              <a:spcAft>
                <a:spcPts val="300"/>
              </a:spcAft>
              <a:defRPr sz="1400"/>
            </a:lvl8pPr>
            <a:lvl9pPr>
              <a:spcAft>
                <a:spcPts val="300"/>
              </a:spcAft>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Textplatzhalter 9">
            <a:extLst>
              <a:ext uri="{FF2B5EF4-FFF2-40B4-BE49-F238E27FC236}">
                <a16:creationId xmlns:a16="http://schemas.microsoft.com/office/drawing/2014/main" id="{22173212-6FFA-4853-AF8C-4782F2962079}"/>
              </a:ext>
            </a:extLst>
          </p:cNvPr>
          <p:cNvSpPr>
            <a:spLocks noGrp="1"/>
          </p:cNvSpPr>
          <p:nvPr>
            <p:ph type="body" sz="quarter" idx="14"/>
          </p:nvPr>
        </p:nvSpPr>
        <p:spPr bwMode="gray">
          <a:xfrm>
            <a:off x="8329038" y="1628775"/>
            <a:ext cx="3528000" cy="1368000"/>
          </a:xfrm>
        </p:spPr>
        <p:txBody>
          <a:bodyPr/>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3" name="Textplatzhalter 7">
            <a:extLst>
              <a:ext uri="{FF2B5EF4-FFF2-40B4-BE49-F238E27FC236}">
                <a16:creationId xmlns:a16="http://schemas.microsoft.com/office/drawing/2014/main" id="{225498F7-D488-4249-BA7D-354F1A54E275}"/>
              </a:ext>
            </a:extLst>
          </p:cNvPr>
          <p:cNvSpPr>
            <a:spLocks noGrp="1"/>
          </p:cNvSpPr>
          <p:nvPr>
            <p:ph type="body" sz="quarter" idx="15"/>
          </p:nvPr>
        </p:nvSpPr>
        <p:spPr bwMode="gray">
          <a:xfrm>
            <a:off x="1271464" y="1628775"/>
            <a:ext cx="2952000" cy="1368000"/>
          </a:xfrm>
        </p:spPr>
        <p:txBody>
          <a:bodyPr/>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Textplatzhalter 14">
            <a:extLst>
              <a:ext uri="{FF2B5EF4-FFF2-40B4-BE49-F238E27FC236}">
                <a16:creationId xmlns:a16="http://schemas.microsoft.com/office/drawing/2014/main" id="{ECFF0E3A-4933-4ECD-9BE2-20FA4AC2EA93}"/>
              </a:ext>
            </a:extLst>
          </p:cNvPr>
          <p:cNvSpPr>
            <a:spLocks noGrp="1"/>
          </p:cNvSpPr>
          <p:nvPr>
            <p:ph type="body" sz="quarter" idx="16" hasCustomPrompt="1"/>
          </p:nvPr>
        </p:nvSpPr>
        <p:spPr bwMode="gray">
          <a:xfrm>
            <a:off x="551384" y="1628856"/>
            <a:ext cx="504000" cy="504000"/>
          </a:xfrm>
          <a:prstGeom prst="ellipse">
            <a:avLst/>
          </a:prstGeom>
          <a:solidFill>
            <a:schemeClr val="tx1"/>
          </a:solidFill>
        </p:spPr>
        <p:txBody>
          <a:bodyPr anchor="ctr"/>
          <a:lstStyle>
            <a:lvl1pPr marL="0" algn="ctr">
              <a:spcAft>
                <a:spcPts val="0"/>
              </a:spcAft>
              <a:buFontTx/>
              <a:buNone/>
              <a:defRPr sz="800" b="0">
                <a:solidFill>
                  <a:schemeClr val="bg1"/>
                </a:solidFill>
              </a:defRPr>
            </a:lvl1pPr>
            <a:lvl2pPr marL="0" algn="ctr">
              <a:spcAft>
                <a:spcPts val="0"/>
              </a:spcAft>
              <a:buFontTx/>
              <a:buNone/>
              <a:defRPr sz="800" b="0">
                <a:solidFill>
                  <a:schemeClr val="bg1"/>
                </a:solidFill>
              </a:defRPr>
            </a:lvl2pPr>
            <a:lvl3pPr marL="0" indent="0" algn="ctr">
              <a:spcAft>
                <a:spcPts val="0"/>
              </a:spcAft>
              <a:buFontTx/>
              <a:buNone/>
              <a:defRPr sz="800" b="0">
                <a:solidFill>
                  <a:schemeClr val="bg1"/>
                </a:solidFill>
              </a:defRPr>
            </a:lvl3pPr>
            <a:lvl4pPr marL="0" indent="0" algn="ctr">
              <a:spcAft>
                <a:spcPts val="0"/>
              </a:spcAft>
              <a:buFontTx/>
              <a:buNone/>
              <a:defRPr sz="800" b="0">
                <a:solidFill>
                  <a:schemeClr val="bg1"/>
                </a:solidFill>
              </a:defRPr>
            </a:lvl4pPr>
            <a:lvl5pPr marL="0" indent="0" algn="ctr">
              <a:spcAft>
                <a:spcPts val="0"/>
              </a:spcAft>
              <a:buFontTx/>
              <a:buNone/>
              <a:defRPr sz="800" b="0">
                <a:solidFill>
                  <a:schemeClr val="bg1"/>
                </a:solidFill>
              </a:defRPr>
            </a:lvl5pPr>
            <a:lvl6pPr marL="0" indent="0" algn="ctr">
              <a:spcAft>
                <a:spcPts val="0"/>
              </a:spcAft>
              <a:buFontTx/>
              <a:buNone/>
              <a:defRPr sz="800" b="0">
                <a:solidFill>
                  <a:schemeClr val="bg1"/>
                </a:solidFill>
              </a:defRPr>
            </a:lvl6pPr>
            <a:lvl7pPr marL="0" indent="0" algn="ctr">
              <a:spcAft>
                <a:spcPts val="0"/>
              </a:spcAft>
              <a:buFontTx/>
              <a:buNone/>
              <a:defRPr sz="800" b="0">
                <a:solidFill>
                  <a:schemeClr val="bg1"/>
                </a:solidFill>
              </a:defRPr>
            </a:lvl7pPr>
            <a:lvl8pPr marL="0" indent="0" algn="ctr">
              <a:spcAft>
                <a:spcPts val="0"/>
              </a:spcAft>
              <a:buFontTx/>
              <a:buNone/>
              <a:defRPr sz="800" b="0">
                <a:solidFill>
                  <a:schemeClr val="bg1"/>
                </a:solidFill>
              </a:defRPr>
            </a:lvl8pPr>
            <a:lvl9pPr marL="0" indent="0" algn="ctr">
              <a:spcAft>
                <a:spcPts val="0"/>
              </a:spcAft>
              <a:buFontTx/>
              <a:buNone/>
              <a:defRPr sz="800" b="0">
                <a:solidFill>
                  <a:schemeClr val="bg1"/>
                </a:solidFill>
              </a:defRPr>
            </a:lvl9pPr>
          </a:lstStyle>
          <a:p>
            <a:pPr lvl="0"/>
            <a:r>
              <a:rPr lang="de-DE"/>
              <a:t>Icon</a:t>
            </a:r>
          </a:p>
        </p:txBody>
      </p:sp>
      <p:sp>
        <p:nvSpPr>
          <p:cNvPr id="16" name="Textplatzhalter 7">
            <a:extLst>
              <a:ext uri="{FF2B5EF4-FFF2-40B4-BE49-F238E27FC236}">
                <a16:creationId xmlns:a16="http://schemas.microsoft.com/office/drawing/2014/main" id="{691B6F3C-0BF3-4FFD-8DEE-5189EF38FC64}"/>
              </a:ext>
            </a:extLst>
          </p:cNvPr>
          <p:cNvSpPr>
            <a:spLocks noGrp="1"/>
          </p:cNvSpPr>
          <p:nvPr>
            <p:ph type="body" sz="quarter" idx="17"/>
          </p:nvPr>
        </p:nvSpPr>
        <p:spPr bwMode="gray">
          <a:xfrm>
            <a:off x="4512216" y="3249043"/>
            <a:ext cx="3528000" cy="1368000"/>
          </a:xfrm>
        </p:spPr>
        <p:txBody>
          <a:bodyPr/>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7" name="Textplatzhalter 9">
            <a:extLst>
              <a:ext uri="{FF2B5EF4-FFF2-40B4-BE49-F238E27FC236}">
                <a16:creationId xmlns:a16="http://schemas.microsoft.com/office/drawing/2014/main" id="{CC24B697-0FF3-477E-89AD-97AB06027075}"/>
              </a:ext>
            </a:extLst>
          </p:cNvPr>
          <p:cNvSpPr>
            <a:spLocks noGrp="1"/>
          </p:cNvSpPr>
          <p:nvPr>
            <p:ph type="body" sz="quarter" idx="18"/>
          </p:nvPr>
        </p:nvSpPr>
        <p:spPr bwMode="gray">
          <a:xfrm>
            <a:off x="8329038" y="3249043"/>
            <a:ext cx="3528000" cy="1368000"/>
          </a:xfrm>
        </p:spPr>
        <p:txBody>
          <a:bodyPr/>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8" name="Textplatzhalter 7">
            <a:extLst>
              <a:ext uri="{FF2B5EF4-FFF2-40B4-BE49-F238E27FC236}">
                <a16:creationId xmlns:a16="http://schemas.microsoft.com/office/drawing/2014/main" id="{C949FEB1-BBF0-4CF9-B92F-576C2CB6AC78}"/>
              </a:ext>
            </a:extLst>
          </p:cNvPr>
          <p:cNvSpPr>
            <a:spLocks noGrp="1"/>
          </p:cNvSpPr>
          <p:nvPr>
            <p:ph type="body" sz="quarter" idx="19"/>
          </p:nvPr>
        </p:nvSpPr>
        <p:spPr bwMode="gray">
          <a:xfrm>
            <a:off x="1271464" y="3249043"/>
            <a:ext cx="2952000" cy="1368000"/>
          </a:xfrm>
        </p:spPr>
        <p:txBody>
          <a:bodyPr/>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marL="648000" indent="0">
              <a:spcAft>
                <a:spcPts val="300"/>
              </a:spcAft>
              <a:buNone/>
              <a:defRPr sz="1400"/>
            </a:lvl6pPr>
            <a:lvl7pPr>
              <a:spcAft>
                <a:spcPts val="300"/>
              </a:spcAft>
              <a:defRPr sz="1400"/>
            </a:lvl7pPr>
            <a:lvl8pPr>
              <a:spcAft>
                <a:spcPts val="300"/>
              </a:spcAft>
              <a:defRPr sz="1400"/>
            </a:lvl8pPr>
            <a:lvl9pPr>
              <a:spcAft>
                <a:spcPts val="300"/>
              </a:spcAft>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Textplatzhalter 7">
            <a:extLst>
              <a:ext uri="{FF2B5EF4-FFF2-40B4-BE49-F238E27FC236}">
                <a16:creationId xmlns:a16="http://schemas.microsoft.com/office/drawing/2014/main" id="{5D559EDF-FB3E-471F-9CD8-A1AEF5C989D3}"/>
              </a:ext>
            </a:extLst>
          </p:cNvPr>
          <p:cNvSpPr>
            <a:spLocks noGrp="1"/>
          </p:cNvSpPr>
          <p:nvPr>
            <p:ph type="body" sz="quarter" idx="20"/>
          </p:nvPr>
        </p:nvSpPr>
        <p:spPr bwMode="gray">
          <a:xfrm>
            <a:off x="4512216" y="4869312"/>
            <a:ext cx="3528000" cy="1368000"/>
          </a:xfrm>
        </p:spPr>
        <p:txBody>
          <a:bodyPr/>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0" name="Textplatzhalter 9">
            <a:extLst>
              <a:ext uri="{FF2B5EF4-FFF2-40B4-BE49-F238E27FC236}">
                <a16:creationId xmlns:a16="http://schemas.microsoft.com/office/drawing/2014/main" id="{82D0A9EF-A512-4AA1-9D61-7740214AE1AF}"/>
              </a:ext>
            </a:extLst>
          </p:cNvPr>
          <p:cNvSpPr>
            <a:spLocks noGrp="1"/>
          </p:cNvSpPr>
          <p:nvPr>
            <p:ph type="body" sz="quarter" idx="21"/>
          </p:nvPr>
        </p:nvSpPr>
        <p:spPr bwMode="gray">
          <a:xfrm>
            <a:off x="8329038" y="4869312"/>
            <a:ext cx="3528000" cy="1368000"/>
          </a:xfrm>
        </p:spPr>
        <p:txBody>
          <a:bodyPr/>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marL="648000" indent="0">
              <a:spcAft>
                <a:spcPts val="300"/>
              </a:spcAft>
              <a:buNone/>
              <a:defRPr sz="1400"/>
            </a:lvl6pPr>
            <a:lvl7pPr>
              <a:spcAft>
                <a:spcPts val="300"/>
              </a:spcAft>
              <a:defRPr sz="1400"/>
            </a:lvl7pPr>
            <a:lvl8pPr>
              <a:spcAft>
                <a:spcPts val="300"/>
              </a:spcAft>
              <a:defRPr sz="1400"/>
            </a:lvl8pPr>
            <a:lvl9pPr>
              <a:spcAft>
                <a:spcPts val="300"/>
              </a:spcAft>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1" name="Textplatzhalter 7">
            <a:extLst>
              <a:ext uri="{FF2B5EF4-FFF2-40B4-BE49-F238E27FC236}">
                <a16:creationId xmlns:a16="http://schemas.microsoft.com/office/drawing/2014/main" id="{C7E7771D-F6E0-4630-8E7D-67B24182BAA1}"/>
              </a:ext>
            </a:extLst>
          </p:cNvPr>
          <p:cNvSpPr>
            <a:spLocks noGrp="1"/>
          </p:cNvSpPr>
          <p:nvPr>
            <p:ph type="body" sz="quarter" idx="22"/>
          </p:nvPr>
        </p:nvSpPr>
        <p:spPr bwMode="gray">
          <a:xfrm>
            <a:off x="1271464" y="4869312"/>
            <a:ext cx="2952000" cy="1368000"/>
          </a:xfrm>
        </p:spPr>
        <p:txBody>
          <a:bodyPr/>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marL="648000" indent="0">
              <a:spcAft>
                <a:spcPts val="300"/>
              </a:spcAft>
              <a:buNone/>
              <a:defRPr sz="1400"/>
            </a:lvl6pPr>
            <a:lvl7pPr>
              <a:spcAft>
                <a:spcPts val="300"/>
              </a:spcAft>
              <a:defRPr sz="1400"/>
            </a:lvl7pPr>
            <a:lvl8pPr>
              <a:spcAft>
                <a:spcPts val="300"/>
              </a:spcAft>
              <a:defRPr sz="1400"/>
            </a:lvl8pPr>
            <a:lvl9pPr>
              <a:spcAft>
                <a:spcPts val="300"/>
              </a:spcAft>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3" name="Textplatzhalter 22">
            <a:extLst>
              <a:ext uri="{FF2B5EF4-FFF2-40B4-BE49-F238E27FC236}">
                <a16:creationId xmlns:a16="http://schemas.microsoft.com/office/drawing/2014/main" id="{B943FA1B-2CB0-45FD-A72B-F21651B7536E}"/>
              </a:ext>
            </a:extLst>
          </p:cNvPr>
          <p:cNvSpPr>
            <a:spLocks noGrp="1"/>
          </p:cNvSpPr>
          <p:nvPr>
            <p:ph type="body" sz="quarter" idx="23" hasCustomPrompt="1"/>
          </p:nvPr>
        </p:nvSpPr>
        <p:spPr bwMode="gray">
          <a:xfrm>
            <a:off x="550863" y="3110309"/>
            <a:ext cx="11304000" cy="25200"/>
          </a:xfrm>
          <a:solidFill>
            <a:schemeClr val="tx1"/>
          </a:solidFill>
        </p:spPr>
        <p:txBody>
          <a:bodyPr/>
          <a:lstStyle>
            <a:lvl1pPr marL="0" indent="0">
              <a:spcAft>
                <a:spcPts val="0"/>
              </a:spcAft>
              <a:buFont typeface="Arial" panose="020B0604020202020204" pitchFamily="34" charset="0"/>
              <a:buNone/>
              <a:defRPr sz="100">
                <a:solidFill>
                  <a:schemeClr val="tx1">
                    <a:alpha val="0"/>
                  </a:schemeClr>
                </a:solidFill>
              </a:defRPr>
            </a:lvl1pPr>
            <a:lvl2pPr marL="0" indent="0">
              <a:spcAft>
                <a:spcPts val="0"/>
              </a:spcAft>
              <a:buFont typeface="Arial" panose="020B0604020202020204" pitchFamily="34" charset="0"/>
              <a:buNone/>
              <a:defRPr sz="100">
                <a:solidFill>
                  <a:schemeClr val="tx1">
                    <a:alpha val="0"/>
                  </a:schemeClr>
                </a:solidFill>
              </a:defRPr>
            </a:lvl2pPr>
            <a:lvl3pPr marL="0" indent="0">
              <a:spcAft>
                <a:spcPts val="0"/>
              </a:spcAft>
              <a:buNone/>
              <a:defRPr sz="100">
                <a:solidFill>
                  <a:schemeClr val="tx1">
                    <a:alpha val="0"/>
                  </a:schemeClr>
                </a:solidFill>
              </a:defRPr>
            </a:lvl3pPr>
            <a:lvl4pPr marL="0" indent="0">
              <a:spcAft>
                <a:spcPts val="0"/>
              </a:spcAft>
              <a:buNone/>
              <a:defRPr sz="100">
                <a:solidFill>
                  <a:schemeClr val="tx1">
                    <a:alpha val="0"/>
                  </a:schemeClr>
                </a:solidFill>
              </a:defRPr>
            </a:lvl4pPr>
            <a:lvl5pPr marL="0" indent="0">
              <a:spcAft>
                <a:spcPts val="0"/>
              </a:spcAft>
              <a:buNone/>
              <a:defRPr sz="100">
                <a:solidFill>
                  <a:schemeClr val="tx1">
                    <a:alpha val="0"/>
                  </a:schemeClr>
                </a:solidFill>
              </a:defRPr>
            </a:lvl5pPr>
            <a:lvl6pPr marL="0" indent="0">
              <a:spcAft>
                <a:spcPts val="0"/>
              </a:spcAft>
              <a:buNone/>
              <a:defRPr sz="100">
                <a:solidFill>
                  <a:schemeClr val="tx1">
                    <a:alpha val="0"/>
                  </a:schemeClr>
                </a:solidFill>
              </a:defRPr>
            </a:lvl6pPr>
            <a:lvl7pPr marL="0" indent="0">
              <a:spcAft>
                <a:spcPts val="0"/>
              </a:spcAft>
              <a:buNone/>
              <a:defRPr sz="100">
                <a:solidFill>
                  <a:schemeClr val="tx1">
                    <a:alpha val="0"/>
                  </a:schemeClr>
                </a:solidFill>
              </a:defRPr>
            </a:lvl7pPr>
            <a:lvl8pPr marL="0" indent="0">
              <a:spcAft>
                <a:spcPts val="0"/>
              </a:spcAft>
              <a:buNone/>
              <a:defRPr sz="100">
                <a:solidFill>
                  <a:schemeClr val="tx1">
                    <a:alpha val="0"/>
                  </a:schemeClr>
                </a:solidFill>
              </a:defRPr>
            </a:lvl8pPr>
            <a:lvl9pPr marL="0" indent="0">
              <a:spcAft>
                <a:spcPts val="0"/>
              </a:spcAft>
              <a:buNone/>
              <a:defRPr sz="100">
                <a:solidFill>
                  <a:schemeClr val="tx1">
                    <a:alpha val="0"/>
                  </a:schemeClr>
                </a:solidFill>
              </a:defRPr>
            </a:lvl9pPr>
          </a:lstStyle>
          <a:p>
            <a:pPr lvl="0"/>
            <a:r>
              <a:rPr lang="de-DE"/>
              <a:t> </a:t>
            </a:r>
          </a:p>
        </p:txBody>
      </p:sp>
      <p:sp>
        <p:nvSpPr>
          <p:cNvPr id="24" name="Textplatzhalter 22">
            <a:extLst>
              <a:ext uri="{FF2B5EF4-FFF2-40B4-BE49-F238E27FC236}">
                <a16:creationId xmlns:a16="http://schemas.microsoft.com/office/drawing/2014/main" id="{AC832C97-374F-41AD-8340-CDD8CA10DEA6}"/>
              </a:ext>
            </a:extLst>
          </p:cNvPr>
          <p:cNvSpPr>
            <a:spLocks noGrp="1"/>
          </p:cNvSpPr>
          <p:nvPr>
            <p:ph type="body" sz="quarter" idx="24" hasCustomPrompt="1"/>
          </p:nvPr>
        </p:nvSpPr>
        <p:spPr bwMode="gray">
          <a:xfrm>
            <a:off x="550863" y="4730577"/>
            <a:ext cx="11304000" cy="25200"/>
          </a:xfrm>
          <a:solidFill>
            <a:schemeClr val="tx1"/>
          </a:solidFill>
        </p:spPr>
        <p:txBody>
          <a:bodyPr/>
          <a:lstStyle>
            <a:lvl1pPr marL="0" indent="0">
              <a:spcAft>
                <a:spcPts val="0"/>
              </a:spcAft>
              <a:buFont typeface="Arial" panose="020B0604020202020204" pitchFamily="34" charset="0"/>
              <a:buNone/>
              <a:defRPr sz="100">
                <a:solidFill>
                  <a:schemeClr val="tx1">
                    <a:alpha val="0"/>
                  </a:schemeClr>
                </a:solidFill>
              </a:defRPr>
            </a:lvl1pPr>
            <a:lvl2pPr marL="0" indent="0">
              <a:spcAft>
                <a:spcPts val="0"/>
              </a:spcAft>
              <a:buFont typeface="Arial" panose="020B0604020202020204" pitchFamily="34" charset="0"/>
              <a:buNone/>
              <a:defRPr sz="100">
                <a:solidFill>
                  <a:schemeClr val="tx1">
                    <a:alpha val="0"/>
                  </a:schemeClr>
                </a:solidFill>
              </a:defRPr>
            </a:lvl2pPr>
            <a:lvl3pPr marL="0" indent="0">
              <a:spcAft>
                <a:spcPts val="0"/>
              </a:spcAft>
              <a:buNone/>
              <a:defRPr sz="100">
                <a:solidFill>
                  <a:schemeClr val="tx1">
                    <a:alpha val="0"/>
                  </a:schemeClr>
                </a:solidFill>
              </a:defRPr>
            </a:lvl3pPr>
            <a:lvl4pPr marL="0" indent="0">
              <a:spcAft>
                <a:spcPts val="0"/>
              </a:spcAft>
              <a:buNone/>
              <a:defRPr sz="100">
                <a:solidFill>
                  <a:schemeClr val="tx1">
                    <a:alpha val="0"/>
                  </a:schemeClr>
                </a:solidFill>
              </a:defRPr>
            </a:lvl4pPr>
            <a:lvl5pPr marL="0" indent="0">
              <a:spcAft>
                <a:spcPts val="0"/>
              </a:spcAft>
              <a:buNone/>
              <a:defRPr sz="100">
                <a:solidFill>
                  <a:schemeClr val="tx1">
                    <a:alpha val="0"/>
                  </a:schemeClr>
                </a:solidFill>
              </a:defRPr>
            </a:lvl5pPr>
            <a:lvl6pPr marL="0" indent="0">
              <a:spcAft>
                <a:spcPts val="0"/>
              </a:spcAft>
              <a:buNone/>
              <a:defRPr sz="100">
                <a:solidFill>
                  <a:schemeClr val="tx1">
                    <a:alpha val="0"/>
                  </a:schemeClr>
                </a:solidFill>
              </a:defRPr>
            </a:lvl6pPr>
            <a:lvl7pPr marL="0" indent="0">
              <a:spcAft>
                <a:spcPts val="0"/>
              </a:spcAft>
              <a:buNone/>
              <a:defRPr sz="100">
                <a:solidFill>
                  <a:schemeClr val="tx1">
                    <a:alpha val="0"/>
                  </a:schemeClr>
                </a:solidFill>
              </a:defRPr>
            </a:lvl7pPr>
            <a:lvl8pPr marL="0" indent="0">
              <a:spcAft>
                <a:spcPts val="0"/>
              </a:spcAft>
              <a:buNone/>
              <a:defRPr sz="100">
                <a:solidFill>
                  <a:schemeClr val="tx1">
                    <a:alpha val="0"/>
                  </a:schemeClr>
                </a:solidFill>
              </a:defRPr>
            </a:lvl8pPr>
            <a:lvl9pPr marL="0" indent="0">
              <a:spcAft>
                <a:spcPts val="0"/>
              </a:spcAft>
              <a:buNone/>
              <a:defRPr sz="100">
                <a:solidFill>
                  <a:schemeClr val="tx1">
                    <a:alpha val="0"/>
                  </a:schemeClr>
                </a:solidFill>
              </a:defRPr>
            </a:lvl9pPr>
          </a:lstStyle>
          <a:p>
            <a:pPr lvl="0"/>
            <a:r>
              <a:rPr lang="de-DE"/>
              <a:t> </a:t>
            </a:r>
          </a:p>
        </p:txBody>
      </p:sp>
      <p:sp>
        <p:nvSpPr>
          <p:cNvPr id="25" name="Textplatzhalter 14">
            <a:extLst>
              <a:ext uri="{FF2B5EF4-FFF2-40B4-BE49-F238E27FC236}">
                <a16:creationId xmlns:a16="http://schemas.microsoft.com/office/drawing/2014/main" id="{66AB1082-20AB-41AD-B278-DE91EFBBE711}"/>
              </a:ext>
            </a:extLst>
          </p:cNvPr>
          <p:cNvSpPr>
            <a:spLocks noGrp="1"/>
          </p:cNvSpPr>
          <p:nvPr>
            <p:ph type="body" sz="quarter" idx="25" hasCustomPrompt="1"/>
          </p:nvPr>
        </p:nvSpPr>
        <p:spPr bwMode="gray">
          <a:xfrm>
            <a:off x="551384" y="3249043"/>
            <a:ext cx="504000" cy="504000"/>
          </a:xfrm>
          <a:prstGeom prst="ellipse">
            <a:avLst/>
          </a:prstGeom>
          <a:solidFill>
            <a:schemeClr val="tx1"/>
          </a:solidFill>
        </p:spPr>
        <p:txBody>
          <a:bodyPr anchor="ctr"/>
          <a:lstStyle>
            <a:lvl1pPr marL="0" algn="ctr">
              <a:spcAft>
                <a:spcPts val="0"/>
              </a:spcAft>
              <a:buFontTx/>
              <a:buNone/>
              <a:defRPr sz="800" b="0">
                <a:solidFill>
                  <a:schemeClr val="bg1"/>
                </a:solidFill>
              </a:defRPr>
            </a:lvl1pPr>
            <a:lvl2pPr marL="0" algn="ctr">
              <a:spcAft>
                <a:spcPts val="0"/>
              </a:spcAft>
              <a:buFontTx/>
              <a:buNone/>
              <a:defRPr sz="800" b="0">
                <a:solidFill>
                  <a:schemeClr val="bg1"/>
                </a:solidFill>
              </a:defRPr>
            </a:lvl2pPr>
            <a:lvl3pPr marL="0" indent="0" algn="ctr">
              <a:spcAft>
                <a:spcPts val="0"/>
              </a:spcAft>
              <a:buFontTx/>
              <a:buNone/>
              <a:defRPr sz="800" b="0">
                <a:solidFill>
                  <a:schemeClr val="bg1"/>
                </a:solidFill>
              </a:defRPr>
            </a:lvl3pPr>
            <a:lvl4pPr marL="0" indent="0" algn="ctr">
              <a:spcAft>
                <a:spcPts val="0"/>
              </a:spcAft>
              <a:buFontTx/>
              <a:buNone/>
              <a:defRPr sz="800" b="0">
                <a:solidFill>
                  <a:schemeClr val="bg1"/>
                </a:solidFill>
              </a:defRPr>
            </a:lvl4pPr>
            <a:lvl5pPr marL="0" indent="0" algn="ctr">
              <a:spcAft>
                <a:spcPts val="0"/>
              </a:spcAft>
              <a:buFontTx/>
              <a:buNone/>
              <a:defRPr sz="800" b="0">
                <a:solidFill>
                  <a:schemeClr val="bg1"/>
                </a:solidFill>
              </a:defRPr>
            </a:lvl5pPr>
            <a:lvl6pPr marL="0" indent="0" algn="ctr">
              <a:spcAft>
                <a:spcPts val="0"/>
              </a:spcAft>
              <a:buFontTx/>
              <a:buNone/>
              <a:defRPr sz="800" b="0">
                <a:solidFill>
                  <a:schemeClr val="bg1"/>
                </a:solidFill>
              </a:defRPr>
            </a:lvl6pPr>
            <a:lvl7pPr marL="0" indent="0" algn="ctr">
              <a:spcAft>
                <a:spcPts val="0"/>
              </a:spcAft>
              <a:buFontTx/>
              <a:buNone/>
              <a:defRPr sz="800" b="0">
                <a:solidFill>
                  <a:schemeClr val="bg1"/>
                </a:solidFill>
              </a:defRPr>
            </a:lvl7pPr>
            <a:lvl8pPr marL="0" indent="0" algn="ctr">
              <a:spcAft>
                <a:spcPts val="0"/>
              </a:spcAft>
              <a:buFontTx/>
              <a:buNone/>
              <a:defRPr sz="800" b="0">
                <a:solidFill>
                  <a:schemeClr val="bg1"/>
                </a:solidFill>
              </a:defRPr>
            </a:lvl8pPr>
            <a:lvl9pPr marL="0" indent="0" algn="ctr">
              <a:spcAft>
                <a:spcPts val="0"/>
              </a:spcAft>
              <a:buFontTx/>
              <a:buNone/>
              <a:defRPr sz="800" b="0">
                <a:solidFill>
                  <a:schemeClr val="bg1"/>
                </a:solidFill>
              </a:defRPr>
            </a:lvl9pPr>
          </a:lstStyle>
          <a:p>
            <a:pPr lvl="0"/>
            <a:r>
              <a:rPr lang="de-DE"/>
              <a:t>Icon</a:t>
            </a:r>
          </a:p>
        </p:txBody>
      </p:sp>
      <p:sp>
        <p:nvSpPr>
          <p:cNvPr id="26" name="Textplatzhalter 14">
            <a:extLst>
              <a:ext uri="{FF2B5EF4-FFF2-40B4-BE49-F238E27FC236}">
                <a16:creationId xmlns:a16="http://schemas.microsoft.com/office/drawing/2014/main" id="{91AE273B-3F3B-4B51-A778-B4C80AE4347C}"/>
              </a:ext>
            </a:extLst>
          </p:cNvPr>
          <p:cNvSpPr>
            <a:spLocks noGrp="1"/>
          </p:cNvSpPr>
          <p:nvPr>
            <p:ph type="body" sz="quarter" idx="26" hasCustomPrompt="1"/>
          </p:nvPr>
        </p:nvSpPr>
        <p:spPr bwMode="gray">
          <a:xfrm>
            <a:off x="551384" y="4869312"/>
            <a:ext cx="504000" cy="504000"/>
          </a:xfrm>
          <a:prstGeom prst="ellipse">
            <a:avLst/>
          </a:prstGeom>
          <a:solidFill>
            <a:schemeClr val="tx1"/>
          </a:solidFill>
        </p:spPr>
        <p:txBody>
          <a:bodyPr anchor="ctr"/>
          <a:lstStyle>
            <a:lvl1pPr marL="0" algn="ctr">
              <a:spcAft>
                <a:spcPts val="0"/>
              </a:spcAft>
              <a:buFontTx/>
              <a:buNone/>
              <a:defRPr sz="800" b="0">
                <a:solidFill>
                  <a:schemeClr val="bg1"/>
                </a:solidFill>
              </a:defRPr>
            </a:lvl1pPr>
            <a:lvl2pPr marL="0" algn="ctr">
              <a:spcAft>
                <a:spcPts val="0"/>
              </a:spcAft>
              <a:buFontTx/>
              <a:buNone/>
              <a:defRPr sz="800" b="0">
                <a:solidFill>
                  <a:schemeClr val="bg1"/>
                </a:solidFill>
              </a:defRPr>
            </a:lvl2pPr>
            <a:lvl3pPr marL="0" indent="0" algn="ctr">
              <a:spcAft>
                <a:spcPts val="0"/>
              </a:spcAft>
              <a:buFontTx/>
              <a:buNone/>
              <a:defRPr sz="800" b="0">
                <a:solidFill>
                  <a:schemeClr val="bg1"/>
                </a:solidFill>
              </a:defRPr>
            </a:lvl3pPr>
            <a:lvl4pPr marL="0" indent="0" algn="ctr">
              <a:spcAft>
                <a:spcPts val="0"/>
              </a:spcAft>
              <a:buFontTx/>
              <a:buNone/>
              <a:defRPr sz="800" b="0">
                <a:solidFill>
                  <a:schemeClr val="bg1"/>
                </a:solidFill>
              </a:defRPr>
            </a:lvl4pPr>
            <a:lvl5pPr marL="0" indent="0" algn="ctr">
              <a:spcAft>
                <a:spcPts val="0"/>
              </a:spcAft>
              <a:buFontTx/>
              <a:buNone/>
              <a:defRPr sz="800" b="0">
                <a:solidFill>
                  <a:schemeClr val="bg1"/>
                </a:solidFill>
              </a:defRPr>
            </a:lvl5pPr>
            <a:lvl6pPr marL="0" indent="0" algn="ctr">
              <a:spcAft>
                <a:spcPts val="0"/>
              </a:spcAft>
              <a:buFontTx/>
              <a:buNone/>
              <a:defRPr sz="800" b="0">
                <a:solidFill>
                  <a:schemeClr val="bg1"/>
                </a:solidFill>
              </a:defRPr>
            </a:lvl6pPr>
            <a:lvl7pPr marL="0" indent="0" algn="ctr">
              <a:spcAft>
                <a:spcPts val="0"/>
              </a:spcAft>
              <a:buFontTx/>
              <a:buNone/>
              <a:defRPr sz="800" b="0">
                <a:solidFill>
                  <a:schemeClr val="bg1"/>
                </a:solidFill>
              </a:defRPr>
            </a:lvl7pPr>
            <a:lvl8pPr marL="0" indent="0" algn="ctr">
              <a:spcAft>
                <a:spcPts val="0"/>
              </a:spcAft>
              <a:buFontTx/>
              <a:buNone/>
              <a:defRPr sz="800" b="0">
                <a:solidFill>
                  <a:schemeClr val="bg1"/>
                </a:solidFill>
              </a:defRPr>
            </a:lvl8pPr>
            <a:lvl9pPr marL="0" indent="0" algn="ctr">
              <a:spcAft>
                <a:spcPts val="0"/>
              </a:spcAft>
              <a:buFontTx/>
              <a:buNone/>
              <a:defRPr sz="800" b="0">
                <a:solidFill>
                  <a:schemeClr val="bg1"/>
                </a:solidFill>
              </a:defRPr>
            </a:lvl9pPr>
          </a:lstStyle>
          <a:p>
            <a:pPr lvl="0"/>
            <a:r>
              <a:rPr lang="de-DE"/>
              <a:t>Icon</a:t>
            </a:r>
          </a:p>
        </p:txBody>
      </p:sp>
    </p:spTree>
    <p:extLst>
      <p:ext uri="{BB962C8B-B14F-4D97-AF65-F5344CB8AC3E}">
        <p14:creationId xmlns:p14="http://schemas.microsoft.com/office/powerpoint/2010/main" val="6886127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mplate Netzwerk">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2C67C456-FF66-43DC-B180-37BA3D816A42}"/>
              </a:ext>
            </a:extLst>
          </p:cNvPr>
          <p:cNvSpPr/>
          <p:nvPr userDrawn="1"/>
        </p:nvSpPr>
        <p:spPr bwMode="gray">
          <a:xfrm>
            <a:off x="0" y="404664"/>
            <a:ext cx="432000" cy="25200"/>
          </a:xfrm>
          <a:prstGeom prst="rect">
            <a:avLst/>
          </a:prstGeom>
          <a:solidFill>
            <a:srgbClr val="D9429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92000" rtlCol="0" anchor="ctr"/>
          <a:lstStyle/>
          <a:p>
            <a:r>
              <a:rPr lang="de-DE" sz="1000">
                <a:solidFill>
                  <a:schemeClr val="tx1"/>
                </a:solidFill>
              </a:rPr>
              <a:t>Netzwerk</a:t>
            </a:r>
            <a:endParaRPr lang="de-DE" sz="1000">
              <a:solidFill>
                <a:schemeClr val="tx1"/>
              </a:solidFill>
              <a:latin typeface="Segoe UI" panose="020B0502040204020203" pitchFamily="34" charset="0"/>
              <a:cs typeface="Segoe UI" panose="020B0502040204020203" pitchFamily="34" charset="0"/>
            </a:endParaRPr>
          </a:p>
        </p:txBody>
      </p:sp>
      <p:sp>
        <p:nvSpPr>
          <p:cNvPr id="2" name="Titel 1">
            <a:extLst>
              <a:ext uri="{FF2B5EF4-FFF2-40B4-BE49-F238E27FC236}">
                <a16:creationId xmlns:a16="http://schemas.microsoft.com/office/drawing/2014/main" id="{AA103474-4EBB-4B30-B1D2-6F6F5D799AB5}"/>
              </a:ext>
            </a:extLst>
          </p:cNvPr>
          <p:cNvSpPr>
            <a:spLocks noGrp="1"/>
          </p:cNvSpPr>
          <p:nvPr>
            <p:ph type="title"/>
          </p:nvPr>
        </p:nvSpPr>
        <p:spPr bwMode="gray"/>
        <p:txBody>
          <a:bodyPr/>
          <a:lstStyle/>
          <a:p>
            <a:r>
              <a:rPr lang="de-DE"/>
              <a:t>Mastertitelformat bearbeiten</a:t>
            </a:r>
          </a:p>
        </p:txBody>
      </p:sp>
      <p:sp>
        <p:nvSpPr>
          <p:cNvPr id="4" name="Fußzeilenplatzhalter 3">
            <a:extLst>
              <a:ext uri="{FF2B5EF4-FFF2-40B4-BE49-F238E27FC236}">
                <a16:creationId xmlns:a16="http://schemas.microsoft.com/office/drawing/2014/main" id="{976D4EE2-D83E-423F-862C-4526945969BB}"/>
              </a:ext>
            </a:extLst>
          </p:cNvPr>
          <p:cNvSpPr>
            <a:spLocks noGrp="1"/>
          </p:cNvSpPr>
          <p:nvPr>
            <p:ph type="ftr" sz="quarter" idx="11"/>
          </p:nvPr>
        </p:nvSpPr>
        <p:spPr bwMode="gray"/>
        <p:txBody>
          <a:bodyPr/>
          <a:lstStyle/>
          <a:p>
            <a:r>
              <a:rPr lang="de-DE"/>
              <a:t>DENEFF PowerPoint Master</a:t>
            </a:r>
          </a:p>
        </p:txBody>
      </p:sp>
      <p:sp>
        <p:nvSpPr>
          <p:cNvPr id="5" name="Foliennummernplatzhalter 4">
            <a:extLst>
              <a:ext uri="{FF2B5EF4-FFF2-40B4-BE49-F238E27FC236}">
                <a16:creationId xmlns:a16="http://schemas.microsoft.com/office/drawing/2014/main" id="{45A1933F-FFB9-489F-8D62-977CE088E776}"/>
              </a:ext>
            </a:extLst>
          </p:cNvPr>
          <p:cNvSpPr>
            <a:spLocks noGrp="1"/>
          </p:cNvSpPr>
          <p:nvPr>
            <p:ph type="sldNum" sz="quarter" idx="12"/>
          </p:nvPr>
        </p:nvSpPr>
        <p:spPr bwMode="gray"/>
        <p:txBody>
          <a:bodyPr/>
          <a:lstStyle/>
          <a:p>
            <a:fld id="{596A2A10-B827-4CCE-9EB2-A13B5A721707}" type="slidenum">
              <a:rPr lang="de-DE" smtClean="0"/>
              <a:t>‹Nr.›</a:t>
            </a:fld>
            <a:endParaRPr lang="de-DE"/>
          </a:p>
        </p:txBody>
      </p:sp>
      <p:sp>
        <p:nvSpPr>
          <p:cNvPr id="8" name="Textplatzhalter 7">
            <a:extLst>
              <a:ext uri="{FF2B5EF4-FFF2-40B4-BE49-F238E27FC236}">
                <a16:creationId xmlns:a16="http://schemas.microsoft.com/office/drawing/2014/main" id="{00E921AC-92AC-4FB7-A20D-05AB4BA21E93}"/>
              </a:ext>
            </a:extLst>
          </p:cNvPr>
          <p:cNvSpPr>
            <a:spLocks noGrp="1"/>
          </p:cNvSpPr>
          <p:nvPr>
            <p:ph type="body" sz="quarter" idx="13"/>
          </p:nvPr>
        </p:nvSpPr>
        <p:spPr bwMode="gray">
          <a:xfrm>
            <a:off x="4512216" y="1628775"/>
            <a:ext cx="3528000" cy="1368000"/>
          </a:xfrm>
        </p:spPr>
        <p:txBody>
          <a:bodyPr/>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Textplatzhalter 9">
            <a:extLst>
              <a:ext uri="{FF2B5EF4-FFF2-40B4-BE49-F238E27FC236}">
                <a16:creationId xmlns:a16="http://schemas.microsoft.com/office/drawing/2014/main" id="{22173212-6FFA-4853-AF8C-4782F2962079}"/>
              </a:ext>
            </a:extLst>
          </p:cNvPr>
          <p:cNvSpPr>
            <a:spLocks noGrp="1"/>
          </p:cNvSpPr>
          <p:nvPr>
            <p:ph type="body" sz="quarter" idx="14"/>
          </p:nvPr>
        </p:nvSpPr>
        <p:spPr bwMode="gray">
          <a:xfrm>
            <a:off x="8329038" y="1628775"/>
            <a:ext cx="3528000" cy="1368000"/>
          </a:xfrm>
        </p:spPr>
        <p:txBody>
          <a:bodyPr/>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3" name="Textplatzhalter 7">
            <a:extLst>
              <a:ext uri="{FF2B5EF4-FFF2-40B4-BE49-F238E27FC236}">
                <a16:creationId xmlns:a16="http://schemas.microsoft.com/office/drawing/2014/main" id="{225498F7-D488-4249-BA7D-354F1A54E275}"/>
              </a:ext>
            </a:extLst>
          </p:cNvPr>
          <p:cNvSpPr>
            <a:spLocks noGrp="1"/>
          </p:cNvSpPr>
          <p:nvPr>
            <p:ph type="body" sz="quarter" idx="15"/>
          </p:nvPr>
        </p:nvSpPr>
        <p:spPr bwMode="gray">
          <a:xfrm>
            <a:off x="1271464" y="1628775"/>
            <a:ext cx="2952000" cy="1368000"/>
          </a:xfrm>
        </p:spPr>
        <p:txBody>
          <a:bodyPr/>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Textplatzhalter 14">
            <a:extLst>
              <a:ext uri="{FF2B5EF4-FFF2-40B4-BE49-F238E27FC236}">
                <a16:creationId xmlns:a16="http://schemas.microsoft.com/office/drawing/2014/main" id="{ECFF0E3A-4933-4ECD-9BE2-20FA4AC2EA93}"/>
              </a:ext>
            </a:extLst>
          </p:cNvPr>
          <p:cNvSpPr>
            <a:spLocks noGrp="1"/>
          </p:cNvSpPr>
          <p:nvPr>
            <p:ph type="body" sz="quarter" idx="16" hasCustomPrompt="1"/>
          </p:nvPr>
        </p:nvSpPr>
        <p:spPr bwMode="gray">
          <a:xfrm>
            <a:off x="551384" y="1628856"/>
            <a:ext cx="504000" cy="504000"/>
          </a:xfrm>
          <a:prstGeom prst="ellipse">
            <a:avLst/>
          </a:prstGeom>
          <a:solidFill>
            <a:schemeClr val="tx1"/>
          </a:solidFill>
        </p:spPr>
        <p:txBody>
          <a:bodyPr anchor="ctr"/>
          <a:lstStyle>
            <a:lvl1pPr marL="0" algn="ctr">
              <a:spcAft>
                <a:spcPts val="0"/>
              </a:spcAft>
              <a:buFontTx/>
              <a:buNone/>
              <a:defRPr sz="800" b="0">
                <a:solidFill>
                  <a:schemeClr val="bg1"/>
                </a:solidFill>
              </a:defRPr>
            </a:lvl1pPr>
            <a:lvl2pPr marL="0" algn="ctr">
              <a:spcAft>
                <a:spcPts val="0"/>
              </a:spcAft>
              <a:buFontTx/>
              <a:buNone/>
              <a:defRPr sz="800" b="0">
                <a:solidFill>
                  <a:schemeClr val="bg1"/>
                </a:solidFill>
              </a:defRPr>
            </a:lvl2pPr>
            <a:lvl3pPr marL="0" indent="0" algn="ctr">
              <a:spcAft>
                <a:spcPts val="0"/>
              </a:spcAft>
              <a:buFontTx/>
              <a:buNone/>
              <a:defRPr sz="800" b="0">
                <a:solidFill>
                  <a:schemeClr val="bg1"/>
                </a:solidFill>
              </a:defRPr>
            </a:lvl3pPr>
            <a:lvl4pPr marL="0" indent="0" algn="ctr">
              <a:spcAft>
                <a:spcPts val="0"/>
              </a:spcAft>
              <a:buFontTx/>
              <a:buNone/>
              <a:defRPr sz="800" b="0">
                <a:solidFill>
                  <a:schemeClr val="bg1"/>
                </a:solidFill>
              </a:defRPr>
            </a:lvl4pPr>
            <a:lvl5pPr marL="0" indent="0" algn="ctr">
              <a:spcAft>
                <a:spcPts val="0"/>
              </a:spcAft>
              <a:buFontTx/>
              <a:buNone/>
              <a:defRPr sz="800" b="0">
                <a:solidFill>
                  <a:schemeClr val="bg1"/>
                </a:solidFill>
              </a:defRPr>
            </a:lvl5pPr>
            <a:lvl6pPr marL="0" indent="0" algn="ctr">
              <a:spcAft>
                <a:spcPts val="0"/>
              </a:spcAft>
              <a:buFontTx/>
              <a:buNone/>
              <a:defRPr sz="800" b="0">
                <a:solidFill>
                  <a:schemeClr val="bg1"/>
                </a:solidFill>
              </a:defRPr>
            </a:lvl6pPr>
            <a:lvl7pPr marL="0" indent="0" algn="ctr">
              <a:spcAft>
                <a:spcPts val="0"/>
              </a:spcAft>
              <a:buFontTx/>
              <a:buNone/>
              <a:defRPr sz="800" b="0">
                <a:solidFill>
                  <a:schemeClr val="bg1"/>
                </a:solidFill>
              </a:defRPr>
            </a:lvl7pPr>
            <a:lvl8pPr marL="0" indent="0" algn="ctr">
              <a:spcAft>
                <a:spcPts val="0"/>
              </a:spcAft>
              <a:buFontTx/>
              <a:buNone/>
              <a:defRPr sz="800" b="0">
                <a:solidFill>
                  <a:schemeClr val="bg1"/>
                </a:solidFill>
              </a:defRPr>
            </a:lvl8pPr>
            <a:lvl9pPr marL="0" indent="0" algn="ctr">
              <a:spcAft>
                <a:spcPts val="0"/>
              </a:spcAft>
              <a:buFontTx/>
              <a:buNone/>
              <a:defRPr sz="800" b="0">
                <a:solidFill>
                  <a:schemeClr val="bg1"/>
                </a:solidFill>
              </a:defRPr>
            </a:lvl9pPr>
          </a:lstStyle>
          <a:p>
            <a:pPr lvl="0"/>
            <a:r>
              <a:rPr lang="de-DE"/>
              <a:t>Icon</a:t>
            </a:r>
          </a:p>
        </p:txBody>
      </p:sp>
      <p:sp>
        <p:nvSpPr>
          <p:cNvPr id="16" name="Textplatzhalter 7">
            <a:extLst>
              <a:ext uri="{FF2B5EF4-FFF2-40B4-BE49-F238E27FC236}">
                <a16:creationId xmlns:a16="http://schemas.microsoft.com/office/drawing/2014/main" id="{691B6F3C-0BF3-4FFD-8DEE-5189EF38FC64}"/>
              </a:ext>
            </a:extLst>
          </p:cNvPr>
          <p:cNvSpPr>
            <a:spLocks noGrp="1"/>
          </p:cNvSpPr>
          <p:nvPr>
            <p:ph type="body" sz="quarter" idx="17"/>
          </p:nvPr>
        </p:nvSpPr>
        <p:spPr bwMode="gray">
          <a:xfrm>
            <a:off x="4512216" y="3249043"/>
            <a:ext cx="3528000" cy="1368000"/>
          </a:xfrm>
        </p:spPr>
        <p:txBody>
          <a:bodyPr/>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7" name="Textplatzhalter 9">
            <a:extLst>
              <a:ext uri="{FF2B5EF4-FFF2-40B4-BE49-F238E27FC236}">
                <a16:creationId xmlns:a16="http://schemas.microsoft.com/office/drawing/2014/main" id="{CC24B697-0FF3-477E-89AD-97AB06027075}"/>
              </a:ext>
            </a:extLst>
          </p:cNvPr>
          <p:cNvSpPr>
            <a:spLocks noGrp="1"/>
          </p:cNvSpPr>
          <p:nvPr>
            <p:ph type="body" sz="quarter" idx="18"/>
          </p:nvPr>
        </p:nvSpPr>
        <p:spPr bwMode="gray">
          <a:xfrm>
            <a:off x="8329038" y="3249043"/>
            <a:ext cx="3528000" cy="1368000"/>
          </a:xfrm>
        </p:spPr>
        <p:txBody>
          <a:bodyPr/>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8" name="Textplatzhalter 7">
            <a:extLst>
              <a:ext uri="{FF2B5EF4-FFF2-40B4-BE49-F238E27FC236}">
                <a16:creationId xmlns:a16="http://schemas.microsoft.com/office/drawing/2014/main" id="{C949FEB1-BBF0-4CF9-B92F-576C2CB6AC78}"/>
              </a:ext>
            </a:extLst>
          </p:cNvPr>
          <p:cNvSpPr>
            <a:spLocks noGrp="1"/>
          </p:cNvSpPr>
          <p:nvPr>
            <p:ph type="body" sz="quarter" idx="19"/>
          </p:nvPr>
        </p:nvSpPr>
        <p:spPr bwMode="gray">
          <a:xfrm>
            <a:off x="1271464" y="3249043"/>
            <a:ext cx="2952000" cy="1368000"/>
          </a:xfrm>
        </p:spPr>
        <p:txBody>
          <a:bodyPr/>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Textplatzhalter 7">
            <a:extLst>
              <a:ext uri="{FF2B5EF4-FFF2-40B4-BE49-F238E27FC236}">
                <a16:creationId xmlns:a16="http://schemas.microsoft.com/office/drawing/2014/main" id="{5D559EDF-FB3E-471F-9CD8-A1AEF5C989D3}"/>
              </a:ext>
            </a:extLst>
          </p:cNvPr>
          <p:cNvSpPr>
            <a:spLocks noGrp="1"/>
          </p:cNvSpPr>
          <p:nvPr>
            <p:ph type="body" sz="quarter" idx="20"/>
          </p:nvPr>
        </p:nvSpPr>
        <p:spPr bwMode="gray">
          <a:xfrm>
            <a:off x="4512216" y="4869312"/>
            <a:ext cx="3528000" cy="1368000"/>
          </a:xfrm>
        </p:spPr>
        <p:txBody>
          <a:bodyPr/>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0" name="Textplatzhalter 9">
            <a:extLst>
              <a:ext uri="{FF2B5EF4-FFF2-40B4-BE49-F238E27FC236}">
                <a16:creationId xmlns:a16="http://schemas.microsoft.com/office/drawing/2014/main" id="{82D0A9EF-A512-4AA1-9D61-7740214AE1AF}"/>
              </a:ext>
            </a:extLst>
          </p:cNvPr>
          <p:cNvSpPr>
            <a:spLocks noGrp="1"/>
          </p:cNvSpPr>
          <p:nvPr>
            <p:ph type="body" sz="quarter" idx="21"/>
          </p:nvPr>
        </p:nvSpPr>
        <p:spPr bwMode="gray">
          <a:xfrm>
            <a:off x="8329038" y="4869312"/>
            <a:ext cx="3528000" cy="1368000"/>
          </a:xfrm>
        </p:spPr>
        <p:txBody>
          <a:bodyPr/>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1" name="Textplatzhalter 7">
            <a:extLst>
              <a:ext uri="{FF2B5EF4-FFF2-40B4-BE49-F238E27FC236}">
                <a16:creationId xmlns:a16="http://schemas.microsoft.com/office/drawing/2014/main" id="{C7E7771D-F6E0-4630-8E7D-67B24182BAA1}"/>
              </a:ext>
            </a:extLst>
          </p:cNvPr>
          <p:cNvSpPr>
            <a:spLocks noGrp="1"/>
          </p:cNvSpPr>
          <p:nvPr>
            <p:ph type="body" sz="quarter" idx="22"/>
          </p:nvPr>
        </p:nvSpPr>
        <p:spPr bwMode="gray">
          <a:xfrm>
            <a:off x="1271464" y="4869312"/>
            <a:ext cx="2952000" cy="1368000"/>
          </a:xfrm>
        </p:spPr>
        <p:txBody>
          <a:bodyPr/>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3" name="Textplatzhalter 22">
            <a:extLst>
              <a:ext uri="{FF2B5EF4-FFF2-40B4-BE49-F238E27FC236}">
                <a16:creationId xmlns:a16="http://schemas.microsoft.com/office/drawing/2014/main" id="{B943FA1B-2CB0-45FD-A72B-F21651B7536E}"/>
              </a:ext>
            </a:extLst>
          </p:cNvPr>
          <p:cNvSpPr>
            <a:spLocks noGrp="1"/>
          </p:cNvSpPr>
          <p:nvPr>
            <p:ph type="body" sz="quarter" idx="23" hasCustomPrompt="1"/>
          </p:nvPr>
        </p:nvSpPr>
        <p:spPr bwMode="gray">
          <a:xfrm>
            <a:off x="550863" y="3110309"/>
            <a:ext cx="11304000" cy="25200"/>
          </a:xfrm>
          <a:solidFill>
            <a:schemeClr val="tx1"/>
          </a:solidFill>
        </p:spPr>
        <p:txBody>
          <a:bodyPr/>
          <a:lstStyle>
            <a:lvl1pPr marL="0" indent="0">
              <a:spcAft>
                <a:spcPts val="0"/>
              </a:spcAft>
              <a:buFont typeface="Arial" panose="020B0604020202020204" pitchFamily="34" charset="0"/>
              <a:buNone/>
              <a:defRPr sz="100">
                <a:solidFill>
                  <a:schemeClr val="tx1">
                    <a:alpha val="0"/>
                  </a:schemeClr>
                </a:solidFill>
              </a:defRPr>
            </a:lvl1pPr>
            <a:lvl2pPr marL="0" indent="0">
              <a:spcAft>
                <a:spcPts val="0"/>
              </a:spcAft>
              <a:buFont typeface="Arial" panose="020B0604020202020204" pitchFamily="34" charset="0"/>
              <a:buNone/>
              <a:defRPr sz="100">
                <a:solidFill>
                  <a:schemeClr val="tx1">
                    <a:alpha val="0"/>
                  </a:schemeClr>
                </a:solidFill>
              </a:defRPr>
            </a:lvl2pPr>
            <a:lvl3pPr marL="0" indent="0">
              <a:spcAft>
                <a:spcPts val="0"/>
              </a:spcAft>
              <a:buNone/>
              <a:defRPr sz="100">
                <a:solidFill>
                  <a:schemeClr val="tx1">
                    <a:alpha val="0"/>
                  </a:schemeClr>
                </a:solidFill>
              </a:defRPr>
            </a:lvl3pPr>
            <a:lvl4pPr marL="0" indent="0">
              <a:spcAft>
                <a:spcPts val="0"/>
              </a:spcAft>
              <a:buNone/>
              <a:defRPr sz="100">
                <a:solidFill>
                  <a:schemeClr val="tx1">
                    <a:alpha val="0"/>
                  </a:schemeClr>
                </a:solidFill>
              </a:defRPr>
            </a:lvl4pPr>
            <a:lvl5pPr marL="0" indent="0">
              <a:spcAft>
                <a:spcPts val="0"/>
              </a:spcAft>
              <a:buNone/>
              <a:defRPr sz="100">
                <a:solidFill>
                  <a:schemeClr val="tx1">
                    <a:alpha val="0"/>
                  </a:schemeClr>
                </a:solidFill>
              </a:defRPr>
            </a:lvl5pPr>
            <a:lvl6pPr marL="0" indent="0">
              <a:spcAft>
                <a:spcPts val="0"/>
              </a:spcAft>
              <a:buNone/>
              <a:defRPr sz="100">
                <a:solidFill>
                  <a:schemeClr val="tx1">
                    <a:alpha val="0"/>
                  </a:schemeClr>
                </a:solidFill>
              </a:defRPr>
            </a:lvl6pPr>
            <a:lvl7pPr marL="0" indent="0">
              <a:spcAft>
                <a:spcPts val="0"/>
              </a:spcAft>
              <a:buNone/>
              <a:defRPr sz="100">
                <a:solidFill>
                  <a:schemeClr val="tx1">
                    <a:alpha val="0"/>
                  </a:schemeClr>
                </a:solidFill>
              </a:defRPr>
            </a:lvl7pPr>
            <a:lvl8pPr marL="0" indent="0">
              <a:spcAft>
                <a:spcPts val="0"/>
              </a:spcAft>
              <a:buNone/>
              <a:defRPr sz="100">
                <a:solidFill>
                  <a:schemeClr val="tx1">
                    <a:alpha val="0"/>
                  </a:schemeClr>
                </a:solidFill>
              </a:defRPr>
            </a:lvl8pPr>
            <a:lvl9pPr marL="0" indent="0">
              <a:spcAft>
                <a:spcPts val="0"/>
              </a:spcAft>
              <a:buNone/>
              <a:defRPr sz="100">
                <a:solidFill>
                  <a:schemeClr val="tx1">
                    <a:alpha val="0"/>
                  </a:schemeClr>
                </a:solidFill>
              </a:defRPr>
            </a:lvl9pPr>
          </a:lstStyle>
          <a:p>
            <a:pPr lvl="0"/>
            <a:r>
              <a:rPr lang="de-DE"/>
              <a:t> </a:t>
            </a:r>
          </a:p>
        </p:txBody>
      </p:sp>
      <p:sp>
        <p:nvSpPr>
          <p:cNvPr id="24" name="Textplatzhalter 22">
            <a:extLst>
              <a:ext uri="{FF2B5EF4-FFF2-40B4-BE49-F238E27FC236}">
                <a16:creationId xmlns:a16="http://schemas.microsoft.com/office/drawing/2014/main" id="{AC832C97-374F-41AD-8340-CDD8CA10DEA6}"/>
              </a:ext>
            </a:extLst>
          </p:cNvPr>
          <p:cNvSpPr>
            <a:spLocks noGrp="1"/>
          </p:cNvSpPr>
          <p:nvPr>
            <p:ph type="body" sz="quarter" idx="24" hasCustomPrompt="1"/>
          </p:nvPr>
        </p:nvSpPr>
        <p:spPr bwMode="gray">
          <a:xfrm>
            <a:off x="550863" y="4730577"/>
            <a:ext cx="11304000" cy="25200"/>
          </a:xfrm>
          <a:solidFill>
            <a:schemeClr val="tx1"/>
          </a:solidFill>
        </p:spPr>
        <p:txBody>
          <a:bodyPr/>
          <a:lstStyle>
            <a:lvl1pPr marL="0" indent="0">
              <a:spcAft>
                <a:spcPts val="0"/>
              </a:spcAft>
              <a:buFont typeface="Arial" panose="020B0604020202020204" pitchFamily="34" charset="0"/>
              <a:buNone/>
              <a:defRPr sz="100">
                <a:solidFill>
                  <a:schemeClr val="tx1">
                    <a:alpha val="0"/>
                  </a:schemeClr>
                </a:solidFill>
              </a:defRPr>
            </a:lvl1pPr>
            <a:lvl2pPr marL="0" indent="0">
              <a:spcAft>
                <a:spcPts val="0"/>
              </a:spcAft>
              <a:buFont typeface="Arial" panose="020B0604020202020204" pitchFamily="34" charset="0"/>
              <a:buNone/>
              <a:defRPr sz="100">
                <a:solidFill>
                  <a:schemeClr val="tx1">
                    <a:alpha val="0"/>
                  </a:schemeClr>
                </a:solidFill>
              </a:defRPr>
            </a:lvl2pPr>
            <a:lvl3pPr marL="0" indent="0">
              <a:spcAft>
                <a:spcPts val="0"/>
              </a:spcAft>
              <a:buNone/>
              <a:defRPr sz="100">
                <a:solidFill>
                  <a:schemeClr val="tx1">
                    <a:alpha val="0"/>
                  </a:schemeClr>
                </a:solidFill>
              </a:defRPr>
            </a:lvl3pPr>
            <a:lvl4pPr marL="0" indent="0">
              <a:spcAft>
                <a:spcPts val="0"/>
              </a:spcAft>
              <a:buNone/>
              <a:defRPr sz="100">
                <a:solidFill>
                  <a:schemeClr val="tx1">
                    <a:alpha val="0"/>
                  </a:schemeClr>
                </a:solidFill>
              </a:defRPr>
            </a:lvl4pPr>
            <a:lvl5pPr marL="0" indent="0">
              <a:spcAft>
                <a:spcPts val="0"/>
              </a:spcAft>
              <a:buNone/>
              <a:defRPr sz="100">
                <a:solidFill>
                  <a:schemeClr val="tx1">
                    <a:alpha val="0"/>
                  </a:schemeClr>
                </a:solidFill>
              </a:defRPr>
            </a:lvl5pPr>
            <a:lvl6pPr marL="0" indent="0">
              <a:spcAft>
                <a:spcPts val="0"/>
              </a:spcAft>
              <a:buNone/>
              <a:defRPr sz="100">
                <a:solidFill>
                  <a:schemeClr val="tx1">
                    <a:alpha val="0"/>
                  </a:schemeClr>
                </a:solidFill>
              </a:defRPr>
            </a:lvl6pPr>
            <a:lvl7pPr marL="0" indent="0">
              <a:spcAft>
                <a:spcPts val="0"/>
              </a:spcAft>
              <a:buNone/>
              <a:defRPr sz="100">
                <a:solidFill>
                  <a:schemeClr val="tx1">
                    <a:alpha val="0"/>
                  </a:schemeClr>
                </a:solidFill>
              </a:defRPr>
            </a:lvl7pPr>
            <a:lvl8pPr marL="0" indent="0">
              <a:spcAft>
                <a:spcPts val="0"/>
              </a:spcAft>
              <a:buNone/>
              <a:defRPr sz="100">
                <a:solidFill>
                  <a:schemeClr val="tx1">
                    <a:alpha val="0"/>
                  </a:schemeClr>
                </a:solidFill>
              </a:defRPr>
            </a:lvl8pPr>
            <a:lvl9pPr marL="0" indent="0">
              <a:spcAft>
                <a:spcPts val="0"/>
              </a:spcAft>
              <a:buNone/>
              <a:defRPr sz="100">
                <a:solidFill>
                  <a:schemeClr val="tx1">
                    <a:alpha val="0"/>
                  </a:schemeClr>
                </a:solidFill>
              </a:defRPr>
            </a:lvl9pPr>
          </a:lstStyle>
          <a:p>
            <a:pPr lvl="0"/>
            <a:r>
              <a:rPr lang="de-DE"/>
              <a:t> </a:t>
            </a:r>
          </a:p>
        </p:txBody>
      </p:sp>
      <p:sp>
        <p:nvSpPr>
          <p:cNvPr id="25" name="Textplatzhalter 14">
            <a:extLst>
              <a:ext uri="{FF2B5EF4-FFF2-40B4-BE49-F238E27FC236}">
                <a16:creationId xmlns:a16="http://schemas.microsoft.com/office/drawing/2014/main" id="{66AB1082-20AB-41AD-B278-DE91EFBBE711}"/>
              </a:ext>
            </a:extLst>
          </p:cNvPr>
          <p:cNvSpPr>
            <a:spLocks noGrp="1"/>
          </p:cNvSpPr>
          <p:nvPr>
            <p:ph type="body" sz="quarter" idx="25" hasCustomPrompt="1"/>
          </p:nvPr>
        </p:nvSpPr>
        <p:spPr bwMode="gray">
          <a:xfrm>
            <a:off x="551384" y="3249043"/>
            <a:ext cx="504000" cy="504000"/>
          </a:xfrm>
          <a:prstGeom prst="ellipse">
            <a:avLst/>
          </a:prstGeom>
          <a:solidFill>
            <a:schemeClr val="tx1"/>
          </a:solidFill>
        </p:spPr>
        <p:txBody>
          <a:bodyPr anchor="ctr"/>
          <a:lstStyle>
            <a:lvl1pPr marL="0" algn="ctr">
              <a:spcAft>
                <a:spcPts val="0"/>
              </a:spcAft>
              <a:buFontTx/>
              <a:buNone/>
              <a:defRPr sz="800" b="0">
                <a:solidFill>
                  <a:schemeClr val="bg1"/>
                </a:solidFill>
              </a:defRPr>
            </a:lvl1pPr>
            <a:lvl2pPr marL="0" algn="ctr">
              <a:spcAft>
                <a:spcPts val="0"/>
              </a:spcAft>
              <a:buFontTx/>
              <a:buNone/>
              <a:defRPr sz="800" b="0">
                <a:solidFill>
                  <a:schemeClr val="bg1"/>
                </a:solidFill>
              </a:defRPr>
            </a:lvl2pPr>
            <a:lvl3pPr marL="0" indent="0" algn="ctr">
              <a:spcAft>
                <a:spcPts val="0"/>
              </a:spcAft>
              <a:buFontTx/>
              <a:buNone/>
              <a:defRPr sz="800" b="0">
                <a:solidFill>
                  <a:schemeClr val="bg1"/>
                </a:solidFill>
              </a:defRPr>
            </a:lvl3pPr>
            <a:lvl4pPr marL="0" indent="0" algn="ctr">
              <a:spcAft>
                <a:spcPts val="0"/>
              </a:spcAft>
              <a:buFontTx/>
              <a:buNone/>
              <a:defRPr sz="800" b="0">
                <a:solidFill>
                  <a:schemeClr val="bg1"/>
                </a:solidFill>
              </a:defRPr>
            </a:lvl4pPr>
            <a:lvl5pPr marL="0" indent="0" algn="ctr">
              <a:spcAft>
                <a:spcPts val="0"/>
              </a:spcAft>
              <a:buFontTx/>
              <a:buNone/>
              <a:defRPr sz="800" b="0">
                <a:solidFill>
                  <a:schemeClr val="bg1"/>
                </a:solidFill>
              </a:defRPr>
            </a:lvl5pPr>
            <a:lvl6pPr marL="0" indent="0" algn="ctr">
              <a:spcAft>
                <a:spcPts val="0"/>
              </a:spcAft>
              <a:buFontTx/>
              <a:buNone/>
              <a:defRPr sz="800" b="0">
                <a:solidFill>
                  <a:schemeClr val="bg1"/>
                </a:solidFill>
              </a:defRPr>
            </a:lvl6pPr>
            <a:lvl7pPr marL="0" indent="0" algn="ctr">
              <a:spcAft>
                <a:spcPts val="0"/>
              </a:spcAft>
              <a:buFontTx/>
              <a:buNone/>
              <a:defRPr sz="800" b="0">
                <a:solidFill>
                  <a:schemeClr val="bg1"/>
                </a:solidFill>
              </a:defRPr>
            </a:lvl7pPr>
            <a:lvl8pPr marL="0" indent="0" algn="ctr">
              <a:spcAft>
                <a:spcPts val="0"/>
              </a:spcAft>
              <a:buFontTx/>
              <a:buNone/>
              <a:defRPr sz="800" b="0">
                <a:solidFill>
                  <a:schemeClr val="bg1"/>
                </a:solidFill>
              </a:defRPr>
            </a:lvl8pPr>
            <a:lvl9pPr marL="0" indent="0" algn="ctr">
              <a:spcAft>
                <a:spcPts val="0"/>
              </a:spcAft>
              <a:buFontTx/>
              <a:buNone/>
              <a:defRPr sz="800" b="0">
                <a:solidFill>
                  <a:schemeClr val="bg1"/>
                </a:solidFill>
              </a:defRPr>
            </a:lvl9pPr>
          </a:lstStyle>
          <a:p>
            <a:pPr lvl="0"/>
            <a:r>
              <a:rPr lang="de-DE"/>
              <a:t>Icon</a:t>
            </a:r>
          </a:p>
        </p:txBody>
      </p:sp>
      <p:sp>
        <p:nvSpPr>
          <p:cNvPr id="26" name="Textplatzhalter 14">
            <a:extLst>
              <a:ext uri="{FF2B5EF4-FFF2-40B4-BE49-F238E27FC236}">
                <a16:creationId xmlns:a16="http://schemas.microsoft.com/office/drawing/2014/main" id="{91AE273B-3F3B-4B51-A778-B4C80AE4347C}"/>
              </a:ext>
            </a:extLst>
          </p:cNvPr>
          <p:cNvSpPr>
            <a:spLocks noGrp="1"/>
          </p:cNvSpPr>
          <p:nvPr>
            <p:ph type="body" sz="quarter" idx="26" hasCustomPrompt="1"/>
          </p:nvPr>
        </p:nvSpPr>
        <p:spPr bwMode="gray">
          <a:xfrm>
            <a:off x="551384" y="4869312"/>
            <a:ext cx="504000" cy="504000"/>
          </a:xfrm>
          <a:prstGeom prst="ellipse">
            <a:avLst/>
          </a:prstGeom>
          <a:solidFill>
            <a:schemeClr val="tx1"/>
          </a:solidFill>
        </p:spPr>
        <p:txBody>
          <a:bodyPr anchor="ctr"/>
          <a:lstStyle>
            <a:lvl1pPr marL="0" algn="ctr">
              <a:spcAft>
                <a:spcPts val="0"/>
              </a:spcAft>
              <a:buFontTx/>
              <a:buNone/>
              <a:defRPr sz="800" b="0">
                <a:solidFill>
                  <a:schemeClr val="bg1"/>
                </a:solidFill>
              </a:defRPr>
            </a:lvl1pPr>
            <a:lvl2pPr marL="0" algn="ctr">
              <a:spcAft>
                <a:spcPts val="0"/>
              </a:spcAft>
              <a:buFontTx/>
              <a:buNone/>
              <a:defRPr sz="800" b="0">
                <a:solidFill>
                  <a:schemeClr val="bg1"/>
                </a:solidFill>
              </a:defRPr>
            </a:lvl2pPr>
            <a:lvl3pPr marL="0" indent="0" algn="ctr">
              <a:spcAft>
                <a:spcPts val="0"/>
              </a:spcAft>
              <a:buFontTx/>
              <a:buNone/>
              <a:defRPr sz="800" b="0">
                <a:solidFill>
                  <a:schemeClr val="bg1"/>
                </a:solidFill>
              </a:defRPr>
            </a:lvl3pPr>
            <a:lvl4pPr marL="0" indent="0" algn="ctr">
              <a:spcAft>
                <a:spcPts val="0"/>
              </a:spcAft>
              <a:buFontTx/>
              <a:buNone/>
              <a:defRPr sz="800" b="0">
                <a:solidFill>
                  <a:schemeClr val="bg1"/>
                </a:solidFill>
              </a:defRPr>
            </a:lvl4pPr>
            <a:lvl5pPr marL="0" indent="0" algn="ctr">
              <a:spcAft>
                <a:spcPts val="0"/>
              </a:spcAft>
              <a:buFontTx/>
              <a:buNone/>
              <a:defRPr sz="800" b="0">
                <a:solidFill>
                  <a:schemeClr val="bg1"/>
                </a:solidFill>
              </a:defRPr>
            </a:lvl5pPr>
            <a:lvl6pPr marL="0" indent="0" algn="ctr">
              <a:spcAft>
                <a:spcPts val="0"/>
              </a:spcAft>
              <a:buFontTx/>
              <a:buNone/>
              <a:defRPr sz="800" b="0">
                <a:solidFill>
                  <a:schemeClr val="bg1"/>
                </a:solidFill>
              </a:defRPr>
            </a:lvl6pPr>
            <a:lvl7pPr marL="0" indent="0" algn="ctr">
              <a:spcAft>
                <a:spcPts val="0"/>
              </a:spcAft>
              <a:buFontTx/>
              <a:buNone/>
              <a:defRPr sz="800" b="0">
                <a:solidFill>
                  <a:schemeClr val="bg1"/>
                </a:solidFill>
              </a:defRPr>
            </a:lvl7pPr>
            <a:lvl8pPr marL="0" indent="0" algn="ctr">
              <a:spcAft>
                <a:spcPts val="0"/>
              </a:spcAft>
              <a:buFontTx/>
              <a:buNone/>
              <a:defRPr sz="800" b="0">
                <a:solidFill>
                  <a:schemeClr val="bg1"/>
                </a:solidFill>
              </a:defRPr>
            </a:lvl8pPr>
            <a:lvl9pPr marL="0" indent="0" algn="ctr">
              <a:spcAft>
                <a:spcPts val="0"/>
              </a:spcAft>
              <a:buFontTx/>
              <a:buNone/>
              <a:defRPr sz="800" b="0">
                <a:solidFill>
                  <a:schemeClr val="bg1"/>
                </a:solidFill>
              </a:defRPr>
            </a:lvl9pPr>
          </a:lstStyle>
          <a:p>
            <a:pPr lvl="0"/>
            <a:r>
              <a:rPr lang="de-DE"/>
              <a:t>Icon</a:t>
            </a:r>
          </a:p>
        </p:txBody>
      </p:sp>
    </p:spTree>
    <p:extLst>
      <p:ext uri="{BB962C8B-B14F-4D97-AF65-F5344CB8AC3E}">
        <p14:creationId xmlns:p14="http://schemas.microsoft.com/office/powerpoint/2010/main" val="15749398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as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A103474-4EBB-4B30-B1D2-6F6F5D799AB5}"/>
              </a:ext>
            </a:extLst>
          </p:cNvPr>
          <p:cNvSpPr>
            <a:spLocks noGrp="1"/>
          </p:cNvSpPr>
          <p:nvPr>
            <p:ph type="title"/>
          </p:nvPr>
        </p:nvSpPr>
        <p:spPr bwMode="gray"/>
        <p:txBody>
          <a:bodyPr/>
          <a:lstStyle/>
          <a:p>
            <a:r>
              <a:rPr lang="de-DE"/>
              <a:t>Mastertitelformat bearbeiten</a:t>
            </a:r>
          </a:p>
        </p:txBody>
      </p:sp>
      <p:sp>
        <p:nvSpPr>
          <p:cNvPr id="4" name="Fußzeilenplatzhalter 3">
            <a:extLst>
              <a:ext uri="{FF2B5EF4-FFF2-40B4-BE49-F238E27FC236}">
                <a16:creationId xmlns:a16="http://schemas.microsoft.com/office/drawing/2014/main" id="{976D4EE2-D83E-423F-862C-4526945969BB}"/>
              </a:ext>
            </a:extLst>
          </p:cNvPr>
          <p:cNvSpPr>
            <a:spLocks noGrp="1"/>
          </p:cNvSpPr>
          <p:nvPr>
            <p:ph type="ftr" sz="quarter" idx="11"/>
          </p:nvPr>
        </p:nvSpPr>
        <p:spPr bwMode="gray"/>
        <p:txBody>
          <a:bodyPr/>
          <a:lstStyle/>
          <a:p>
            <a:r>
              <a:rPr lang="de-DE"/>
              <a:t>DENEFF PowerPoint Master</a:t>
            </a:r>
          </a:p>
        </p:txBody>
      </p:sp>
      <p:sp>
        <p:nvSpPr>
          <p:cNvPr id="5" name="Foliennummernplatzhalter 4">
            <a:extLst>
              <a:ext uri="{FF2B5EF4-FFF2-40B4-BE49-F238E27FC236}">
                <a16:creationId xmlns:a16="http://schemas.microsoft.com/office/drawing/2014/main" id="{45A1933F-FFB9-489F-8D62-977CE088E776}"/>
              </a:ext>
            </a:extLst>
          </p:cNvPr>
          <p:cNvSpPr>
            <a:spLocks noGrp="1"/>
          </p:cNvSpPr>
          <p:nvPr>
            <p:ph type="sldNum" sz="quarter" idx="12"/>
          </p:nvPr>
        </p:nvSpPr>
        <p:spPr bwMode="gray"/>
        <p:txBody>
          <a:bodyPr/>
          <a:lstStyle/>
          <a:p>
            <a:fld id="{596A2A10-B827-4CCE-9EB2-A13B5A721707}" type="slidenum">
              <a:rPr lang="de-DE" smtClean="0"/>
              <a:t>‹Nr.›</a:t>
            </a:fld>
            <a:endParaRPr lang="de-DE"/>
          </a:p>
        </p:txBody>
      </p:sp>
      <p:sp>
        <p:nvSpPr>
          <p:cNvPr id="9" name="Textplatzhalter 8">
            <a:extLst>
              <a:ext uri="{FF2B5EF4-FFF2-40B4-BE49-F238E27FC236}">
                <a16:creationId xmlns:a16="http://schemas.microsoft.com/office/drawing/2014/main" id="{91C3F82A-3FD6-44A6-85AB-189B93B4EB3C}"/>
              </a:ext>
            </a:extLst>
          </p:cNvPr>
          <p:cNvSpPr>
            <a:spLocks noGrp="1"/>
          </p:cNvSpPr>
          <p:nvPr>
            <p:ph type="body" sz="quarter" idx="14" hasCustomPrompt="1"/>
          </p:nvPr>
        </p:nvSpPr>
        <p:spPr bwMode="gray">
          <a:xfrm>
            <a:off x="4007768" y="1628775"/>
            <a:ext cx="7849270" cy="1080000"/>
          </a:xfrm>
        </p:spPr>
        <p:txBody>
          <a:bodyPr/>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de-DE"/>
              <a:t>Projektziel und Vorgehen (maximal 4-zeilig)</a:t>
            </a:r>
          </a:p>
          <a:p>
            <a:pPr lvl="1"/>
            <a:r>
              <a:rPr lang="de-DE"/>
              <a:t>Zweite Ebene</a:t>
            </a:r>
          </a:p>
          <a:p>
            <a:pPr lvl="2"/>
            <a:r>
              <a:rPr lang="de-DE"/>
              <a:t>Dritte Ebene</a:t>
            </a:r>
          </a:p>
          <a:p>
            <a:pPr lvl="3"/>
            <a:r>
              <a:rPr lang="de-DE"/>
              <a:t>Vierte Ebene</a:t>
            </a:r>
          </a:p>
        </p:txBody>
      </p:sp>
      <p:sp>
        <p:nvSpPr>
          <p:cNvPr id="32" name="Textplatzhalter 8">
            <a:extLst>
              <a:ext uri="{FF2B5EF4-FFF2-40B4-BE49-F238E27FC236}">
                <a16:creationId xmlns:a16="http://schemas.microsoft.com/office/drawing/2014/main" id="{46B25DF0-FA31-47E9-9EE6-AC3CA9DD3C77}"/>
              </a:ext>
            </a:extLst>
          </p:cNvPr>
          <p:cNvSpPr>
            <a:spLocks noGrp="1"/>
          </p:cNvSpPr>
          <p:nvPr>
            <p:ph type="body" sz="quarter" idx="16" hasCustomPrompt="1"/>
          </p:nvPr>
        </p:nvSpPr>
        <p:spPr bwMode="gray">
          <a:xfrm>
            <a:off x="4007792" y="2889044"/>
            <a:ext cx="7849246" cy="1416452"/>
          </a:xfrm>
        </p:spPr>
        <p:txBody>
          <a:bodyPr/>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de-DE"/>
              <a:t>Key Achievements</a:t>
            </a:r>
          </a:p>
          <a:p>
            <a:pPr lvl="1"/>
            <a:r>
              <a:rPr lang="de-DE"/>
              <a:t>Zweite Ebene</a:t>
            </a:r>
          </a:p>
          <a:p>
            <a:pPr lvl="2"/>
            <a:r>
              <a:rPr lang="de-DE"/>
              <a:t>Dritte Ebene</a:t>
            </a:r>
          </a:p>
          <a:p>
            <a:pPr lvl="3"/>
            <a:r>
              <a:rPr lang="de-DE"/>
              <a:t>Vierte Ebene</a:t>
            </a:r>
          </a:p>
        </p:txBody>
      </p:sp>
      <p:sp>
        <p:nvSpPr>
          <p:cNvPr id="33" name="Textplatzhalter 8">
            <a:extLst>
              <a:ext uri="{FF2B5EF4-FFF2-40B4-BE49-F238E27FC236}">
                <a16:creationId xmlns:a16="http://schemas.microsoft.com/office/drawing/2014/main" id="{476C9EAF-CA87-4BE2-B5A3-BC22A408BC8F}"/>
              </a:ext>
            </a:extLst>
          </p:cNvPr>
          <p:cNvSpPr>
            <a:spLocks noGrp="1"/>
          </p:cNvSpPr>
          <p:nvPr>
            <p:ph type="body" sz="quarter" idx="17" hasCustomPrompt="1"/>
          </p:nvPr>
        </p:nvSpPr>
        <p:spPr bwMode="gray">
          <a:xfrm>
            <a:off x="6672064" y="4430961"/>
            <a:ext cx="5184974" cy="1806351"/>
          </a:xfrm>
        </p:spPr>
        <p:txBody>
          <a:bodyPr tIns="108000"/>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de-DE"/>
              <a:t>Nächste Schritte</a:t>
            </a:r>
          </a:p>
          <a:p>
            <a:pPr lvl="1"/>
            <a:r>
              <a:rPr lang="de-DE"/>
              <a:t>Zweite Ebene</a:t>
            </a:r>
          </a:p>
          <a:p>
            <a:pPr lvl="2"/>
            <a:r>
              <a:rPr lang="de-DE"/>
              <a:t>Dritte Ebene</a:t>
            </a:r>
          </a:p>
          <a:p>
            <a:pPr lvl="3"/>
            <a:r>
              <a:rPr lang="de-DE"/>
              <a:t>Vierte Ebene</a:t>
            </a:r>
          </a:p>
        </p:txBody>
      </p:sp>
      <p:sp>
        <p:nvSpPr>
          <p:cNvPr id="17" name="Freihandform: Form 16">
            <a:extLst>
              <a:ext uri="{FF2B5EF4-FFF2-40B4-BE49-F238E27FC236}">
                <a16:creationId xmlns:a16="http://schemas.microsoft.com/office/drawing/2014/main" id="{7CC83B42-9C11-4F8D-9E1A-8EB7AA720369}"/>
              </a:ext>
            </a:extLst>
          </p:cNvPr>
          <p:cNvSpPr/>
          <p:nvPr userDrawn="1"/>
        </p:nvSpPr>
        <p:spPr bwMode="gray">
          <a:xfrm>
            <a:off x="555604" y="1638300"/>
            <a:ext cx="3159082" cy="4599011"/>
          </a:xfrm>
          <a:custGeom>
            <a:avLst/>
            <a:gdLst>
              <a:gd name="connsiteX0" fmla="*/ 241289 w 3159082"/>
              <a:gd name="connsiteY0" fmla="*/ 0 h 4599011"/>
              <a:gd name="connsiteX1" fmla="*/ 2890711 w 3159082"/>
              <a:gd name="connsiteY1" fmla="*/ 0 h 4599011"/>
              <a:gd name="connsiteX2" fmla="*/ 3132000 w 3159082"/>
              <a:gd name="connsiteY2" fmla="*/ 241289 h 4599011"/>
              <a:gd name="connsiteX3" fmla="*/ 3132000 w 3159082"/>
              <a:gd name="connsiteY3" fmla="*/ 498318 h 4599011"/>
              <a:gd name="connsiteX4" fmla="*/ 3141082 w 3159082"/>
              <a:gd name="connsiteY4" fmla="*/ 494556 h 4599011"/>
              <a:gd name="connsiteX5" fmla="*/ 3159082 w 3159082"/>
              <a:gd name="connsiteY5" fmla="*/ 512556 h 4599011"/>
              <a:gd name="connsiteX6" fmla="*/ 3159082 w 3159082"/>
              <a:gd name="connsiteY6" fmla="*/ 656556 h 4599011"/>
              <a:gd name="connsiteX7" fmla="*/ 3141082 w 3159082"/>
              <a:gd name="connsiteY7" fmla="*/ 674556 h 4599011"/>
              <a:gd name="connsiteX8" fmla="*/ 3132000 w 3159082"/>
              <a:gd name="connsiteY8" fmla="*/ 670794 h 4599011"/>
              <a:gd name="connsiteX9" fmla="*/ 3132000 w 3159082"/>
              <a:gd name="connsiteY9" fmla="*/ 771368 h 4599011"/>
              <a:gd name="connsiteX10" fmla="*/ 3141082 w 3159082"/>
              <a:gd name="connsiteY10" fmla="*/ 767606 h 4599011"/>
              <a:gd name="connsiteX11" fmla="*/ 3159082 w 3159082"/>
              <a:gd name="connsiteY11" fmla="*/ 785606 h 4599011"/>
              <a:gd name="connsiteX12" fmla="*/ 3159082 w 3159082"/>
              <a:gd name="connsiteY12" fmla="*/ 1001606 h 4599011"/>
              <a:gd name="connsiteX13" fmla="*/ 3141082 w 3159082"/>
              <a:gd name="connsiteY13" fmla="*/ 1019606 h 4599011"/>
              <a:gd name="connsiteX14" fmla="*/ 3132000 w 3159082"/>
              <a:gd name="connsiteY14" fmla="*/ 1015844 h 4599011"/>
              <a:gd name="connsiteX15" fmla="*/ 3132000 w 3159082"/>
              <a:gd name="connsiteY15" fmla="*/ 4357722 h 4599011"/>
              <a:gd name="connsiteX16" fmla="*/ 2890711 w 3159082"/>
              <a:gd name="connsiteY16" fmla="*/ 4599011 h 4599011"/>
              <a:gd name="connsiteX17" fmla="*/ 241289 w 3159082"/>
              <a:gd name="connsiteY17" fmla="*/ 4599011 h 4599011"/>
              <a:gd name="connsiteX18" fmla="*/ 0 w 3159082"/>
              <a:gd name="connsiteY18" fmla="*/ 4357722 h 4599011"/>
              <a:gd name="connsiteX19" fmla="*/ 0 w 3159082"/>
              <a:gd name="connsiteY19" fmla="*/ 241289 h 4599011"/>
              <a:gd name="connsiteX20" fmla="*/ 241289 w 3159082"/>
              <a:gd name="connsiteY20" fmla="*/ 0 h 459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59082" h="4599011">
                <a:moveTo>
                  <a:pt x="241289" y="0"/>
                </a:moveTo>
                <a:lnTo>
                  <a:pt x="2890711" y="0"/>
                </a:lnTo>
                <a:cubicBezTo>
                  <a:pt x="3023971" y="0"/>
                  <a:pt x="3132000" y="108029"/>
                  <a:pt x="3132000" y="241289"/>
                </a:cubicBezTo>
                <a:lnTo>
                  <a:pt x="3132000" y="498318"/>
                </a:lnTo>
                <a:lnTo>
                  <a:pt x="3141082" y="494556"/>
                </a:lnTo>
                <a:cubicBezTo>
                  <a:pt x="3151023" y="494556"/>
                  <a:pt x="3159082" y="502615"/>
                  <a:pt x="3159082" y="512556"/>
                </a:cubicBezTo>
                <a:lnTo>
                  <a:pt x="3159082" y="656556"/>
                </a:lnTo>
                <a:cubicBezTo>
                  <a:pt x="3159082" y="666497"/>
                  <a:pt x="3151023" y="674556"/>
                  <a:pt x="3141082" y="674556"/>
                </a:cubicBezTo>
                <a:lnTo>
                  <a:pt x="3132000" y="670794"/>
                </a:lnTo>
                <a:lnTo>
                  <a:pt x="3132000" y="771368"/>
                </a:lnTo>
                <a:lnTo>
                  <a:pt x="3141082" y="767606"/>
                </a:lnTo>
                <a:cubicBezTo>
                  <a:pt x="3151023" y="767606"/>
                  <a:pt x="3159082" y="775665"/>
                  <a:pt x="3159082" y="785606"/>
                </a:cubicBezTo>
                <a:lnTo>
                  <a:pt x="3159082" y="1001606"/>
                </a:lnTo>
                <a:cubicBezTo>
                  <a:pt x="3159082" y="1011547"/>
                  <a:pt x="3151023" y="1019606"/>
                  <a:pt x="3141082" y="1019606"/>
                </a:cubicBezTo>
                <a:lnTo>
                  <a:pt x="3132000" y="1015844"/>
                </a:lnTo>
                <a:lnTo>
                  <a:pt x="3132000" y="4357722"/>
                </a:lnTo>
                <a:cubicBezTo>
                  <a:pt x="3132000" y="4490982"/>
                  <a:pt x="3023971" y="4599011"/>
                  <a:pt x="2890711" y="4599011"/>
                </a:cubicBezTo>
                <a:lnTo>
                  <a:pt x="241289" y="4599011"/>
                </a:lnTo>
                <a:cubicBezTo>
                  <a:pt x="108029" y="4599011"/>
                  <a:pt x="0" y="4490982"/>
                  <a:pt x="0" y="4357722"/>
                </a:cubicBezTo>
                <a:lnTo>
                  <a:pt x="0" y="241289"/>
                </a:lnTo>
                <a:cubicBezTo>
                  <a:pt x="0" y="108029"/>
                  <a:pt x="108029" y="0"/>
                  <a:pt x="241289" y="0"/>
                </a:cubicBezTo>
                <a:close/>
              </a:path>
            </a:pathLst>
          </a:custGeom>
          <a:gradFill>
            <a:gsLst>
              <a:gs pos="100000">
                <a:schemeClr val="accent6"/>
              </a:gs>
              <a:gs pos="27000">
                <a:schemeClr val="tx1"/>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6" name="Rechteck: abgerundete Ecken 35">
            <a:extLst>
              <a:ext uri="{FF2B5EF4-FFF2-40B4-BE49-F238E27FC236}">
                <a16:creationId xmlns:a16="http://schemas.microsoft.com/office/drawing/2014/main" id="{3B27BB0F-88AB-4B24-859D-1886E5B2EAD9}"/>
              </a:ext>
            </a:extLst>
          </p:cNvPr>
          <p:cNvSpPr/>
          <p:nvPr userDrawn="1"/>
        </p:nvSpPr>
        <p:spPr bwMode="gray">
          <a:xfrm>
            <a:off x="669303" y="1759805"/>
            <a:ext cx="2904602" cy="4356000"/>
          </a:xfrm>
          <a:prstGeom prst="roundRect">
            <a:avLst>
              <a:gd name="adj" fmla="val 524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Textplatzhalter 8">
            <a:extLst>
              <a:ext uri="{FF2B5EF4-FFF2-40B4-BE49-F238E27FC236}">
                <a16:creationId xmlns:a16="http://schemas.microsoft.com/office/drawing/2014/main" id="{8DF5F904-B4C8-4755-B9BF-C991A0B5F9BB}"/>
              </a:ext>
            </a:extLst>
          </p:cNvPr>
          <p:cNvSpPr>
            <a:spLocks noGrp="1"/>
          </p:cNvSpPr>
          <p:nvPr>
            <p:ph type="body" sz="quarter" idx="15" hasCustomPrompt="1"/>
          </p:nvPr>
        </p:nvSpPr>
        <p:spPr bwMode="gray">
          <a:xfrm>
            <a:off x="3431704" y="4430961"/>
            <a:ext cx="2952317" cy="1800000"/>
          </a:xfrm>
          <a:prstGeom prst="roundRect">
            <a:avLst>
              <a:gd name="adj" fmla="val 5880"/>
            </a:avLst>
          </a:prstGeom>
          <a:solidFill>
            <a:schemeClr val="bg1"/>
          </a:solidFill>
          <a:ln w="25400">
            <a:solidFill>
              <a:schemeClr val="tx1"/>
            </a:solidFill>
          </a:ln>
        </p:spPr>
        <p:txBody>
          <a:bodyPr lIns="72000" tIns="72000" rIns="72000" bIns="72000"/>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de-DE"/>
              <a:t>Beteiligte</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15357148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mit Bild">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92E9C1AD-1A71-40DE-9895-F0606B73E584}"/>
              </a:ext>
            </a:extLst>
          </p:cNvPr>
          <p:cNvSpPr>
            <a:spLocks noGrp="1"/>
          </p:cNvSpPr>
          <p:nvPr>
            <p:ph type="pic" sz="quarter" idx="11" hasCustomPrompt="1"/>
          </p:nvPr>
        </p:nvSpPr>
        <p:spPr bwMode="gray">
          <a:xfrm>
            <a:off x="7562532" y="548681"/>
            <a:ext cx="4294108" cy="4692547"/>
          </a:xfrm>
          <a:custGeom>
            <a:avLst/>
            <a:gdLst>
              <a:gd name="connsiteX0" fmla="*/ 2124469 w 4294108"/>
              <a:gd name="connsiteY0" fmla="*/ 0 h 4692547"/>
              <a:gd name="connsiteX1" fmla="*/ 2140673 w 4294108"/>
              <a:gd name="connsiteY1" fmla="*/ 0 h 4692547"/>
              <a:gd name="connsiteX2" fmla="*/ 2222789 w 4294108"/>
              <a:gd name="connsiteY2" fmla="*/ 3439 h 4692547"/>
              <a:gd name="connsiteX3" fmla="*/ 2501390 w 4294108"/>
              <a:gd name="connsiteY3" fmla="*/ 89713 h 4692547"/>
              <a:gd name="connsiteX4" fmla="*/ 3185222 w 4294108"/>
              <a:gd name="connsiteY4" fmla="*/ 475871 h 4692547"/>
              <a:gd name="connsiteX5" fmla="*/ 3807142 w 4294108"/>
              <a:gd name="connsiteY5" fmla="*/ 834324 h 4692547"/>
              <a:gd name="connsiteX6" fmla="*/ 4293654 w 4294108"/>
              <a:gd name="connsiteY6" fmla="*/ 1658367 h 4692547"/>
              <a:gd name="connsiteX7" fmla="*/ 4293090 w 4294108"/>
              <a:gd name="connsiteY7" fmla="*/ 2365662 h 4692547"/>
              <a:gd name="connsiteX8" fmla="*/ 4293090 w 4294108"/>
              <a:gd name="connsiteY8" fmla="*/ 3098399 h 4692547"/>
              <a:gd name="connsiteX9" fmla="*/ 3866506 w 4294108"/>
              <a:gd name="connsiteY9" fmla="*/ 3833396 h 4692547"/>
              <a:gd name="connsiteX10" fmla="*/ 2656305 w 4294108"/>
              <a:gd name="connsiteY10" fmla="*/ 4533058 h 4692547"/>
              <a:gd name="connsiteX11" fmla="*/ 2155094 w 4294108"/>
              <a:gd name="connsiteY11" fmla="*/ 4692496 h 4692547"/>
              <a:gd name="connsiteX12" fmla="*/ 1747454 w 4294108"/>
              <a:gd name="connsiteY12" fmla="*/ 4586768 h 4692547"/>
              <a:gd name="connsiteX13" fmla="*/ 467425 w 4294108"/>
              <a:gd name="connsiteY13" fmla="*/ 3848096 h 4692547"/>
              <a:gd name="connsiteX14" fmla="*/ 5509 w 4294108"/>
              <a:gd name="connsiteY14" fmla="*/ 3062778 h 4692547"/>
              <a:gd name="connsiteX15" fmla="*/ 0 w 4294108"/>
              <a:gd name="connsiteY15" fmla="*/ 2488972 h 4692547"/>
              <a:gd name="connsiteX16" fmla="*/ 0 w 4294108"/>
              <a:gd name="connsiteY16" fmla="*/ 2223129 h 4692547"/>
              <a:gd name="connsiteX17" fmla="*/ 5509 w 4294108"/>
              <a:gd name="connsiteY17" fmla="*/ 1649321 h 4692547"/>
              <a:gd name="connsiteX18" fmla="*/ 481276 w 4294108"/>
              <a:gd name="connsiteY18" fmla="*/ 844783 h 4692547"/>
              <a:gd name="connsiteX19" fmla="*/ 1761588 w 4294108"/>
              <a:gd name="connsiteY19" fmla="*/ 106957 h 4692547"/>
              <a:gd name="connsiteX20" fmla="*/ 2036613 w 4294108"/>
              <a:gd name="connsiteY20" fmla="*/ 7982 h 469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294108" h="4692547">
                <a:moveTo>
                  <a:pt x="2124469" y="0"/>
                </a:moveTo>
                <a:lnTo>
                  <a:pt x="2140673" y="0"/>
                </a:lnTo>
                <a:lnTo>
                  <a:pt x="2222789" y="3439"/>
                </a:lnTo>
                <a:cubicBezTo>
                  <a:pt x="2316033" y="13533"/>
                  <a:pt x="2409268" y="42221"/>
                  <a:pt x="2501390" y="89713"/>
                </a:cubicBezTo>
                <a:cubicBezTo>
                  <a:pt x="2733764" y="209857"/>
                  <a:pt x="2957938" y="345833"/>
                  <a:pt x="3185222" y="475871"/>
                </a:cubicBezTo>
                <a:cubicBezTo>
                  <a:pt x="3393282" y="594599"/>
                  <a:pt x="3600779" y="714745"/>
                  <a:pt x="3807142" y="834324"/>
                </a:cubicBezTo>
                <a:cubicBezTo>
                  <a:pt x="4124324" y="1017508"/>
                  <a:pt x="4304398" y="1279279"/>
                  <a:pt x="4293654" y="1658367"/>
                </a:cubicBezTo>
                <a:cubicBezTo>
                  <a:pt x="4287718" y="1893851"/>
                  <a:pt x="4293090" y="2130181"/>
                  <a:pt x="4293090" y="2365662"/>
                </a:cubicBezTo>
                <a:cubicBezTo>
                  <a:pt x="4293090" y="2609908"/>
                  <a:pt x="4295352" y="2854153"/>
                  <a:pt x="4293090" y="3098399"/>
                </a:cubicBezTo>
                <a:cubicBezTo>
                  <a:pt x="4289412" y="3422928"/>
                  <a:pt x="4144393" y="3669717"/>
                  <a:pt x="3866506" y="3833396"/>
                </a:cubicBezTo>
                <a:cubicBezTo>
                  <a:pt x="3465088" y="4070008"/>
                  <a:pt x="3060837" y="4301533"/>
                  <a:pt x="2656305" y="4533058"/>
                </a:cubicBezTo>
                <a:cubicBezTo>
                  <a:pt x="2501390" y="4621822"/>
                  <a:pt x="2342234" y="4694758"/>
                  <a:pt x="2155094" y="4692496"/>
                </a:cubicBezTo>
                <a:cubicBezTo>
                  <a:pt x="2012392" y="4692834"/>
                  <a:pt x="1872008" y="4656424"/>
                  <a:pt x="1747454" y="4586768"/>
                </a:cubicBezTo>
                <a:cubicBezTo>
                  <a:pt x="1319740" y="4342241"/>
                  <a:pt x="897401" y="4088385"/>
                  <a:pt x="467425" y="3848096"/>
                </a:cubicBezTo>
                <a:cubicBezTo>
                  <a:pt x="156464" y="3673958"/>
                  <a:pt x="12293" y="3405118"/>
                  <a:pt x="5509" y="3062778"/>
                </a:cubicBezTo>
                <a:lnTo>
                  <a:pt x="0" y="2488972"/>
                </a:lnTo>
                <a:lnTo>
                  <a:pt x="0" y="2223129"/>
                </a:lnTo>
                <a:lnTo>
                  <a:pt x="5509" y="1649321"/>
                </a:lnTo>
                <a:cubicBezTo>
                  <a:pt x="12293" y="1297089"/>
                  <a:pt x="157031" y="1022595"/>
                  <a:pt x="481276" y="844783"/>
                </a:cubicBezTo>
                <a:cubicBezTo>
                  <a:pt x="912946" y="607889"/>
                  <a:pt x="1333027" y="350074"/>
                  <a:pt x="1761588" y="106957"/>
                </a:cubicBezTo>
                <a:cubicBezTo>
                  <a:pt x="1851802" y="55649"/>
                  <a:pt x="1943845" y="22588"/>
                  <a:pt x="2036613" y="7982"/>
                </a:cubicBezTo>
                <a:close/>
              </a:path>
            </a:pathLst>
          </a:custGeom>
          <a:gradFill>
            <a:gsLst>
              <a:gs pos="0">
                <a:srgbClr val="D94291"/>
              </a:gs>
              <a:gs pos="100000">
                <a:srgbClr val="CF91D2"/>
              </a:gs>
            </a:gsLst>
            <a:lin ang="5400000" scaled="1"/>
          </a:gradFill>
        </p:spPr>
        <p:txBody>
          <a:bodyPr wrap="square" bIns="720000" anchor="ctr">
            <a:noAutofit/>
          </a:bodyPr>
          <a:lstStyle>
            <a:lvl1pPr marL="0" indent="0" algn="ctr">
              <a:spcAft>
                <a:spcPts val="0"/>
              </a:spcAft>
              <a:buFont typeface="Arial" panose="020B0604020202020204" pitchFamily="34" charset="0"/>
              <a:buNone/>
              <a:defRPr sz="1200" b="0"/>
            </a:lvl1pPr>
            <a:lvl2pPr marL="0" indent="0" algn="ctr">
              <a:spcAft>
                <a:spcPts val="0"/>
              </a:spcAft>
              <a:buFont typeface="Arial" panose="020B0604020202020204" pitchFamily="34" charset="0"/>
              <a:buNone/>
              <a:defRPr sz="1200" b="0"/>
            </a:lvl2pPr>
            <a:lvl3pPr marL="0" indent="0" algn="ctr">
              <a:spcAft>
                <a:spcPts val="0"/>
              </a:spcAft>
              <a:buNone/>
              <a:defRPr sz="1200" b="0"/>
            </a:lvl3pPr>
            <a:lvl4pPr marL="0" indent="0" algn="ctr">
              <a:spcAft>
                <a:spcPts val="0"/>
              </a:spcAft>
              <a:buNone/>
              <a:defRPr sz="1200" b="0"/>
            </a:lvl4pPr>
            <a:lvl5pPr marL="0" indent="0" algn="ctr">
              <a:spcAft>
                <a:spcPts val="0"/>
              </a:spcAft>
              <a:buNone/>
              <a:defRPr sz="1200" b="0"/>
            </a:lvl5pPr>
            <a:lvl6pPr marL="0" indent="0" algn="ctr">
              <a:spcAft>
                <a:spcPts val="0"/>
              </a:spcAft>
              <a:buNone/>
              <a:defRPr sz="1200" b="0"/>
            </a:lvl6pPr>
            <a:lvl7pPr marL="0" indent="0" algn="ctr">
              <a:spcAft>
                <a:spcPts val="0"/>
              </a:spcAft>
              <a:buNone/>
              <a:defRPr sz="1200" b="0"/>
            </a:lvl7pPr>
            <a:lvl8pPr marL="0" indent="0" algn="ctr">
              <a:spcAft>
                <a:spcPts val="0"/>
              </a:spcAft>
              <a:buNone/>
              <a:defRPr sz="1200" b="0"/>
            </a:lvl8pPr>
            <a:lvl9pPr marL="0" indent="0" algn="ctr">
              <a:spcAft>
                <a:spcPts val="0"/>
              </a:spcAft>
              <a:buNone/>
              <a:defRPr sz="1200" b="0"/>
            </a:lvl9pPr>
          </a:lstStyle>
          <a:p>
            <a:pPr lvl="0"/>
            <a:r>
              <a:rPr lang="de-DE"/>
              <a:t>Bild durch Klick auf das Icon hinzufügen </a:t>
            </a:r>
            <a:br>
              <a:rPr lang="de-DE"/>
            </a:br>
            <a:r>
              <a:rPr lang="de-DE"/>
              <a:t>und ggf. zuschneiden</a:t>
            </a:r>
          </a:p>
        </p:txBody>
      </p:sp>
      <p:sp>
        <p:nvSpPr>
          <p:cNvPr id="12" name="Grafik 2">
            <a:extLst>
              <a:ext uri="{FF2B5EF4-FFF2-40B4-BE49-F238E27FC236}">
                <a16:creationId xmlns:a16="http://schemas.microsoft.com/office/drawing/2014/main" id="{BABC817F-6CAA-46CF-B8CE-62F4DBC2E864}"/>
              </a:ext>
            </a:extLst>
          </p:cNvPr>
          <p:cNvSpPr/>
          <p:nvPr userDrawn="1"/>
        </p:nvSpPr>
        <p:spPr bwMode="gray">
          <a:xfrm>
            <a:off x="6696899" y="4543910"/>
            <a:ext cx="1631349" cy="1695108"/>
          </a:xfrm>
          <a:custGeom>
            <a:avLst/>
            <a:gdLst>
              <a:gd name="connsiteX0" fmla="*/ 723 w 1221432"/>
              <a:gd name="connsiteY0" fmla="*/ 630127 h 1269170"/>
              <a:gd name="connsiteX1" fmla="*/ 1199 w 1221432"/>
              <a:gd name="connsiteY1" fmla="*/ 195025 h 1269170"/>
              <a:gd name="connsiteX2" fmla="*/ 11200 w 1221432"/>
              <a:gd name="connsiteY2" fmla="*/ 115396 h 1269170"/>
              <a:gd name="connsiteX3" fmla="*/ 156171 w 1221432"/>
              <a:gd name="connsiteY3" fmla="*/ 1953 h 1269170"/>
              <a:gd name="connsiteX4" fmla="*/ 645089 w 1221432"/>
              <a:gd name="connsiteY4" fmla="*/ 3287 h 1269170"/>
              <a:gd name="connsiteX5" fmla="*/ 991704 w 1221432"/>
              <a:gd name="connsiteY5" fmla="*/ 146162 h 1269170"/>
              <a:gd name="connsiteX6" fmla="*/ 1220971 w 1221432"/>
              <a:gd name="connsiteY6" fmla="*/ 633270 h 1269170"/>
              <a:gd name="connsiteX7" fmla="*/ 1100384 w 1221432"/>
              <a:gd name="connsiteY7" fmla="*/ 1001983 h 1269170"/>
              <a:gd name="connsiteX8" fmla="*/ 573271 w 1221432"/>
              <a:gd name="connsiteY8" fmla="*/ 1267540 h 1269170"/>
              <a:gd name="connsiteX9" fmla="*/ 200938 w 1221432"/>
              <a:gd name="connsiteY9" fmla="*/ 1268778 h 1269170"/>
              <a:gd name="connsiteX10" fmla="*/ -325 w 1221432"/>
              <a:gd name="connsiteY10" fmla="*/ 1069610 h 1269170"/>
              <a:gd name="connsiteX11" fmla="*/ 723 w 1221432"/>
              <a:gd name="connsiteY11" fmla="*/ 630127 h 1269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1432" h="1269170">
                <a:moveTo>
                  <a:pt x="723" y="630127"/>
                </a:moveTo>
                <a:cubicBezTo>
                  <a:pt x="723" y="485156"/>
                  <a:pt x="247" y="340091"/>
                  <a:pt x="1199" y="195025"/>
                </a:cubicBezTo>
                <a:cubicBezTo>
                  <a:pt x="1132" y="168164"/>
                  <a:pt x="4495" y="141409"/>
                  <a:pt x="11200" y="115396"/>
                </a:cubicBezTo>
                <a:cubicBezTo>
                  <a:pt x="28650" y="49369"/>
                  <a:pt x="87886" y="3020"/>
                  <a:pt x="156171" y="1953"/>
                </a:cubicBezTo>
                <a:cubicBezTo>
                  <a:pt x="319144" y="715"/>
                  <a:pt x="482307" y="-2905"/>
                  <a:pt x="645089" y="3287"/>
                </a:cubicBezTo>
                <a:cubicBezTo>
                  <a:pt x="775867" y="8240"/>
                  <a:pt x="892168" y="62532"/>
                  <a:pt x="991704" y="146162"/>
                </a:cubicBezTo>
                <a:cubicBezTo>
                  <a:pt x="1142008" y="272654"/>
                  <a:pt x="1219161" y="437341"/>
                  <a:pt x="1220971" y="633270"/>
                </a:cubicBezTo>
                <a:cubicBezTo>
                  <a:pt x="1222333" y="766078"/>
                  <a:pt x="1179956" y="895646"/>
                  <a:pt x="1100384" y="1001983"/>
                </a:cubicBezTo>
                <a:cubicBezTo>
                  <a:pt x="969987" y="1180577"/>
                  <a:pt x="791869" y="1264968"/>
                  <a:pt x="573271" y="1267540"/>
                </a:cubicBezTo>
                <a:cubicBezTo>
                  <a:pt x="449446" y="1268969"/>
                  <a:pt x="324954" y="1264301"/>
                  <a:pt x="200938" y="1268778"/>
                </a:cubicBezTo>
                <a:cubicBezTo>
                  <a:pt x="76923" y="1273255"/>
                  <a:pt x="-3754" y="1186101"/>
                  <a:pt x="-325" y="1069610"/>
                </a:cubicBezTo>
                <a:cubicBezTo>
                  <a:pt x="3961" y="923306"/>
                  <a:pt x="723" y="776716"/>
                  <a:pt x="723" y="630127"/>
                </a:cubicBezTo>
                <a:close/>
              </a:path>
            </a:pathLst>
          </a:custGeom>
          <a:gradFill flip="none" rotWithShape="1">
            <a:gsLst>
              <a:gs pos="0">
                <a:srgbClr val="008795"/>
              </a:gs>
              <a:gs pos="100000">
                <a:srgbClr val="00C7D6"/>
              </a:gs>
            </a:gsLst>
            <a:lin ang="18900000" scaled="1"/>
            <a:tileRect/>
          </a:gradFill>
          <a:ln w="9525" cap="flat">
            <a:noFill/>
            <a:prstDash val="solid"/>
            <a:miter/>
          </a:ln>
        </p:spPr>
        <p:txBody>
          <a:bodyPr rtlCol="0" anchor="ctr"/>
          <a:lstStyle/>
          <a:p>
            <a:endParaRPr lang="de-DE"/>
          </a:p>
        </p:txBody>
      </p:sp>
      <p:sp>
        <p:nvSpPr>
          <p:cNvPr id="7" name="Grafik 2">
            <a:extLst>
              <a:ext uri="{FF2B5EF4-FFF2-40B4-BE49-F238E27FC236}">
                <a16:creationId xmlns:a16="http://schemas.microsoft.com/office/drawing/2014/main" id="{F13478C4-968B-4ECF-AA08-19E989399CBF}"/>
              </a:ext>
            </a:extLst>
          </p:cNvPr>
          <p:cNvSpPr/>
          <p:nvPr userDrawn="1"/>
        </p:nvSpPr>
        <p:spPr bwMode="gray">
          <a:xfrm rot="16200000">
            <a:off x="551101" y="2133140"/>
            <a:ext cx="1734636" cy="1734069"/>
          </a:xfrm>
          <a:custGeom>
            <a:avLst/>
            <a:gdLst>
              <a:gd name="connsiteX0" fmla="*/ 1020520 w 1339656"/>
              <a:gd name="connsiteY0" fmla="*/ 728768 h 1339218"/>
              <a:gd name="connsiteX1" fmla="*/ 778204 w 1339656"/>
              <a:gd name="connsiteY1" fmla="*/ 728768 h 1339218"/>
              <a:gd name="connsiteX2" fmla="*/ 729341 w 1339656"/>
              <a:gd name="connsiteY2" fmla="*/ 778393 h 1339218"/>
              <a:gd name="connsiteX3" fmla="*/ 729341 w 1339656"/>
              <a:gd name="connsiteY3" fmla="*/ 1240736 h 1339218"/>
              <a:gd name="connsiteX4" fmla="*/ 631043 w 1339656"/>
              <a:gd name="connsiteY4" fmla="*/ 1338653 h 1339218"/>
              <a:gd name="connsiteX5" fmla="*/ 244709 w 1339656"/>
              <a:gd name="connsiteY5" fmla="*/ 1189968 h 1339218"/>
              <a:gd name="connsiteX6" fmla="*/ 8488 w 1339656"/>
              <a:gd name="connsiteY6" fmla="*/ 779631 h 1339218"/>
              <a:gd name="connsiteX7" fmla="*/ 52113 w 1339656"/>
              <a:gd name="connsiteY7" fmla="*/ 410537 h 1339218"/>
              <a:gd name="connsiteX8" fmla="*/ 428827 w 1339656"/>
              <a:gd name="connsiteY8" fmla="*/ 47159 h 1339218"/>
              <a:gd name="connsiteX9" fmla="*/ 926794 w 1339656"/>
              <a:gd name="connsiteY9" fmla="*/ 55159 h 1339218"/>
              <a:gd name="connsiteX10" fmla="*/ 1331797 w 1339656"/>
              <a:gd name="connsiteY10" fmla="*/ 580939 h 1339218"/>
              <a:gd name="connsiteX11" fmla="*/ 1339226 w 1339656"/>
              <a:gd name="connsiteY11" fmla="*/ 657139 h 1339218"/>
              <a:gd name="connsiteX12" fmla="*/ 1267693 w 1339656"/>
              <a:gd name="connsiteY12" fmla="*/ 728482 h 1339218"/>
              <a:gd name="connsiteX13" fmla="*/ 1020805 w 1339656"/>
              <a:gd name="connsiteY13" fmla="*/ 728482 h 1339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9656" h="1339218">
                <a:moveTo>
                  <a:pt x="1020520" y="728768"/>
                </a:moveTo>
                <a:cubicBezTo>
                  <a:pt x="939748" y="728768"/>
                  <a:pt x="858595" y="728768"/>
                  <a:pt x="778204" y="728768"/>
                </a:cubicBezTo>
                <a:cubicBezTo>
                  <a:pt x="734389" y="728768"/>
                  <a:pt x="729436" y="733911"/>
                  <a:pt x="729341" y="778393"/>
                </a:cubicBezTo>
                <a:cubicBezTo>
                  <a:pt x="728864" y="932507"/>
                  <a:pt x="729341" y="1086621"/>
                  <a:pt x="729341" y="1240736"/>
                </a:cubicBezTo>
                <a:cubicBezTo>
                  <a:pt x="729341" y="1327700"/>
                  <a:pt x="716958" y="1341510"/>
                  <a:pt x="631043" y="1338653"/>
                </a:cubicBezTo>
                <a:cubicBezTo>
                  <a:pt x="489158" y="1334214"/>
                  <a:pt x="352960" y="1281798"/>
                  <a:pt x="244709" y="1189968"/>
                </a:cubicBezTo>
                <a:cubicBezTo>
                  <a:pt x="114787" y="1083002"/>
                  <a:pt x="34016" y="946033"/>
                  <a:pt x="8488" y="779631"/>
                </a:cubicBezTo>
                <a:cubicBezTo>
                  <a:pt x="-10562" y="653425"/>
                  <a:pt x="-465" y="529600"/>
                  <a:pt x="52113" y="410537"/>
                </a:cubicBezTo>
                <a:cubicBezTo>
                  <a:pt x="128313" y="237753"/>
                  <a:pt x="252710" y="115262"/>
                  <a:pt x="428827" y="47159"/>
                </a:cubicBezTo>
                <a:cubicBezTo>
                  <a:pt x="595705" y="-17897"/>
                  <a:pt x="763345" y="-16659"/>
                  <a:pt x="926794" y="55159"/>
                </a:cubicBezTo>
                <a:cubicBezTo>
                  <a:pt x="1156346" y="155934"/>
                  <a:pt x="1292077" y="332432"/>
                  <a:pt x="1331797" y="580939"/>
                </a:cubicBezTo>
                <a:cubicBezTo>
                  <a:pt x="1336378" y="606086"/>
                  <a:pt x="1338865" y="631574"/>
                  <a:pt x="1339226" y="657139"/>
                </a:cubicBezTo>
                <a:cubicBezTo>
                  <a:pt x="1339226" y="707336"/>
                  <a:pt x="1318557" y="727815"/>
                  <a:pt x="1267693" y="728482"/>
                </a:cubicBezTo>
                <a:cubicBezTo>
                  <a:pt x="1185398" y="729720"/>
                  <a:pt x="1103102" y="728482"/>
                  <a:pt x="1020805" y="728482"/>
                </a:cubicBezTo>
                <a:close/>
              </a:path>
            </a:pathLst>
          </a:custGeom>
          <a:gradFill>
            <a:gsLst>
              <a:gs pos="5000">
                <a:srgbClr val="FC5B2F"/>
              </a:gs>
              <a:gs pos="100000">
                <a:srgbClr val="FE935B"/>
              </a:gs>
            </a:gsLst>
            <a:lin ang="18900000" scaled="1"/>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p>
        </p:txBody>
      </p:sp>
      <p:sp>
        <p:nvSpPr>
          <p:cNvPr id="8" name="Grafik 2">
            <a:extLst>
              <a:ext uri="{FF2B5EF4-FFF2-40B4-BE49-F238E27FC236}">
                <a16:creationId xmlns:a16="http://schemas.microsoft.com/office/drawing/2014/main" id="{165EDB6C-383D-4816-8965-1E244FAD5314}"/>
              </a:ext>
            </a:extLst>
          </p:cNvPr>
          <p:cNvSpPr/>
          <p:nvPr userDrawn="1"/>
        </p:nvSpPr>
        <p:spPr bwMode="gray">
          <a:xfrm rot="16200000">
            <a:off x="7714198" y="4315038"/>
            <a:ext cx="610356" cy="1542495"/>
          </a:xfrm>
          <a:custGeom>
            <a:avLst/>
            <a:gdLst>
              <a:gd name="connsiteX0" fmla="*/ 374428 w 610356"/>
              <a:gd name="connsiteY0" fmla="*/ 1292176 h 1542495"/>
              <a:gd name="connsiteX1" fmla="*/ 411195 w 610356"/>
              <a:gd name="connsiteY1" fmla="*/ 1260838 h 1542495"/>
              <a:gd name="connsiteX2" fmla="*/ 496920 w 610356"/>
              <a:gd name="connsiteY2" fmla="*/ 1175113 h 1542495"/>
              <a:gd name="connsiteX3" fmla="*/ 560166 w 610356"/>
              <a:gd name="connsiteY3" fmla="*/ 1173875 h 1542495"/>
              <a:gd name="connsiteX4" fmla="*/ 562738 w 610356"/>
              <a:gd name="connsiteY4" fmla="*/ 1297700 h 1542495"/>
              <a:gd name="connsiteX5" fmla="*/ 343663 w 610356"/>
              <a:gd name="connsiteY5" fmla="*/ 1516775 h 1542495"/>
              <a:gd name="connsiteX6" fmla="*/ 272225 w 610356"/>
              <a:gd name="connsiteY6" fmla="*/ 1515823 h 1542495"/>
              <a:gd name="connsiteX7" fmla="*/ 24575 w 610356"/>
              <a:gd name="connsiteY7" fmla="*/ 1268173 h 1542495"/>
              <a:gd name="connsiteX8" fmla="*/ 23146 w 610356"/>
              <a:gd name="connsiteY8" fmla="*/ 1199783 h 1542495"/>
              <a:gd name="connsiteX9" fmla="*/ 137446 w 610356"/>
              <a:gd name="connsiteY9" fmla="*/ 1199783 h 1542495"/>
              <a:gd name="connsiteX10" fmla="*/ 234030 w 610356"/>
              <a:gd name="connsiteY10" fmla="*/ 1295890 h 1542495"/>
              <a:gd name="connsiteX11" fmla="*/ 244317 w 610356"/>
              <a:gd name="connsiteY11" fmla="*/ 1246837 h 1542495"/>
              <a:gd name="connsiteX12" fmla="*/ 244983 w 610356"/>
              <a:gd name="connsiteY12" fmla="*/ 577991 h 1542495"/>
              <a:gd name="connsiteX13" fmla="*/ 244983 w 610356"/>
              <a:gd name="connsiteY13" fmla="*/ 75167 h 1542495"/>
              <a:gd name="connsiteX14" fmla="*/ 245650 w 610356"/>
              <a:gd name="connsiteY14" fmla="*/ 34781 h 1542495"/>
              <a:gd name="connsiteX15" fmla="*/ 272387 w 610356"/>
              <a:gd name="connsiteY15" fmla="*/ 3052 h 1542495"/>
              <a:gd name="connsiteX16" fmla="*/ 275940 w 610356"/>
              <a:gd name="connsiteY16" fmla="*/ 2967 h 1542495"/>
              <a:gd name="connsiteX17" fmla="*/ 280417 w 610356"/>
              <a:gd name="connsiteY17" fmla="*/ 2967 h 1542495"/>
              <a:gd name="connsiteX18" fmla="*/ 372523 w 610356"/>
              <a:gd name="connsiteY18" fmla="*/ 86311 h 1542495"/>
              <a:gd name="connsiteX19" fmla="*/ 371761 w 610356"/>
              <a:gd name="connsiteY19" fmla="*/ 1231025 h 1542495"/>
              <a:gd name="connsiteX20" fmla="*/ 374428 w 610356"/>
              <a:gd name="connsiteY20" fmla="*/ 1292176 h 1542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0356" h="1542495">
                <a:moveTo>
                  <a:pt x="374428" y="1292176"/>
                </a:moveTo>
                <a:cubicBezTo>
                  <a:pt x="391859" y="1277412"/>
                  <a:pt x="402146" y="1269697"/>
                  <a:pt x="411195" y="1260838"/>
                </a:cubicBezTo>
                <a:cubicBezTo>
                  <a:pt x="439770" y="1232263"/>
                  <a:pt x="468345" y="1203688"/>
                  <a:pt x="496920" y="1175113"/>
                </a:cubicBezTo>
                <a:cubicBezTo>
                  <a:pt x="525495" y="1146538"/>
                  <a:pt x="531972" y="1147967"/>
                  <a:pt x="560166" y="1173875"/>
                </a:cubicBezTo>
                <a:cubicBezTo>
                  <a:pt x="626079" y="1234169"/>
                  <a:pt x="626079" y="1234169"/>
                  <a:pt x="562738" y="1297700"/>
                </a:cubicBezTo>
                <a:cubicBezTo>
                  <a:pt x="489709" y="1370728"/>
                  <a:pt x="416691" y="1443747"/>
                  <a:pt x="343663" y="1516775"/>
                </a:cubicBezTo>
                <a:cubicBezTo>
                  <a:pt x="309372" y="1550970"/>
                  <a:pt x="307373" y="1550875"/>
                  <a:pt x="272225" y="1515823"/>
                </a:cubicBezTo>
                <a:cubicBezTo>
                  <a:pt x="189672" y="1433270"/>
                  <a:pt x="107128" y="1350726"/>
                  <a:pt x="24575" y="1268173"/>
                </a:cubicBezTo>
                <a:cubicBezTo>
                  <a:pt x="-8667" y="1234835"/>
                  <a:pt x="-8381" y="1232454"/>
                  <a:pt x="23146" y="1199783"/>
                </a:cubicBezTo>
                <a:cubicBezTo>
                  <a:pt x="79058" y="1141776"/>
                  <a:pt x="79058" y="1141776"/>
                  <a:pt x="137446" y="1199783"/>
                </a:cubicBezTo>
                <a:cubicBezTo>
                  <a:pt x="168974" y="1231311"/>
                  <a:pt x="200692" y="1262744"/>
                  <a:pt x="234030" y="1295890"/>
                </a:cubicBezTo>
                <a:cubicBezTo>
                  <a:pt x="249270" y="1278936"/>
                  <a:pt x="244222" y="1261981"/>
                  <a:pt x="244317" y="1246837"/>
                </a:cubicBezTo>
                <a:cubicBezTo>
                  <a:pt x="244764" y="1023885"/>
                  <a:pt x="244983" y="800943"/>
                  <a:pt x="244983" y="577991"/>
                </a:cubicBezTo>
                <a:cubicBezTo>
                  <a:pt x="244983" y="410351"/>
                  <a:pt x="244983" y="242740"/>
                  <a:pt x="244983" y="75167"/>
                </a:cubicBezTo>
                <a:cubicBezTo>
                  <a:pt x="244983" y="61736"/>
                  <a:pt x="244983" y="48211"/>
                  <a:pt x="245650" y="34781"/>
                </a:cubicBezTo>
                <a:cubicBezTo>
                  <a:pt x="244269" y="18636"/>
                  <a:pt x="256242" y="4434"/>
                  <a:pt x="272387" y="3052"/>
                </a:cubicBezTo>
                <a:cubicBezTo>
                  <a:pt x="273568" y="2958"/>
                  <a:pt x="274759" y="2919"/>
                  <a:pt x="275940" y="2967"/>
                </a:cubicBezTo>
                <a:lnTo>
                  <a:pt x="280417" y="2967"/>
                </a:lnTo>
                <a:cubicBezTo>
                  <a:pt x="364427" y="-6558"/>
                  <a:pt x="372523" y="872"/>
                  <a:pt x="372523" y="86311"/>
                </a:cubicBezTo>
                <a:cubicBezTo>
                  <a:pt x="372523" y="467882"/>
                  <a:pt x="372266" y="849454"/>
                  <a:pt x="371761" y="1231025"/>
                </a:cubicBezTo>
                <a:cubicBezTo>
                  <a:pt x="372523" y="1248265"/>
                  <a:pt x="373571" y="1265506"/>
                  <a:pt x="374428" y="1292176"/>
                </a:cubicBezTo>
                <a:close/>
              </a:path>
            </a:pathLst>
          </a:custGeom>
          <a:solidFill>
            <a:srgbClr val="000000"/>
          </a:solidFill>
          <a:ln w="9525"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0F7F99B-3DE6-488C-89FA-7E0CFDD30242}"/>
              </a:ext>
            </a:extLst>
          </p:cNvPr>
          <p:cNvSpPr>
            <a:spLocks noGrp="1"/>
          </p:cNvSpPr>
          <p:nvPr>
            <p:ph type="ctrTitle"/>
          </p:nvPr>
        </p:nvSpPr>
        <p:spPr bwMode="gray">
          <a:xfrm>
            <a:off x="983432" y="3429200"/>
            <a:ext cx="5472000" cy="2304000"/>
          </a:xfrm>
        </p:spPr>
        <p:txBody>
          <a:bodyPr anchor="t"/>
          <a:lstStyle>
            <a:lvl1pPr algn="l">
              <a:lnSpc>
                <a:spcPct val="90000"/>
              </a:lnSpc>
              <a:spcBef>
                <a:spcPts val="0"/>
              </a:spcBef>
              <a:defRPr sz="4400"/>
            </a:lvl1pPr>
          </a:lstStyle>
          <a:p>
            <a:r>
              <a:rPr lang="de-DE"/>
              <a:t>Mastertitelformat bearbeiten</a:t>
            </a:r>
          </a:p>
        </p:txBody>
      </p:sp>
      <p:sp>
        <p:nvSpPr>
          <p:cNvPr id="3" name="Untertitel 2">
            <a:extLst>
              <a:ext uri="{FF2B5EF4-FFF2-40B4-BE49-F238E27FC236}">
                <a16:creationId xmlns:a16="http://schemas.microsoft.com/office/drawing/2014/main" id="{C7D73E65-74E1-4ED9-8001-5EEF6555B393}"/>
              </a:ext>
            </a:extLst>
          </p:cNvPr>
          <p:cNvSpPr>
            <a:spLocks noGrp="1"/>
          </p:cNvSpPr>
          <p:nvPr>
            <p:ph type="subTitle" idx="1" hasCustomPrompt="1"/>
          </p:nvPr>
        </p:nvSpPr>
        <p:spPr bwMode="gray">
          <a:xfrm>
            <a:off x="983432" y="2997192"/>
            <a:ext cx="5472000" cy="360000"/>
          </a:xfrm>
        </p:spPr>
        <p:txBody>
          <a:bodyPr anchor="t"/>
          <a:lstStyle>
            <a:lvl1pPr marL="0" indent="0" algn="l">
              <a:lnSpc>
                <a:spcPct val="100000"/>
              </a:lnSpc>
              <a:spcBef>
                <a:spcPts val="0"/>
              </a:spcBef>
              <a:spcAft>
                <a:spcPts val="0"/>
              </a:spcAft>
              <a:buNone/>
              <a:defRPr sz="1600" b="1"/>
            </a:lvl1pPr>
            <a:lvl2pPr marL="0" indent="0" algn="l">
              <a:spcAft>
                <a:spcPts val="0"/>
              </a:spcAft>
              <a:buNone/>
              <a:defRPr sz="1600" b="1"/>
            </a:lvl2pPr>
            <a:lvl3pPr marL="0" indent="0" algn="l">
              <a:spcAft>
                <a:spcPts val="0"/>
              </a:spcAft>
              <a:buNone/>
              <a:defRPr sz="1600" b="1"/>
            </a:lvl3pPr>
            <a:lvl4pPr marL="0" indent="0" algn="l">
              <a:spcAft>
                <a:spcPts val="0"/>
              </a:spcAft>
              <a:buNone/>
              <a:defRPr sz="1600" b="1"/>
            </a:lvl4pPr>
            <a:lvl5pPr marL="0" indent="0" algn="l">
              <a:spcAft>
                <a:spcPts val="0"/>
              </a:spcAft>
              <a:buNone/>
              <a:defRPr sz="1600" b="1"/>
            </a:lvl5pPr>
            <a:lvl6pPr marL="0" indent="0" algn="l">
              <a:spcAft>
                <a:spcPts val="0"/>
              </a:spcAft>
              <a:buNone/>
              <a:defRPr sz="1600" b="1"/>
            </a:lvl6pPr>
            <a:lvl7pPr marL="0" indent="0" algn="l">
              <a:spcAft>
                <a:spcPts val="0"/>
              </a:spcAft>
              <a:buNone/>
              <a:defRPr sz="1600" b="1"/>
            </a:lvl7pPr>
            <a:lvl8pPr marL="0" indent="0" algn="l">
              <a:spcAft>
                <a:spcPts val="0"/>
              </a:spcAft>
              <a:buNone/>
              <a:defRPr sz="1600" b="1"/>
            </a:lvl8pPr>
            <a:lvl9pPr marL="0" indent="0" algn="l">
              <a:spcAft>
                <a:spcPts val="0"/>
              </a:spcAft>
              <a:buNone/>
              <a:defRPr sz="1600" b="1"/>
            </a:lvl9pPr>
          </a:lstStyle>
          <a:p>
            <a:pPr lvl="0"/>
            <a:r>
              <a:rPr lang="de-DE"/>
              <a:t>Optionaler Zusatztitel</a:t>
            </a:r>
          </a:p>
        </p:txBody>
      </p:sp>
      <p:sp>
        <p:nvSpPr>
          <p:cNvPr id="13" name="Textplatzhalter 12">
            <a:extLst>
              <a:ext uri="{FF2B5EF4-FFF2-40B4-BE49-F238E27FC236}">
                <a16:creationId xmlns:a16="http://schemas.microsoft.com/office/drawing/2014/main" id="{0D601D3A-AF10-4850-9950-6A5E30AA348F}"/>
              </a:ext>
            </a:extLst>
          </p:cNvPr>
          <p:cNvSpPr>
            <a:spLocks noGrp="1"/>
          </p:cNvSpPr>
          <p:nvPr>
            <p:ph type="body" sz="quarter" idx="10" hasCustomPrompt="1"/>
          </p:nvPr>
        </p:nvSpPr>
        <p:spPr bwMode="gray">
          <a:xfrm>
            <a:off x="983432" y="5877312"/>
            <a:ext cx="5472000" cy="360000"/>
          </a:xfrm>
        </p:spPr>
        <p:txBody>
          <a:bodyPr anchor="t"/>
          <a:lstStyle>
            <a:lvl1pPr marL="0">
              <a:lnSpc>
                <a:spcPct val="100000"/>
              </a:lnSpc>
              <a:spcBef>
                <a:spcPts val="0"/>
              </a:spcBef>
              <a:spcAft>
                <a:spcPts val="0"/>
              </a:spcAft>
              <a:buFontTx/>
              <a:buNone/>
              <a:defRPr b="0"/>
            </a:lvl1pPr>
            <a:lvl2pPr marL="0">
              <a:spcAft>
                <a:spcPts val="0"/>
              </a:spcAft>
              <a:buFontTx/>
              <a:buNone/>
              <a:defRPr b="0"/>
            </a:lvl2pPr>
            <a:lvl3pPr marL="0" indent="0">
              <a:spcAft>
                <a:spcPts val="0"/>
              </a:spcAft>
              <a:buFontTx/>
              <a:buNone/>
              <a:defRPr b="0"/>
            </a:lvl3pPr>
            <a:lvl4pPr marL="0" indent="0">
              <a:spcAft>
                <a:spcPts val="0"/>
              </a:spcAft>
              <a:buFontTx/>
              <a:buNone/>
              <a:defRPr b="0"/>
            </a:lvl4pPr>
            <a:lvl5pPr marL="0" indent="0">
              <a:spcAft>
                <a:spcPts val="0"/>
              </a:spcAft>
              <a:buFontTx/>
              <a:buNone/>
              <a:defRPr b="0"/>
            </a:lvl5pPr>
            <a:lvl6pPr marL="0" indent="0">
              <a:spcAft>
                <a:spcPts val="0"/>
              </a:spcAft>
              <a:buFontTx/>
              <a:buNone/>
              <a:defRPr b="0"/>
            </a:lvl6pPr>
            <a:lvl7pPr marL="0" indent="0">
              <a:spcAft>
                <a:spcPts val="0"/>
              </a:spcAft>
              <a:buFontTx/>
              <a:buNone/>
              <a:defRPr b="0"/>
            </a:lvl7pPr>
            <a:lvl8pPr marL="0" indent="0">
              <a:spcAft>
                <a:spcPts val="0"/>
              </a:spcAft>
              <a:buFontTx/>
              <a:buNone/>
              <a:defRPr b="0"/>
            </a:lvl8pPr>
            <a:lvl9pPr marL="0" indent="0">
              <a:spcAft>
                <a:spcPts val="0"/>
              </a:spcAft>
              <a:buFontTx/>
              <a:buNone/>
              <a:defRPr b="0"/>
            </a:lvl9pPr>
          </a:lstStyle>
          <a:p>
            <a:pPr lvl="0"/>
            <a:r>
              <a:rPr lang="de-DE"/>
              <a:t>Ort | Datum | Präsentator*in</a:t>
            </a:r>
          </a:p>
        </p:txBody>
      </p:sp>
      <p:pic>
        <p:nvPicPr>
          <p:cNvPr id="5" name="Grafik 4">
            <a:extLst>
              <a:ext uri="{FF2B5EF4-FFF2-40B4-BE49-F238E27FC236}">
                <a16:creationId xmlns:a16="http://schemas.microsoft.com/office/drawing/2014/main" id="{E9433A0D-A2B2-5564-3B48-F4DACB2B19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0657" y="549274"/>
            <a:ext cx="2015684" cy="702186"/>
          </a:xfrm>
          <a:prstGeom prst="rect">
            <a:avLst/>
          </a:prstGeom>
        </p:spPr>
      </p:pic>
    </p:spTree>
    <p:extLst>
      <p:ext uri="{BB962C8B-B14F-4D97-AF65-F5344CB8AC3E}">
        <p14:creationId xmlns:p14="http://schemas.microsoft.com/office/powerpoint/2010/main" val="189186633"/>
      </p:ext>
    </p:extLst>
  </p:cSld>
  <p:clrMapOvr>
    <a:masterClrMapping/>
  </p:clrMapOvr>
  <p:extLst>
    <p:ext uri="{DCECCB84-F9BA-43D5-87BE-67443E8EF086}">
      <p15:sldGuideLst xmlns:p15="http://schemas.microsoft.com/office/powerpoint/2012/main">
        <p15:guide id="1" pos="697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ituation/Problem/Lös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A103474-4EBB-4B30-B1D2-6F6F5D799AB5}"/>
              </a:ext>
            </a:extLst>
          </p:cNvPr>
          <p:cNvSpPr>
            <a:spLocks noGrp="1"/>
          </p:cNvSpPr>
          <p:nvPr>
            <p:ph type="title"/>
          </p:nvPr>
        </p:nvSpPr>
        <p:spPr bwMode="gray"/>
        <p:txBody>
          <a:bodyPr/>
          <a:lstStyle/>
          <a:p>
            <a:r>
              <a:rPr lang="de-DE"/>
              <a:t>Mastertitelformat bearbeiten</a:t>
            </a:r>
          </a:p>
        </p:txBody>
      </p:sp>
      <p:sp>
        <p:nvSpPr>
          <p:cNvPr id="4" name="Fußzeilenplatzhalter 3">
            <a:extLst>
              <a:ext uri="{FF2B5EF4-FFF2-40B4-BE49-F238E27FC236}">
                <a16:creationId xmlns:a16="http://schemas.microsoft.com/office/drawing/2014/main" id="{976D4EE2-D83E-423F-862C-4526945969BB}"/>
              </a:ext>
            </a:extLst>
          </p:cNvPr>
          <p:cNvSpPr>
            <a:spLocks noGrp="1"/>
          </p:cNvSpPr>
          <p:nvPr>
            <p:ph type="ftr" sz="quarter" idx="11"/>
          </p:nvPr>
        </p:nvSpPr>
        <p:spPr bwMode="gray"/>
        <p:txBody>
          <a:bodyPr/>
          <a:lstStyle/>
          <a:p>
            <a:r>
              <a:rPr lang="de-DE"/>
              <a:t>DENEFF PowerPoint Master</a:t>
            </a:r>
          </a:p>
        </p:txBody>
      </p:sp>
      <p:sp>
        <p:nvSpPr>
          <p:cNvPr id="5" name="Foliennummernplatzhalter 4">
            <a:extLst>
              <a:ext uri="{FF2B5EF4-FFF2-40B4-BE49-F238E27FC236}">
                <a16:creationId xmlns:a16="http://schemas.microsoft.com/office/drawing/2014/main" id="{45A1933F-FFB9-489F-8D62-977CE088E776}"/>
              </a:ext>
            </a:extLst>
          </p:cNvPr>
          <p:cNvSpPr>
            <a:spLocks noGrp="1"/>
          </p:cNvSpPr>
          <p:nvPr>
            <p:ph type="sldNum" sz="quarter" idx="12"/>
          </p:nvPr>
        </p:nvSpPr>
        <p:spPr bwMode="gray"/>
        <p:txBody>
          <a:bodyPr/>
          <a:lstStyle/>
          <a:p>
            <a:fld id="{596A2A10-B827-4CCE-9EB2-A13B5A721707}" type="slidenum">
              <a:rPr lang="de-DE" smtClean="0"/>
              <a:t>‹Nr.›</a:t>
            </a:fld>
            <a:endParaRPr lang="de-DE"/>
          </a:p>
        </p:txBody>
      </p:sp>
      <p:sp>
        <p:nvSpPr>
          <p:cNvPr id="9" name="Textplatzhalter 8">
            <a:extLst>
              <a:ext uri="{FF2B5EF4-FFF2-40B4-BE49-F238E27FC236}">
                <a16:creationId xmlns:a16="http://schemas.microsoft.com/office/drawing/2014/main" id="{91C3F82A-3FD6-44A6-85AB-189B93B4EB3C}"/>
              </a:ext>
            </a:extLst>
          </p:cNvPr>
          <p:cNvSpPr>
            <a:spLocks noGrp="1"/>
          </p:cNvSpPr>
          <p:nvPr>
            <p:ph type="body" sz="quarter" idx="14" hasCustomPrompt="1"/>
          </p:nvPr>
        </p:nvSpPr>
        <p:spPr bwMode="gray">
          <a:xfrm>
            <a:off x="550862" y="1628773"/>
            <a:ext cx="3528000" cy="3240000"/>
          </a:xfrm>
        </p:spPr>
        <p:txBody>
          <a:bodyPr/>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de-DE"/>
              <a:t>Situation</a:t>
            </a:r>
          </a:p>
          <a:p>
            <a:pPr lvl="1"/>
            <a:r>
              <a:rPr lang="de-DE"/>
              <a:t>Zweite Ebene</a:t>
            </a:r>
          </a:p>
          <a:p>
            <a:pPr lvl="2"/>
            <a:r>
              <a:rPr lang="de-DE"/>
              <a:t>Dritte Ebene</a:t>
            </a:r>
          </a:p>
          <a:p>
            <a:pPr lvl="3"/>
            <a:r>
              <a:rPr lang="de-DE"/>
              <a:t>Vierte Ebene</a:t>
            </a:r>
          </a:p>
        </p:txBody>
      </p:sp>
      <p:sp>
        <p:nvSpPr>
          <p:cNvPr id="32" name="Textplatzhalter 8">
            <a:extLst>
              <a:ext uri="{FF2B5EF4-FFF2-40B4-BE49-F238E27FC236}">
                <a16:creationId xmlns:a16="http://schemas.microsoft.com/office/drawing/2014/main" id="{46B25DF0-FA31-47E9-9EE6-AC3CA9DD3C77}"/>
              </a:ext>
            </a:extLst>
          </p:cNvPr>
          <p:cNvSpPr>
            <a:spLocks noGrp="1"/>
          </p:cNvSpPr>
          <p:nvPr>
            <p:ph type="body" sz="quarter" idx="16" hasCustomPrompt="1"/>
          </p:nvPr>
        </p:nvSpPr>
        <p:spPr bwMode="gray">
          <a:xfrm>
            <a:off x="4439751" y="1628773"/>
            <a:ext cx="3528000" cy="3240000"/>
          </a:xfrm>
        </p:spPr>
        <p:txBody>
          <a:bodyPr/>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de-DE"/>
              <a:t>Problem</a:t>
            </a:r>
          </a:p>
          <a:p>
            <a:pPr lvl="1"/>
            <a:r>
              <a:rPr lang="de-DE"/>
              <a:t>Zweite Ebene</a:t>
            </a:r>
          </a:p>
          <a:p>
            <a:pPr lvl="2"/>
            <a:r>
              <a:rPr lang="de-DE"/>
              <a:t>Dritte Ebene</a:t>
            </a:r>
          </a:p>
          <a:p>
            <a:pPr lvl="3"/>
            <a:r>
              <a:rPr lang="de-DE"/>
              <a:t>Vierte Ebene</a:t>
            </a:r>
          </a:p>
        </p:txBody>
      </p:sp>
      <p:sp>
        <p:nvSpPr>
          <p:cNvPr id="33" name="Textplatzhalter 8">
            <a:extLst>
              <a:ext uri="{FF2B5EF4-FFF2-40B4-BE49-F238E27FC236}">
                <a16:creationId xmlns:a16="http://schemas.microsoft.com/office/drawing/2014/main" id="{476C9EAF-CA87-4BE2-B5A3-BC22A408BC8F}"/>
              </a:ext>
            </a:extLst>
          </p:cNvPr>
          <p:cNvSpPr>
            <a:spLocks noGrp="1"/>
          </p:cNvSpPr>
          <p:nvPr>
            <p:ph type="body" sz="quarter" idx="17" hasCustomPrompt="1"/>
          </p:nvPr>
        </p:nvSpPr>
        <p:spPr bwMode="gray">
          <a:xfrm>
            <a:off x="8328640" y="1628773"/>
            <a:ext cx="3528000" cy="3240000"/>
          </a:xfrm>
        </p:spPr>
        <p:txBody>
          <a:bodyPr tIns="0"/>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de-DE"/>
              <a:t>Lösung</a:t>
            </a:r>
          </a:p>
          <a:p>
            <a:pPr lvl="1"/>
            <a:r>
              <a:rPr lang="de-DE"/>
              <a:t>Zweite Ebene</a:t>
            </a:r>
          </a:p>
          <a:p>
            <a:pPr lvl="2"/>
            <a:r>
              <a:rPr lang="de-DE"/>
              <a:t>Dritte Ebene</a:t>
            </a:r>
          </a:p>
          <a:p>
            <a:pPr lvl="3"/>
            <a:r>
              <a:rPr lang="de-DE"/>
              <a:t>Vierte Ebene</a:t>
            </a:r>
          </a:p>
        </p:txBody>
      </p:sp>
      <p:sp>
        <p:nvSpPr>
          <p:cNvPr id="27" name="Textplatzhalter 8">
            <a:extLst>
              <a:ext uri="{FF2B5EF4-FFF2-40B4-BE49-F238E27FC236}">
                <a16:creationId xmlns:a16="http://schemas.microsoft.com/office/drawing/2014/main" id="{8DF5F904-B4C8-4755-B9BF-C991A0B5F9BB}"/>
              </a:ext>
            </a:extLst>
          </p:cNvPr>
          <p:cNvSpPr>
            <a:spLocks noGrp="1"/>
          </p:cNvSpPr>
          <p:nvPr>
            <p:ph type="body" sz="quarter" idx="15" hasCustomPrompt="1"/>
          </p:nvPr>
        </p:nvSpPr>
        <p:spPr bwMode="gray">
          <a:xfrm>
            <a:off x="551384" y="5013176"/>
            <a:ext cx="11304000" cy="1224000"/>
          </a:xfrm>
          <a:prstGeom prst="rect">
            <a:avLst/>
          </a:prstGeom>
          <a:solidFill>
            <a:schemeClr val="bg1"/>
          </a:solidFill>
          <a:ln w="25400">
            <a:noFill/>
          </a:ln>
        </p:spPr>
        <p:txBody>
          <a:bodyPr lIns="0" tIns="0" rIns="0" bIns="0"/>
          <a:lstStyle>
            <a:lvl1pPr>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de-DE"/>
              <a:t>Fazit</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2635381162"/>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Kontakt">
    <p:spTree>
      <p:nvGrpSpPr>
        <p:cNvPr id="1" name=""/>
        <p:cNvGrpSpPr/>
        <p:nvPr/>
      </p:nvGrpSpPr>
      <p:grpSpPr>
        <a:xfrm>
          <a:off x="0" y="0"/>
          <a:ext cx="0" cy="0"/>
          <a:chOff x="0" y="0"/>
          <a:chExt cx="0" cy="0"/>
        </a:xfrm>
      </p:grpSpPr>
      <p:sp>
        <p:nvSpPr>
          <p:cNvPr id="48" name="Grafik 2">
            <a:extLst>
              <a:ext uri="{FF2B5EF4-FFF2-40B4-BE49-F238E27FC236}">
                <a16:creationId xmlns:a16="http://schemas.microsoft.com/office/drawing/2014/main" id="{2D8DE03F-3016-4E40-8468-E2F38A7304DC}"/>
              </a:ext>
            </a:extLst>
          </p:cNvPr>
          <p:cNvSpPr/>
          <p:nvPr userDrawn="1"/>
        </p:nvSpPr>
        <p:spPr bwMode="gray">
          <a:xfrm>
            <a:off x="3935760" y="3861048"/>
            <a:ext cx="938819" cy="975512"/>
          </a:xfrm>
          <a:custGeom>
            <a:avLst/>
            <a:gdLst>
              <a:gd name="connsiteX0" fmla="*/ 723 w 1221432"/>
              <a:gd name="connsiteY0" fmla="*/ 630127 h 1269170"/>
              <a:gd name="connsiteX1" fmla="*/ 1199 w 1221432"/>
              <a:gd name="connsiteY1" fmla="*/ 195025 h 1269170"/>
              <a:gd name="connsiteX2" fmla="*/ 11200 w 1221432"/>
              <a:gd name="connsiteY2" fmla="*/ 115396 h 1269170"/>
              <a:gd name="connsiteX3" fmla="*/ 156171 w 1221432"/>
              <a:gd name="connsiteY3" fmla="*/ 1953 h 1269170"/>
              <a:gd name="connsiteX4" fmla="*/ 645089 w 1221432"/>
              <a:gd name="connsiteY4" fmla="*/ 3287 h 1269170"/>
              <a:gd name="connsiteX5" fmla="*/ 991704 w 1221432"/>
              <a:gd name="connsiteY5" fmla="*/ 146162 h 1269170"/>
              <a:gd name="connsiteX6" fmla="*/ 1220971 w 1221432"/>
              <a:gd name="connsiteY6" fmla="*/ 633270 h 1269170"/>
              <a:gd name="connsiteX7" fmla="*/ 1100384 w 1221432"/>
              <a:gd name="connsiteY7" fmla="*/ 1001983 h 1269170"/>
              <a:gd name="connsiteX8" fmla="*/ 573271 w 1221432"/>
              <a:gd name="connsiteY8" fmla="*/ 1267540 h 1269170"/>
              <a:gd name="connsiteX9" fmla="*/ 200938 w 1221432"/>
              <a:gd name="connsiteY9" fmla="*/ 1268778 h 1269170"/>
              <a:gd name="connsiteX10" fmla="*/ -325 w 1221432"/>
              <a:gd name="connsiteY10" fmla="*/ 1069610 h 1269170"/>
              <a:gd name="connsiteX11" fmla="*/ 723 w 1221432"/>
              <a:gd name="connsiteY11" fmla="*/ 630127 h 1269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1432" h="1269170">
                <a:moveTo>
                  <a:pt x="723" y="630127"/>
                </a:moveTo>
                <a:cubicBezTo>
                  <a:pt x="723" y="485156"/>
                  <a:pt x="247" y="340091"/>
                  <a:pt x="1199" y="195025"/>
                </a:cubicBezTo>
                <a:cubicBezTo>
                  <a:pt x="1132" y="168164"/>
                  <a:pt x="4495" y="141409"/>
                  <a:pt x="11200" y="115396"/>
                </a:cubicBezTo>
                <a:cubicBezTo>
                  <a:pt x="28650" y="49369"/>
                  <a:pt x="87886" y="3020"/>
                  <a:pt x="156171" y="1953"/>
                </a:cubicBezTo>
                <a:cubicBezTo>
                  <a:pt x="319144" y="715"/>
                  <a:pt x="482307" y="-2905"/>
                  <a:pt x="645089" y="3287"/>
                </a:cubicBezTo>
                <a:cubicBezTo>
                  <a:pt x="775867" y="8240"/>
                  <a:pt x="892168" y="62532"/>
                  <a:pt x="991704" y="146162"/>
                </a:cubicBezTo>
                <a:cubicBezTo>
                  <a:pt x="1142008" y="272654"/>
                  <a:pt x="1219161" y="437341"/>
                  <a:pt x="1220971" y="633270"/>
                </a:cubicBezTo>
                <a:cubicBezTo>
                  <a:pt x="1222333" y="766078"/>
                  <a:pt x="1179956" y="895646"/>
                  <a:pt x="1100384" y="1001983"/>
                </a:cubicBezTo>
                <a:cubicBezTo>
                  <a:pt x="969987" y="1180577"/>
                  <a:pt x="791869" y="1264968"/>
                  <a:pt x="573271" y="1267540"/>
                </a:cubicBezTo>
                <a:cubicBezTo>
                  <a:pt x="449446" y="1268969"/>
                  <a:pt x="324954" y="1264301"/>
                  <a:pt x="200938" y="1268778"/>
                </a:cubicBezTo>
                <a:cubicBezTo>
                  <a:pt x="76923" y="1273255"/>
                  <a:pt x="-3754" y="1186101"/>
                  <a:pt x="-325" y="1069610"/>
                </a:cubicBezTo>
                <a:cubicBezTo>
                  <a:pt x="3961" y="923306"/>
                  <a:pt x="723" y="776716"/>
                  <a:pt x="723" y="630127"/>
                </a:cubicBezTo>
                <a:close/>
              </a:path>
            </a:pathLst>
          </a:custGeom>
          <a:gradFill flip="none" rotWithShape="1">
            <a:gsLst>
              <a:gs pos="0">
                <a:srgbClr val="008795"/>
              </a:gs>
              <a:gs pos="100000">
                <a:srgbClr val="00C7D6"/>
              </a:gs>
            </a:gsLst>
            <a:lin ang="18900000" scaled="1"/>
            <a:tileRect/>
          </a:gradFill>
          <a:ln w="9525"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AA103474-4EBB-4B30-B1D2-6F6F5D799AB5}"/>
              </a:ext>
            </a:extLst>
          </p:cNvPr>
          <p:cNvSpPr>
            <a:spLocks noGrp="1"/>
          </p:cNvSpPr>
          <p:nvPr>
            <p:ph type="title" hasCustomPrompt="1"/>
          </p:nvPr>
        </p:nvSpPr>
        <p:spPr bwMode="gray"/>
        <p:txBody>
          <a:bodyPr/>
          <a:lstStyle>
            <a:lvl1pPr>
              <a:defRPr sz="5400"/>
            </a:lvl1pPr>
          </a:lstStyle>
          <a:p>
            <a:r>
              <a:rPr lang="de-DE"/>
              <a:t>Ansprechpersonen</a:t>
            </a:r>
          </a:p>
        </p:txBody>
      </p:sp>
      <p:grpSp>
        <p:nvGrpSpPr>
          <p:cNvPr id="6" name="Gruppieren 5">
            <a:extLst>
              <a:ext uri="{FF2B5EF4-FFF2-40B4-BE49-F238E27FC236}">
                <a16:creationId xmlns:a16="http://schemas.microsoft.com/office/drawing/2014/main" id="{C200ADB4-54EF-45D9-9ACD-0CE7A3FE1761}"/>
              </a:ext>
            </a:extLst>
          </p:cNvPr>
          <p:cNvGrpSpPr/>
          <p:nvPr userDrawn="1"/>
        </p:nvGrpSpPr>
        <p:grpSpPr bwMode="gray">
          <a:xfrm>
            <a:off x="551384" y="3325368"/>
            <a:ext cx="2199022" cy="2426113"/>
            <a:chOff x="9281825" y="4581128"/>
            <a:chExt cx="1653166" cy="1823887"/>
          </a:xfrm>
        </p:grpSpPr>
        <p:sp>
          <p:nvSpPr>
            <p:cNvPr id="7" name="Grafik 2">
              <a:extLst>
                <a:ext uri="{FF2B5EF4-FFF2-40B4-BE49-F238E27FC236}">
                  <a16:creationId xmlns:a16="http://schemas.microsoft.com/office/drawing/2014/main" id="{12F3640B-5973-4965-AE1F-71B75AD6DD4B}"/>
                </a:ext>
              </a:extLst>
            </p:cNvPr>
            <p:cNvSpPr/>
            <p:nvPr/>
          </p:nvSpPr>
          <p:spPr bwMode="gray">
            <a:xfrm>
              <a:off x="9281825" y="5380750"/>
              <a:ext cx="1653166" cy="1024265"/>
            </a:xfrm>
            <a:custGeom>
              <a:avLst/>
              <a:gdLst>
                <a:gd name="connsiteX0" fmla="*/ 828722 w 1653166"/>
                <a:gd name="connsiteY0" fmla="*/ 1023868 h 1024265"/>
                <a:gd name="connsiteX1" fmla="*/ 231694 w 1653166"/>
                <a:gd name="connsiteY1" fmla="*/ 1023868 h 1024265"/>
                <a:gd name="connsiteX2" fmla="*/ 151970 w 1653166"/>
                <a:gd name="connsiteY2" fmla="*/ 1014343 h 1024265"/>
                <a:gd name="connsiteX3" fmla="*/ -430 w 1653166"/>
                <a:gd name="connsiteY3" fmla="*/ 820033 h 1024265"/>
                <a:gd name="connsiteX4" fmla="*/ 432768 w 1653166"/>
                <a:gd name="connsiteY4" fmla="*/ 99181 h 1024265"/>
                <a:gd name="connsiteX5" fmla="*/ 927496 w 1653166"/>
                <a:gd name="connsiteY5" fmla="*/ 6217 h 1024265"/>
                <a:gd name="connsiteX6" fmla="*/ 1344501 w 1653166"/>
                <a:gd name="connsiteY6" fmla="*/ 179572 h 1024265"/>
                <a:gd name="connsiteX7" fmla="*/ 1651873 w 1653166"/>
                <a:gd name="connsiteY7" fmla="*/ 845465 h 1024265"/>
                <a:gd name="connsiteX8" fmla="*/ 1461373 w 1653166"/>
                <a:gd name="connsiteY8" fmla="*/ 1023392 h 1024265"/>
                <a:gd name="connsiteX9" fmla="*/ 1416509 w 1653166"/>
                <a:gd name="connsiteY9" fmla="*/ 1023963 h 1024265"/>
                <a:gd name="connsiteX10" fmla="*/ 828722 w 1653166"/>
                <a:gd name="connsiteY10" fmla="*/ 1023868 h 1024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3166" h="1024265">
                  <a:moveTo>
                    <a:pt x="828722" y="1023868"/>
                  </a:moveTo>
                  <a:cubicBezTo>
                    <a:pt x="629744" y="1023868"/>
                    <a:pt x="430672" y="1023868"/>
                    <a:pt x="231694" y="1023868"/>
                  </a:cubicBezTo>
                  <a:cubicBezTo>
                    <a:pt x="204834" y="1023906"/>
                    <a:pt x="178068" y="1020706"/>
                    <a:pt x="151970" y="1014343"/>
                  </a:cubicBezTo>
                  <a:cubicBezTo>
                    <a:pt x="63579" y="990730"/>
                    <a:pt x="1476" y="911511"/>
                    <a:pt x="-430" y="820033"/>
                  </a:cubicBezTo>
                  <a:cubicBezTo>
                    <a:pt x="-430" y="518128"/>
                    <a:pt x="166162" y="240865"/>
                    <a:pt x="432768" y="99181"/>
                  </a:cubicBezTo>
                  <a:cubicBezTo>
                    <a:pt x="587359" y="18600"/>
                    <a:pt x="751950" y="-15595"/>
                    <a:pt x="927496" y="6217"/>
                  </a:cubicBezTo>
                  <a:cubicBezTo>
                    <a:pt x="1083230" y="25267"/>
                    <a:pt x="1223819" y="80988"/>
                    <a:pt x="1344501" y="179572"/>
                  </a:cubicBezTo>
                  <a:cubicBezTo>
                    <a:pt x="1554051" y="351022"/>
                    <a:pt x="1663684" y="570764"/>
                    <a:pt x="1651873" y="845465"/>
                  </a:cubicBezTo>
                  <a:cubicBezTo>
                    <a:pt x="1648824" y="916045"/>
                    <a:pt x="1574815" y="1015962"/>
                    <a:pt x="1461373" y="1023392"/>
                  </a:cubicBezTo>
                  <a:cubicBezTo>
                    <a:pt x="1446418" y="1024344"/>
                    <a:pt x="1431464" y="1023963"/>
                    <a:pt x="1416509" y="1023963"/>
                  </a:cubicBezTo>
                  <a:cubicBezTo>
                    <a:pt x="1220294" y="1024030"/>
                    <a:pt x="1024366" y="1023992"/>
                    <a:pt x="828722" y="1023868"/>
                  </a:cubicBezTo>
                  <a:close/>
                </a:path>
              </a:pathLst>
            </a:custGeom>
            <a:gradFill>
              <a:gsLst>
                <a:gs pos="5000">
                  <a:srgbClr val="FC5B2F"/>
                </a:gs>
                <a:gs pos="100000">
                  <a:srgbClr val="FE935B"/>
                </a:gs>
              </a:gsLst>
              <a:lin ang="18900000" scaled="1"/>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p>
          </p:txBody>
        </p:sp>
        <p:sp>
          <p:nvSpPr>
            <p:cNvPr id="8" name="Grafik 2">
              <a:extLst>
                <a:ext uri="{FF2B5EF4-FFF2-40B4-BE49-F238E27FC236}">
                  <a16:creationId xmlns:a16="http://schemas.microsoft.com/office/drawing/2014/main" id="{A7AA98C5-325E-4BF6-996F-A716E0C3375F}"/>
                </a:ext>
              </a:extLst>
            </p:cNvPr>
            <p:cNvSpPr/>
            <p:nvPr/>
          </p:nvSpPr>
          <p:spPr bwMode="gray">
            <a:xfrm>
              <a:off x="9736144" y="4581128"/>
              <a:ext cx="748786" cy="746739"/>
            </a:xfrm>
            <a:custGeom>
              <a:avLst/>
              <a:gdLst>
                <a:gd name="connsiteX0" fmla="*/ 378594 w 748786"/>
                <a:gd name="connsiteY0" fmla="*/ 214 h 746739"/>
                <a:gd name="connsiteX1" fmla="*/ 748355 w 748786"/>
                <a:gd name="connsiteY1" fmla="*/ 368355 h 746739"/>
                <a:gd name="connsiteX2" fmla="*/ 372117 w 748786"/>
                <a:gd name="connsiteY2" fmla="*/ 746508 h 746739"/>
                <a:gd name="connsiteX3" fmla="*/ 368021 w 748786"/>
                <a:gd name="connsiteY3" fmla="*/ 746498 h 746739"/>
                <a:gd name="connsiteX4" fmla="*/ -310 w 748786"/>
                <a:gd name="connsiteY4" fmla="*/ 362355 h 746739"/>
                <a:gd name="connsiteX5" fmla="*/ 378594 w 748786"/>
                <a:gd name="connsiteY5" fmla="*/ 214 h 746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8786" h="746739">
                  <a:moveTo>
                    <a:pt x="378594" y="214"/>
                  </a:moveTo>
                  <a:cubicBezTo>
                    <a:pt x="571666" y="-8834"/>
                    <a:pt x="748450" y="171664"/>
                    <a:pt x="748355" y="368355"/>
                  </a:cubicBezTo>
                  <a:cubicBezTo>
                    <a:pt x="748926" y="576667"/>
                    <a:pt x="580429" y="745974"/>
                    <a:pt x="372117" y="746508"/>
                  </a:cubicBezTo>
                  <a:cubicBezTo>
                    <a:pt x="370784" y="746517"/>
                    <a:pt x="369355" y="746508"/>
                    <a:pt x="368021" y="746498"/>
                  </a:cubicBezTo>
                  <a:cubicBezTo>
                    <a:pt x="161329" y="746498"/>
                    <a:pt x="-5549" y="559713"/>
                    <a:pt x="-310" y="362355"/>
                  </a:cubicBezTo>
                  <a:cubicBezTo>
                    <a:pt x="4643" y="177189"/>
                    <a:pt x="167139" y="-10549"/>
                    <a:pt x="378594" y="214"/>
                  </a:cubicBezTo>
                  <a:close/>
                </a:path>
              </a:pathLst>
            </a:custGeom>
            <a:gradFill>
              <a:gsLst>
                <a:gs pos="5000">
                  <a:srgbClr val="FC5B2F"/>
                </a:gs>
                <a:gs pos="100000">
                  <a:srgbClr val="FE935B"/>
                </a:gs>
              </a:gsLst>
              <a:lin ang="18900000" scaled="1"/>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p>
          </p:txBody>
        </p:sp>
      </p:grpSp>
      <p:grpSp>
        <p:nvGrpSpPr>
          <p:cNvPr id="10" name="Gruppieren 9">
            <a:extLst>
              <a:ext uri="{FF2B5EF4-FFF2-40B4-BE49-F238E27FC236}">
                <a16:creationId xmlns:a16="http://schemas.microsoft.com/office/drawing/2014/main" id="{AE114C6D-6C84-46D1-A918-C35481FE5079}"/>
              </a:ext>
            </a:extLst>
          </p:cNvPr>
          <p:cNvGrpSpPr/>
          <p:nvPr userDrawn="1"/>
        </p:nvGrpSpPr>
        <p:grpSpPr bwMode="gray">
          <a:xfrm>
            <a:off x="1719251" y="5285556"/>
            <a:ext cx="1158591" cy="951756"/>
            <a:chOff x="9542706" y="466232"/>
            <a:chExt cx="1158591" cy="951756"/>
          </a:xfrm>
        </p:grpSpPr>
        <p:sp>
          <p:nvSpPr>
            <p:cNvPr id="11" name="Grafik 2">
              <a:extLst>
                <a:ext uri="{FF2B5EF4-FFF2-40B4-BE49-F238E27FC236}">
                  <a16:creationId xmlns:a16="http://schemas.microsoft.com/office/drawing/2014/main" id="{693DD45A-1809-4ACF-AB5C-5622AB6C97FD}"/>
                </a:ext>
              </a:extLst>
            </p:cNvPr>
            <p:cNvSpPr/>
            <p:nvPr/>
          </p:nvSpPr>
          <p:spPr bwMode="gray">
            <a:xfrm>
              <a:off x="10575216" y="672982"/>
              <a:ext cx="125652" cy="125498"/>
            </a:xfrm>
            <a:custGeom>
              <a:avLst/>
              <a:gdLst>
                <a:gd name="connsiteX0" fmla="*/ 125119 w 125652"/>
                <a:gd name="connsiteY0" fmla="*/ 60406 h 125498"/>
                <a:gd name="connsiteX1" fmla="*/ 66254 w 125652"/>
                <a:gd name="connsiteY1" fmla="*/ 125271 h 125498"/>
                <a:gd name="connsiteX2" fmla="*/ -421 w 125652"/>
                <a:gd name="connsiteY2" fmla="*/ 60406 h 125498"/>
                <a:gd name="connsiteX3" fmla="*/ 62825 w 125652"/>
                <a:gd name="connsiteY3" fmla="*/ 17 h 125498"/>
                <a:gd name="connsiteX4" fmla="*/ 125024 w 125652"/>
                <a:gd name="connsiteY4" fmla="*/ 51681 h 125498"/>
                <a:gd name="connsiteX5" fmla="*/ 125119 w 125652"/>
                <a:gd name="connsiteY5" fmla="*/ 60406 h 12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52" h="125498">
                  <a:moveTo>
                    <a:pt x="125119" y="60406"/>
                  </a:moveTo>
                  <a:cubicBezTo>
                    <a:pt x="125119" y="97744"/>
                    <a:pt x="100449" y="124985"/>
                    <a:pt x="66254" y="125271"/>
                  </a:cubicBezTo>
                  <a:cubicBezTo>
                    <a:pt x="30345" y="124652"/>
                    <a:pt x="1199" y="96249"/>
                    <a:pt x="-421" y="60406"/>
                  </a:cubicBezTo>
                  <a:cubicBezTo>
                    <a:pt x="-992" y="25925"/>
                    <a:pt x="25391" y="779"/>
                    <a:pt x="62825" y="17"/>
                  </a:cubicBezTo>
                  <a:cubicBezTo>
                    <a:pt x="94258" y="-2878"/>
                    <a:pt x="122070" y="20248"/>
                    <a:pt x="125024" y="51681"/>
                  </a:cubicBezTo>
                  <a:cubicBezTo>
                    <a:pt x="125214" y="54577"/>
                    <a:pt x="125309" y="57501"/>
                    <a:pt x="125119" y="60406"/>
                  </a:cubicBezTo>
                  <a:close/>
                </a:path>
              </a:pathLst>
            </a:custGeom>
            <a:solidFill>
              <a:srgbClr val="000000"/>
            </a:solidFill>
            <a:ln w="9525" cap="flat">
              <a:noFill/>
              <a:prstDash val="solid"/>
              <a:miter/>
            </a:ln>
          </p:spPr>
          <p:txBody>
            <a:bodyPr rtlCol="0" anchor="ctr"/>
            <a:lstStyle/>
            <a:p>
              <a:endParaRPr lang="de-DE"/>
            </a:p>
          </p:txBody>
        </p:sp>
        <p:sp>
          <p:nvSpPr>
            <p:cNvPr id="12" name="Grafik 2">
              <a:extLst>
                <a:ext uri="{FF2B5EF4-FFF2-40B4-BE49-F238E27FC236}">
                  <a16:creationId xmlns:a16="http://schemas.microsoft.com/office/drawing/2014/main" id="{FFCB752D-D881-462B-BB36-45752FE76723}"/>
                </a:ext>
              </a:extLst>
            </p:cNvPr>
            <p:cNvSpPr/>
            <p:nvPr/>
          </p:nvSpPr>
          <p:spPr bwMode="gray">
            <a:xfrm>
              <a:off x="9542906" y="879329"/>
              <a:ext cx="125577" cy="125659"/>
            </a:xfrm>
            <a:custGeom>
              <a:avLst/>
              <a:gdLst>
                <a:gd name="connsiteX0" fmla="*/ 124919 w 125577"/>
                <a:gd name="connsiteY0" fmla="*/ 62084 h 125659"/>
                <a:gd name="connsiteX1" fmla="*/ 64531 w 125577"/>
                <a:gd name="connsiteY1" fmla="*/ 125426 h 125659"/>
                <a:gd name="connsiteX2" fmla="*/ -430 w 125577"/>
                <a:gd name="connsiteY2" fmla="*/ 58751 h 125659"/>
                <a:gd name="connsiteX3" fmla="*/ 64436 w 125577"/>
                <a:gd name="connsiteY3" fmla="*/ -114 h 125659"/>
                <a:gd name="connsiteX4" fmla="*/ 125015 w 125577"/>
                <a:gd name="connsiteY4" fmla="*/ 53359 h 125659"/>
                <a:gd name="connsiteX5" fmla="*/ 124919 w 125577"/>
                <a:gd name="connsiteY5" fmla="*/ 62084 h 12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77" h="125659">
                  <a:moveTo>
                    <a:pt x="124919" y="62084"/>
                  </a:moveTo>
                  <a:cubicBezTo>
                    <a:pt x="124157" y="99518"/>
                    <a:pt x="99012" y="125902"/>
                    <a:pt x="64531" y="125426"/>
                  </a:cubicBezTo>
                  <a:cubicBezTo>
                    <a:pt x="28717" y="123778"/>
                    <a:pt x="332" y="94612"/>
                    <a:pt x="-430" y="58751"/>
                  </a:cubicBezTo>
                  <a:cubicBezTo>
                    <a:pt x="-430" y="24556"/>
                    <a:pt x="27002" y="-114"/>
                    <a:pt x="64436" y="-114"/>
                  </a:cubicBezTo>
                  <a:cubicBezTo>
                    <a:pt x="95963" y="-2086"/>
                    <a:pt x="123109" y="21860"/>
                    <a:pt x="125015" y="53359"/>
                  </a:cubicBezTo>
                  <a:cubicBezTo>
                    <a:pt x="125205" y="56265"/>
                    <a:pt x="125205" y="59179"/>
                    <a:pt x="124919" y="62084"/>
                  </a:cubicBezTo>
                  <a:close/>
                </a:path>
              </a:pathLst>
            </a:custGeom>
            <a:solidFill>
              <a:srgbClr val="000000"/>
            </a:solidFill>
            <a:ln w="9525" cap="flat">
              <a:noFill/>
              <a:prstDash val="solid"/>
              <a:miter/>
            </a:ln>
          </p:spPr>
          <p:txBody>
            <a:bodyPr rtlCol="0" anchor="ctr"/>
            <a:lstStyle/>
            <a:p>
              <a:endParaRPr lang="de-DE"/>
            </a:p>
          </p:txBody>
        </p:sp>
        <p:sp>
          <p:nvSpPr>
            <p:cNvPr id="13" name="Grafik 2">
              <a:extLst>
                <a:ext uri="{FF2B5EF4-FFF2-40B4-BE49-F238E27FC236}">
                  <a16:creationId xmlns:a16="http://schemas.microsoft.com/office/drawing/2014/main" id="{A7618D17-384E-416B-AF87-B9AB9B7317E0}"/>
                </a:ext>
              </a:extLst>
            </p:cNvPr>
            <p:cNvSpPr/>
            <p:nvPr/>
          </p:nvSpPr>
          <p:spPr bwMode="gray">
            <a:xfrm>
              <a:off x="9749949" y="879440"/>
              <a:ext cx="125246" cy="125541"/>
            </a:xfrm>
            <a:custGeom>
              <a:avLst/>
              <a:gdLst>
                <a:gd name="connsiteX0" fmla="*/ 66276 w 125246"/>
                <a:gd name="connsiteY0" fmla="*/ 125315 h 125541"/>
                <a:gd name="connsiteX1" fmla="*/ -399 w 125246"/>
                <a:gd name="connsiteY1" fmla="*/ 61212 h 125541"/>
                <a:gd name="connsiteX2" fmla="*/ 61990 w 125246"/>
                <a:gd name="connsiteY2" fmla="*/ 61 h 125541"/>
                <a:gd name="connsiteX3" fmla="*/ 124569 w 125246"/>
                <a:gd name="connsiteY3" fmla="*/ 51239 h 125541"/>
                <a:gd name="connsiteX4" fmla="*/ 124759 w 125246"/>
                <a:gd name="connsiteY4" fmla="*/ 59688 h 125541"/>
                <a:gd name="connsiteX5" fmla="*/ 66276 w 125246"/>
                <a:gd name="connsiteY5" fmla="*/ 125315 h 125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246" h="125541">
                  <a:moveTo>
                    <a:pt x="66276" y="125315"/>
                  </a:moveTo>
                  <a:cubicBezTo>
                    <a:pt x="30652" y="124810"/>
                    <a:pt x="1506" y="96787"/>
                    <a:pt x="-399" y="61212"/>
                  </a:cubicBezTo>
                  <a:cubicBezTo>
                    <a:pt x="-1447" y="26636"/>
                    <a:pt x="24461" y="1204"/>
                    <a:pt x="61990" y="61"/>
                  </a:cubicBezTo>
                  <a:cubicBezTo>
                    <a:pt x="93422" y="-3082"/>
                    <a:pt x="121426" y="19835"/>
                    <a:pt x="124569" y="51239"/>
                  </a:cubicBezTo>
                  <a:cubicBezTo>
                    <a:pt x="124855" y="54049"/>
                    <a:pt x="124855" y="56868"/>
                    <a:pt x="124759" y="59688"/>
                  </a:cubicBezTo>
                  <a:cubicBezTo>
                    <a:pt x="124855" y="97025"/>
                    <a:pt x="100470" y="124553"/>
                    <a:pt x="66276" y="125315"/>
                  </a:cubicBezTo>
                  <a:close/>
                </a:path>
              </a:pathLst>
            </a:custGeom>
            <a:solidFill>
              <a:srgbClr val="000000"/>
            </a:solidFill>
            <a:ln w="9525" cap="flat">
              <a:noFill/>
              <a:prstDash val="solid"/>
              <a:miter/>
            </a:ln>
          </p:spPr>
          <p:txBody>
            <a:bodyPr rtlCol="0" anchor="ctr"/>
            <a:lstStyle/>
            <a:p>
              <a:endParaRPr lang="de-DE"/>
            </a:p>
          </p:txBody>
        </p:sp>
        <p:sp>
          <p:nvSpPr>
            <p:cNvPr id="14" name="Grafik 2">
              <a:extLst>
                <a:ext uri="{FF2B5EF4-FFF2-40B4-BE49-F238E27FC236}">
                  <a16:creationId xmlns:a16="http://schemas.microsoft.com/office/drawing/2014/main" id="{8CE4AD79-6A33-4C0B-BF49-B0A984BDBFA3}"/>
                </a:ext>
              </a:extLst>
            </p:cNvPr>
            <p:cNvSpPr/>
            <p:nvPr/>
          </p:nvSpPr>
          <p:spPr bwMode="gray">
            <a:xfrm>
              <a:off x="9956451" y="879440"/>
              <a:ext cx="125246" cy="125541"/>
            </a:xfrm>
            <a:custGeom>
              <a:avLst/>
              <a:gdLst>
                <a:gd name="connsiteX0" fmla="*/ 66276 w 125246"/>
                <a:gd name="connsiteY0" fmla="*/ 125315 h 125541"/>
                <a:gd name="connsiteX1" fmla="*/ -399 w 125246"/>
                <a:gd name="connsiteY1" fmla="*/ 61212 h 125541"/>
                <a:gd name="connsiteX2" fmla="*/ 61989 w 125246"/>
                <a:gd name="connsiteY2" fmla="*/ 61 h 125541"/>
                <a:gd name="connsiteX3" fmla="*/ 124569 w 125246"/>
                <a:gd name="connsiteY3" fmla="*/ 51239 h 125541"/>
                <a:gd name="connsiteX4" fmla="*/ 124759 w 125246"/>
                <a:gd name="connsiteY4" fmla="*/ 59688 h 125541"/>
                <a:gd name="connsiteX5" fmla="*/ 66276 w 125246"/>
                <a:gd name="connsiteY5" fmla="*/ 125315 h 125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246" h="125541">
                  <a:moveTo>
                    <a:pt x="66276" y="125315"/>
                  </a:moveTo>
                  <a:cubicBezTo>
                    <a:pt x="30652" y="124810"/>
                    <a:pt x="1505" y="96787"/>
                    <a:pt x="-399" y="61212"/>
                  </a:cubicBezTo>
                  <a:cubicBezTo>
                    <a:pt x="-1447" y="26636"/>
                    <a:pt x="24461" y="1204"/>
                    <a:pt x="61989" y="61"/>
                  </a:cubicBezTo>
                  <a:cubicBezTo>
                    <a:pt x="93422" y="-3082"/>
                    <a:pt x="121425" y="19835"/>
                    <a:pt x="124569" y="51239"/>
                  </a:cubicBezTo>
                  <a:cubicBezTo>
                    <a:pt x="124855" y="54049"/>
                    <a:pt x="124855" y="56868"/>
                    <a:pt x="124759" y="59688"/>
                  </a:cubicBezTo>
                  <a:cubicBezTo>
                    <a:pt x="124855" y="97025"/>
                    <a:pt x="100470" y="124553"/>
                    <a:pt x="66276" y="125315"/>
                  </a:cubicBezTo>
                  <a:close/>
                </a:path>
              </a:pathLst>
            </a:custGeom>
            <a:solidFill>
              <a:srgbClr val="000000"/>
            </a:solidFill>
            <a:ln w="9525" cap="flat">
              <a:noFill/>
              <a:prstDash val="solid"/>
              <a:miter/>
            </a:ln>
          </p:spPr>
          <p:txBody>
            <a:bodyPr rtlCol="0" anchor="ctr"/>
            <a:lstStyle/>
            <a:p>
              <a:endParaRPr lang="de-DE"/>
            </a:p>
          </p:txBody>
        </p:sp>
        <p:sp>
          <p:nvSpPr>
            <p:cNvPr id="15" name="Grafik 2">
              <a:extLst>
                <a:ext uri="{FF2B5EF4-FFF2-40B4-BE49-F238E27FC236}">
                  <a16:creationId xmlns:a16="http://schemas.microsoft.com/office/drawing/2014/main" id="{E6115E45-FD35-4556-B35E-3243A184BCBF}"/>
                </a:ext>
              </a:extLst>
            </p:cNvPr>
            <p:cNvSpPr/>
            <p:nvPr/>
          </p:nvSpPr>
          <p:spPr bwMode="gray">
            <a:xfrm>
              <a:off x="10162508" y="879546"/>
              <a:ext cx="125500" cy="125361"/>
            </a:xfrm>
            <a:custGeom>
              <a:avLst/>
              <a:gdLst>
                <a:gd name="connsiteX0" fmla="*/ 64816 w 125500"/>
                <a:gd name="connsiteY0" fmla="*/ -141 h 125361"/>
                <a:gd name="connsiteX1" fmla="*/ 125014 w 125500"/>
                <a:gd name="connsiteY1" fmla="*/ 53809 h 125361"/>
                <a:gd name="connsiteX2" fmla="*/ 124824 w 125500"/>
                <a:gd name="connsiteY2" fmla="*/ 62343 h 125361"/>
                <a:gd name="connsiteX3" fmla="*/ 63959 w 125500"/>
                <a:gd name="connsiteY3" fmla="*/ 125113 h 125361"/>
                <a:gd name="connsiteX4" fmla="*/ -430 w 125500"/>
                <a:gd name="connsiteY4" fmla="*/ 58438 h 125361"/>
                <a:gd name="connsiteX5" fmla="*/ 64816 w 125500"/>
                <a:gd name="connsiteY5" fmla="*/ -141 h 12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00" h="125361">
                  <a:moveTo>
                    <a:pt x="64816" y="-141"/>
                  </a:moveTo>
                  <a:cubicBezTo>
                    <a:pt x="96343" y="-1865"/>
                    <a:pt x="123300" y="22291"/>
                    <a:pt x="125014" y="53809"/>
                  </a:cubicBezTo>
                  <a:cubicBezTo>
                    <a:pt x="125109" y="56657"/>
                    <a:pt x="125109" y="59505"/>
                    <a:pt x="124824" y="62343"/>
                  </a:cubicBezTo>
                  <a:cubicBezTo>
                    <a:pt x="123775" y="99872"/>
                    <a:pt x="98535" y="125971"/>
                    <a:pt x="63959" y="125113"/>
                  </a:cubicBezTo>
                  <a:cubicBezTo>
                    <a:pt x="28240" y="123313"/>
                    <a:pt x="141" y="94148"/>
                    <a:pt x="-430" y="58438"/>
                  </a:cubicBezTo>
                  <a:cubicBezTo>
                    <a:pt x="141" y="24148"/>
                    <a:pt x="27478" y="-331"/>
                    <a:pt x="64816" y="-141"/>
                  </a:cubicBezTo>
                  <a:close/>
                </a:path>
              </a:pathLst>
            </a:custGeom>
            <a:solidFill>
              <a:srgbClr val="000000"/>
            </a:solidFill>
            <a:ln w="9525" cap="flat">
              <a:noFill/>
              <a:prstDash val="solid"/>
              <a:miter/>
            </a:ln>
          </p:spPr>
          <p:txBody>
            <a:bodyPr rtlCol="0" anchor="ctr"/>
            <a:lstStyle/>
            <a:p>
              <a:endParaRPr lang="de-DE"/>
            </a:p>
          </p:txBody>
        </p:sp>
        <p:sp>
          <p:nvSpPr>
            <p:cNvPr id="16" name="Grafik 2">
              <a:extLst>
                <a:ext uri="{FF2B5EF4-FFF2-40B4-BE49-F238E27FC236}">
                  <a16:creationId xmlns:a16="http://schemas.microsoft.com/office/drawing/2014/main" id="{C0D8DE9F-ADBD-46E4-ADF7-077C8FE6006C}"/>
                </a:ext>
              </a:extLst>
            </p:cNvPr>
            <p:cNvSpPr/>
            <p:nvPr/>
          </p:nvSpPr>
          <p:spPr bwMode="gray">
            <a:xfrm>
              <a:off x="9956003" y="466550"/>
              <a:ext cx="125399" cy="125428"/>
            </a:xfrm>
            <a:custGeom>
              <a:avLst/>
              <a:gdLst>
                <a:gd name="connsiteX0" fmla="*/ 63390 w 125399"/>
                <a:gd name="connsiteY0" fmla="*/ -52 h 125428"/>
                <a:gd name="connsiteX1" fmla="*/ 124826 w 125399"/>
                <a:gd name="connsiteY1" fmla="*/ 52497 h 125428"/>
                <a:gd name="connsiteX2" fmla="*/ 124826 w 125399"/>
                <a:gd name="connsiteY2" fmla="*/ 60907 h 125428"/>
                <a:gd name="connsiteX3" fmla="*/ 65390 w 125399"/>
                <a:gd name="connsiteY3" fmla="*/ 125201 h 125428"/>
                <a:gd name="connsiteX4" fmla="*/ -428 w 125399"/>
                <a:gd name="connsiteY4" fmla="*/ 59860 h 125428"/>
                <a:gd name="connsiteX5" fmla="*/ 63390 w 125399"/>
                <a:gd name="connsiteY5" fmla="*/ -52 h 125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99" h="125428">
                  <a:moveTo>
                    <a:pt x="63390" y="-52"/>
                  </a:moveTo>
                  <a:cubicBezTo>
                    <a:pt x="94822" y="-2500"/>
                    <a:pt x="122350" y="21036"/>
                    <a:pt x="124826" y="52497"/>
                  </a:cubicBezTo>
                  <a:cubicBezTo>
                    <a:pt x="125017" y="55297"/>
                    <a:pt x="125017" y="58107"/>
                    <a:pt x="124826" y="60907"/>
                  </a:cubicBezTo>
                  <a:cubicBezTo>
                    <a:pt x="124826" y="98341"/>
                    <a:pt x="99775" y="125201"/>
                    <a:pt x="65390" y="125201"/>
                  </a:cubicBezTo>
                  <a:cubicBezTo>
                    <a:pt x="29672" y="124125"/>
                    <a:pt x="906" y="95560"/>
                    <a:pt x="-428" y="59860"/>
                  </a:cubicBezTo>
                  <a:cubicBezTo>
                    <a:pt x="-714" y="25094"/>
                    <a:pt x="25957" y="424"/>
                    <a:pt x="63390" y="-52"/>
                  </a:cubicBezTo>
                  <a:close/>
                </a:path>
              </a:pathLst>
            </a:custGeom>
            <a:solidFill>
              <a:srgbClr val="000000"/>
            </a:solidFill>
            <a:ln w="9525" cap="flat">
              <a:noFill/>
              <a:prstDash val="solid"/>
              <a:miter/>
            </a:ln>
          </p:spPr>
          <p:txBody>
            <a:bodyPr rtlCol="0" anchor="ctr"/>
            <a:lstStyle/>
            <a:p>
              <a:endParaRPr lang="de-DE"/>
            </a:p>
          </p:txBody>
        </p:sp>
        <p:sp>
          <p:nvSpPr>
            <p:cNvPr id="17" name="Grafik 2">
              <a:extLst>
                <a:ext uri="{FF2B5EF4-FFF2-40B4-BE49-F238E27FC236}">
                  <a16:creationId xmlns:a16="http://schemas.microsoft.com/office/drawing/2014/main" id="{E24EBB76-A45F-4020-A440-2140DA908092}"/>
                </a:ext>
              </a:extLst>
            </p:cNvPr>
            <p:cNvSpPr/>
            <p:nvPr/>
          </p:nvSpPr>
          <p:spPr bwMode="gray">
            <a:xfrm>
              <a:off x="10575956" y="879431"/>
              <a:ext cx="125341" cy="125550"/>
            </a:xfrm>
            <a:custGeom>
              <a:avLst/>
              <a:gdLst>
                <a:gd name="connsiteX0" fmla="*/ 66276 w 125341"/>
                <a:gd name="connsiteY0" fmla="*/ 125324 h 125550"/>
                <a:gd name="connsiteX1" fmla="*/ -399 w 125341"/>
                <a:gd name="connsiteY1" fmla="*/ 61221 h 125550"/>
                <a:gd name="connsiteX2" fmla="*/ 61990 w 125341"/>
                <a:gd name="connsiteY2" fmla="*/ 70 h 125550"/>
                <a:gd name="connsiteX3" fmla="*/ 124664 w 125341"/>
                <a:gd name="connsiteY3" fmla="*/ 51143 h 125550"/>
                <a:gd name="connsiteX4" fmla="*/ 124855 w 125341"/>
                <a:gd name="connsiteY4" fmla="*/ 59697 h 125550"/>
                <a:gd name="connsiteX5" fmla="*/ 66276 w 125341"/>
                <a:gd name="connsiteY5" fmla="*/ 125324 h 12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41" h="125550">
                  <a:moveTo>
                    <a:pt x="66276" y="125324"/>
                  </a:moveTo>
                  <a:cubicBezTo>
                    <a:pt x="30652" y="124781"/>
                    <a:pt x="1506" y="96777"/>
                    <a:pt x="-399" y="61221"/>
                  </a:cubicBezTo>
                  <a:cubicBezTo>
                    <a:pt x="-1447" y="26645"/>
                    <a:pt x="24462" y="1213"/>
                    <a:pt x="61990" y="70"/>
                  </a:cubicBezTo>
                  <a:cubicBezTo>
                    <a:pt x="93423" y="-3121"/>
                    <a:pt x="121426" y="19739"/>
                    <a:pt x="124664" y="51143"/>
                  </a:cubicBezTo>
                  <a:cubicBezTo>
                    <a:pt x="124950" y="53981"/>
                    <a:pt x="124950" y="56848"/>
                    <a:pt x="124855" y="59697"/>
                  </a:cubicBezTo>
                  <a:cubicBezTo>
                    <a:pt x="125141" y="97034"/>
                    <a:pt x="100471" y="124562"/>
                    <a:pt x="66276" y="125324"/>
                  </a:cubicBezTo>
                  <a:close/>
                </a:path>
              </a:pathLst>
            </a:custGeom>
            <a:solidFill>
              <a:srgbClr val="000000"/>
            </a:solidFill>
            <a:ln w="9525" cap="flat">
              <a:noFill/>
              <a:prstDash val="solid"/>
              <a:miter/>
            </a:ln>
          </p:spPr>
          <p:txBody>
            <a:bodyPr rtlCol="0" anchor="ctr"/>
            <a:lstStyle/>
            <a:p>
              <a:endParaRPr lang="de-DE"/>
            </a:p>
          </p:txBody>
        </p:sp>
        <p:sp>
          <p:nvSpPr>
            <p:cNvPr id="18" name="Grafik 2">
              <a:extLst>
                <a:ext uri="{FF2B5EF4-FFF2-40B4-BE49-F238E27FC236}">
                  <a16:creationId xmlns:a16="http://schemas.microsoft.com/office/drawing/2014/main" id="{8D869036-EB1F-4B6A-8629-02B5537E56B1}"/>
                </a:ext>
              </a:extLst>
            </p:cNvPr>
            <p:cNvSpPr/>
            <p:nvPr/>
          </p:nvSpPr>
          <p:spPr bwMode="gray">
            <a:xfrm>
              <a:off x="9543001" y="1086080"/>
              <a:ext cx="125480" cy="125345"/>
            </a:xfrm>
            <a:custGeom>
              <a:avLst/>
              <a:gdLst>
                <a:gd name="connsiteX0" fmla="*/ 65388 w 125480"/>
                <a:gd name="connsiteY0" fmla="*/ -172 h 125345"/>
                <a:gd name="connsiteX1" fmla="*/ 125015 w 125480"/>
                <a:gd name="connsiteY1" fmla="*/ 54426 h 125345"/>
                <a:gd name="connsiteX2" fmla="*/ 124729 w 125480"/>
                <a:gd name="connsiteY2" fmla="*/ 62884 h 125345"/>
                <a:gd name="connsiteX3" fmla="*/ 63387 w 125480"/>
                <a:gd name="connsiteY3" fmla="*/ 125082 h 125345"/>
                <a:gd name="connsiteX4" fmla="*/ -430 w 125480"/>
                <a:gd name="connsiteY4" fmla="*/ 57740 h 125345"/>
                <a:gd name="connsiteX5" fmla="*/ 65388 w 125480"/>
                <a:gd name="connsiteY5" fmla="*/ -172 h 12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480" h="125345">
                  <a:moveTo>
                    <a:pt x="65388" y="-172"/>
                  </a:moveTo>
                  <a:cubicBezTo>
                    <a:pt x="96915" y="-1553"/>
                    <a:pt x="123586" y="22888"/>
                    <a:pt x="125015" y="54426"/>
                  </a:cubicBezTo>
                  <a:cubicBezTo>
                    <a:pt x="125110" y="57245"/>
                    <a:pt x="125015" y="60074"/>
                    <a:pt x="124729" y="62884"/>
                  </a:cubicBezTo>
                  <a:cubicBezTo>
                    <a:pt x="123490" y="100317"/>
                    <a:pt x="97963" y="126225"/>
                    <a:pt x="63387" y="125082"/>
                  </a:cubicBezTo>
                  <a:cubicBezTo>
                    <a:pt x="27668" y="123015"/>
                    <a:pt x="-335" y="93526"/>
                    <a:pt x="-430" y="57740"/>
                  </a:cubicBezTo>
                  <a:cubicBezTo>
                    <a:pt x="427" y="23641"/>
                    <a:pt x="28145" y="-648"/>
                    <a:pt x="65388" y="-172"/>
                  </a:cubicBezTo>
                  <a:close/>
                </a:path>
              </a:pathLst>
            </a:custGeom>
            <a:solidFill>
              <a:srgbClr val="000000"/>
            </a:solidFill>
            <a:ln w="9525" cap="flat">
              <a:noFill/>
              <a:prstDash val="solid"/>
              <a:miter/>
            </a:ln>
          </p:spPr>
          <p:txBody>
            <a:bodyPr rtlCol="0" anchor="ctr"/>
            <a:lstStyle/>
            <a:p>
              <a:endParaRPr lang="de-DE"/>
            </a:p>
          </p:txBody>
        </p:sp>
        <p:sp>
          <p:nvSpPr>
            <p:cNvPr id="19" name="Grafik 2">
              <a:extLst>
                <a:ext uri="{FF2B5EF4-FFF2-40B4-BE49-F238E27FC236}">
                  <a16:creationId xmlns:a16="http://schemas.microsoft.com/office/drawing/2014/main" id="{3CD25E06-5E0A-4D8F-A98F-568E2A20D193}"/>
                </a:ext>
              </a:extLst>
            </p:cNvPr>
            <p:cNvSpPr/>
            <p:nvPr/>
          </p:nvSpPr>
          <p:spPr bwMode="gray">
            <a:xfrm>
              <a:off x="9749673" y="1085987"/>
              <a:ext cx="125183" cy="125496"/>
            </a:xfrm>
            <a:custGeom>
              <a:avLst/>
              <a:gdLst>
                <a:gd name="connsiteX0" fmla="*/ 124654 w 125183"/>
                <a:gd name="connsiteY0" fmla="*/ 59928 h 125496"/>
                <a:gd name="connsiteX1" fmla="*/ 66266 w 125183"/>
                <a:gd name="connsiteY1" fmla="*/ 125269 h 125496"/>
                <a:gd name="connsiteX2" fmla="*/ -409 w 125183"/>
                <a:gd name="connsiteY2" fmla="*/ 60881 h 125496"/>
                <a:gd name="connsiteX3" fmla="*/ 62361 w 125183"/>
                <a:gd name="connsiteY3" fmla="*/ 16 h 125496"/>
                <a:gd name="connsiteX4" fmla="*/ 124464 w 125183"/>
                <a:gd name="connsiteY4" fmla="*/ 51708 h 125496"/>
                <a:gd name="connsiteX5" fmla="*/ 124654 w 125183"/>
                <a:gd name="connsiteY5" fmla="*/ 59928 h 125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183" h="125496">
                  <a:moveTo>
                    <a:pt x="124654" y="59928"/>
                  </a:moveTo>
                  <a:cubicBezTo>
                    <a:pt x="124654" y="97266"/>
                    <a:pt x="100461" y="124698"/>
                    <a:pt x="66266" y="125269"/>
                  </a:cubicBezTo>
                  <a:cubicBezTo>
                    <a:pt x="30547" y="124622"/>
                    <a:pt x="1496" y="96514"/>
                    <a:pt x="-409" y="60881"/>
                  </a:cubicBezTo>
                  <a:cubicBezTo>
                    <a:pt x="-1266" y="26305"/>
                    <a:pt x="24832" y="1064"/>
                    <a:pt x="62361" y="16"/>
                  </a:cubicBezTo>
                  <a:cubicBezTo>
                    <a:pt x="93793" y="-2870"/>
                    <a:pt x="121606" y="20276"/>
                    <a:pt x="124464" y="51708"/>
                  </a:cubicBezTo>
                  <a:cubicBezTo>
                    <a:pt x="124749" y="54442"/>
                    <a:pt x="124845" y="57185"/>
                    <a:pt x="124654" y="59928"/>
                  </a:cubicBezTo>
                  <a:close/>
                </a:path>
              </a:pathLst>
            </a:custGeom>
            <a:solidFill>
              <a:srgbClr val="000000"/>
            </a:solidFill>
            <a:ln w="9525" cap="flat">
              <a:noFill/>
              <a:prstDash val="solid"/>
              <a:miter/>
            </a:ln>
          </p:spPr>
          <p:txBody>
            <a:bodyPr rtlCol="0" anchor="ctr"/>
            <a:lstStyle/>
            <a:p>
              <a:endParaRPr lang="de-DE"/>
            </a:p>
          </p:txBody>
        </p:sp>
        <p:sp>
          <p:nvSpPr>
            <p:cNvPr id="20" name="Grafik 2">
              <a:extLst>
                <a:ext uri="{FF2B5EF4-FFF2-40B4-BE49-F238E27FC236}">
                  <a16:creationId xmlns:a16="http://schemas.microsoft.com/office/drawing/2014/main" id="{883B75A9-2B92-4DE7-8A02-D8BE73D9A729}"/>
                </a:ext>
              </a:extLst>
            </p:cNvPr>
            <p:cNvSpPr/>
            <p:nvPr/>
          </p:nvSpPr>
          <p:spPr bwMode="gray">
            <a:xfrm>
              <a:off x="9956064" y="1086009"/>
              <a:ext cx="125326" cy="125475"/>
            </a:xfrm>
            <a:custGeom>
              <a:avLst/>
              <a:gdLst>
                <a:gd name="connsiteX0" fmla="*/ 124861 w 125326"/>
                <a:gd name="connsiteY0" fmla="*/ 59430 h 125475"/>
                <a:gd name="connsiteX1" fmla="*/ 66854 w 125326"/>
                <a:gd name="connsiteY1" fmla="*/ 125248 h 125475"/>
                <a:gd name="connsiteX2" fmla="*/ -393 w 125326"/>
                <a:gd name="connsiteY2" fmla="*/ 61431 h 125475"/>
                <a:gd name="connsiteX3" fmla="*/ 61805 w 125326"/>
                <a:gd name="connsiteY3" fmla="*/ 90 h 125475"/>
                <a:gd name="connsiteX4" fmla="*/ 124574 w 125326"/>
                <a:gd name="connsiteY4" fmla="*/ 50972 h 125475"/>
                <a:gd name="connsiteX5" fmla="*/ 124861 w 125326"/>
                <a:gd name="connsiteY5" fmla="*/ 59430 h 125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26" h="125475">
                  <a:moveTo>
                    <a:pt x="124861" y="59430"/>
                  </a:moveTo>
                  <a:cubicBezTo>
                    <a:pt x="124861" y="96673"/>
                    <a:pt x="100953" y="124296"/>
                    <a:pt x="66854" y="125248"/>
                  </a:cubicBezTo>
                  <a:cubicBezTo>
                    <a:pt x="31135" y="125010"/>
                    <a:pt x="1702" y="97092"/>
                    <a:pt x="-393" y="61431"/>
                  </a:cubicBezTo>
                  <a:cubicBezTo>
                    <a:pt x="-1536" y="26855"/>
                    <a:pt x="24276" y="1328"/>
                    <a:pt x="61805" y="90"/>
                  </a:cubicBezTo>
                  <a:cubicBezTo>
                    <a:pt x="93237" y="-3206"/>
                    <a:pt x="121336" y="19578"/>
                    <a:pt x="124574" y="50972"/>
                  </a:cubicBezTo>
                  <a:cubicBezTo>
                    <a:pt x="124861" y="53782"/>
                    <a:pt x="124956" y="56611"/>
                    <a:pt x="124861" y="59430"/>
                  </a:cubicBezTo>
                  <a:close/>
                </a:path>
              </a:pathLst>
            </a:custGeom>
            <a:solidFill>
              <a:srgbClr val="000000"/>
            </a:solidFill>
            <a:ln w="9525" cap="flat">
              <a:noFill/>
              <a:prstDash val="solid"/>
              <a:miter/>
            </a:ln>
          </p:spPr>
          <p:txBody>
            <a:bodyPr rtlCol="0" anchor="ctr"/>
            <a:lstStyle/>
            <a:p>
              <a:endParaRPr lang="de-DE"/>
            </a:p>
          </p:txBody>
        </p:sp>
        <p:sp>
          <p:nvSpPr>
            <p:cNvPr id="21" name="Grafik 2">
              <a:extLst>
                <a:ext uri="{FF2B5EF4-FFF2-40B4-BE49-F238E27FC236}">
                  <a16:creationId xmlns:a16="http://schemas.microsoft.com/office/drawing/2014/main" id="{A8F76D8F-371A-4A36-BE7A-1E6650C7CA27}"/>
                </a:ext>
              </a:extLst>
            </p:cNvPr>
            <p:cNvSpPr/>
            <p:nvPr/>
          </p:nvSpPr>
          <p:spPr bwMode="gray">
            <a:xfrm>
              <a:off x="10162508" y="1086077"/>
              <a:ext cx="125396" cy="125408"/>
            </a:xfrm>
            <a:custGeom>
              <a:avLst/>
              <a:gdLst>
                <a:gd name="connsiteX0" fmla="*/ 65102 w 125396"/>
                <a:gd name="connsiteY0" fmla="*/ 125180 h 125408"/>
                <a:gd name="connsiteX1" fmla="*/ -430 w 125396"/>
                <a:gd name="connsiteY1" fmla="*/ 59458 h 125408"/>
                <a:gd name="connsiteX2" fmla="*/ 63673 w 125396"/>
                <a:gd name="connsiteY2" fmla="*/ -73 h 125408"/>
                <a:gd name="connsiteX3" fmla="*/ 124824 w 125396"/>
                <a:gd name="connsiteY3" fmla="*/ 52771 h 125408"/>
                <a:gd name="connsiteX4" fmla="*/ 124824 w 125396"/>
                <a:gd name="connsiteY4" fmla="*/ 61172 h 125408"/>
                <a:gd name="connsiteX5" fmla="*/ 65102 w 125396"/>
                <a:gd name="connsiteY5" fmla="*/ 125180 h 12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96" h="125408">
                  <a:moveTo>
                    <a:pt x="65102" y="125180"/>
                  </a:moveTo>
                  <a:cubicBezTo>
                    <a:pt x="29383" y="123895"/>
                    <a:pt x="713" y="95186"/>
                    <a:pt x="-430" y="59458"/>
                  </a:cubicBezTo>
                  <a:cubicBezTo>
                    <a:pt x="-430" y="25073"/>
                    <a:pt x="26239" y="212"/>
                    <a:pt x="63673" y="-73"/>
                  </a:cubicBezTo>
                  <a:cubicBezTo>
                    <a:pt x="95105" y="-2369"/>
                    <a:pt x="122537" y="21291"/>
                    <a:pt x="124824" y="52771"/>
                  </a:cubicBezTo>
                  <a:cubicBezTo>
                    <a:pt x="125014" y="55562"/>
                    <a:pt x="125014" y="58372"/>
                    <a:pt x="124824" y="61172"/>
                  </a:cubicBezTo>
                  <a:cubicBezTo>
                    <a:pt x="124443" y="98701"/>
                    <a:pt x="99487" y="125371"/>
                    <a:pt x="65102" y="125180"/>
                  </a:cubicBezTo>
                  <a:close/>
                </a:path>
              </a:pathLst>
            </a:custGeom>
            <a:solidFill>
              <a:srgbClr val="000000"/>
            </a:solidFill>
            <a:ln w="9525" cap="flat">
              <a:noFill/>
              <a:prstDash val="solid"/>
              <a:miter/>
            </a:ln>
          </p:spPr>
          <p:txBody>
            <a:bodyPr rtlCol="0" anchor="ctr"/>
            <a:lstStyle/>
            <a:p>
              <a:endParaRPr lang="de-DE"/>
            </a:p>
          </p:txBody>
        </p:sp>
        <p:sp>
          <p:nvSpPr>
            <p:cNvPr id="22" name="Grafik 2">
              <a:extLst>
                <a:ext uri="{FF2B5EF4-FFF2-40B4-BE49-F238E27FC236}">
                  <a16:creationId xmlns:a16="http://schemas.microsoft.com/office/drawing/2014/main" id="{1072025E-FB67-4E7D-9CD8-A3873742C1AE}"/>
                </a:ext>
              </a:extLst>
            </p:cNvPr>
            <p:cNvSpPr/>
            <p:nvPr/>
          </p:nvSpPr>
          <p:spPr bwMode="gray">
            <a:xfrm>
              <a:off x="10368633" y="1086048"/>
              <a:ext cx="125663" cy="125155"/>
            </a:xfrm>
            <a:custGeom>
              <a:avLst/>
              <a:gdLst>
                <a:gd name="connsiteX0" fmla="*/ 125200 w 125663"/>
                <a:gd name="connsiteY0" fmla="*/ 58248 h 125155"/>
                <a:gd name="connsiteX1" fmla="*/ 68050 w 125663"/>
                <a:gd name="connsiteY1" fmla="*/ 124923 h 125155"/>
                <a:gd name="connsiteX2" fmla="*/ -339 w 125663"/>
                <a:gd name="connsiteY2" fmla="*/ 62249 h 125155"/>
                <a:gd name="connsiteX3" fmla="*/ 60715 w 125663"/>
                <a:gd name="connsiteY3" fmla="*/ -140 h 125155"/>
                <a:gd name="connsiteX4" fmla="*/ 125200 w 125663"/>
                <a:gd name="connsiteY4" fmla="*/ 58248 h 125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63" h="125155">
                  <a:moveTo>
                    <a:pt x="125200" y="58248"/>
                  </a:moveTo>
                  <a:cubicBezTo>
                    <a:pt x="126247" y="95682"/>
                    <a:pt x="102530" y="123590"/>
                    <a:pt x="68050" y="124923"/>
                  </a:cubicBezTo>
                  <a:cubicBezTo>
                    <a:pt x="32236" y="125371"/>
                    <a:pt x="2327" y="97920"/>
                    <a:pt x="-339" y="62249"/>
                  </a:cubicBezTo>
                  <a:cubicBezTo>
                    <a:pt x="-2150" y="27578"/>
                    <a:pt x="23283" y="1575"/>
                    <a:pt x="60715" y="-140"/>
                  </a:cubicBezTo>
                  <a:cubicBezTo>
                    <a:pt x="98149" y="-1855"/>
                    <a:pt x="124152" y="21768"/>
                    <a:pt x="125200" y="58248"/>
                  </a:cubicBezTo>
                  <a:close/>
                </a:path>
              </a:pathLst>
            </a:custGeom>
            <a:solidFill>
              <a:srgbClr val="000000"/>
            </a:solidFill>
            <a:ln w="9525" cap="flat">
              <a:noFill/>
              <a:prstDash val="solid"/>
              <a:miter/>
            </a:ln>
          </p:spPr>
          <p:txBody>
            <a:bodyPr rtlCol="0" anchor="ctr"/>
            <a:lstStyle/>
            <a:p>
              <a:endParaRPr lang="de-DE"/>
            </a:p>
          </p:txBody>
        </p:sp>
        <p:sp>
          <p:nvSpPr>
            <p:cNvPr id="23" name="Grafik 2">
              <a:extLst>
                <a:ext uri="{FF2B5EF4-FFF2-40B4-BE49-F238E27FC236}">
                  <a16:creationId xmlns:a16="http://schemas.microsoft.com/office/drawing/2014/main" id="{05F35AEE-3E53-468B-B8F3-14D292B2F4E4}"/>
                </a:ext>
              </a:extLst>
            </p:cNvPr>
            <p:cNvSpPr/>
            <p:nvPr/>
          </p:nvSpPr>
          <p:spPr bwMode="gray">
            <a:xfrm>
              <a:off x="10575862" y="1085971"/>
              <a:ext cx="125054" cy="125513"/>
            </a:xfrm>
            <a:custGeom>
              <a:avLst/>
              <a:gdLst>
                <a:gd name="connsiteX0" fmla="*/ 124568 w 125054"/>
                <a:gd name="connsiteY0" fmla="*/ 59754 h 125513"/>
                <a:gd name="connsiteX1" fmla="*/ 66276 w 125054"/>
                <a:gd name="connsiteY1" fmla="*/ 125286 h 125513"/>
                <a:gd name="connsiteX2" fmla="*/ -399 w 125054"/>
                <a:gd name="connsiteY2" fmla="*/ 61087 h 125513"/>
                <a:gd name="connsiteX3" fmla="*/ 62084 w 125054"/>
                <a:gd name="connsiteY3" fmla="*/ 32 h 125513"/>
                <a:gd name="connsiteX4" fmla="*/ 124378 w 125054"/>
                <a:gd name="connsiteY4" fmla="*/ 51524 h 125513"/>
                <a:gd name="connsiteX5" fmla="*/ 124568 w 125054"/>
                <a:gd name="connsiteY5" fmla="*/ 59754 h 12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054" h="125513">
                  <a:moveTo>
                    <a:pt x="124568" y="59754"/>
                  </a:moveTo>
                  <a:cubicBezTo>
                    <a:pt x="124568" y="97187"/>
                    <a:pt x="100470" y="124619"/>
                    <a:pt x="66276" y="125286"/>
                  </a:cubicBezTo>
                  <a:cubicBezTo>
                    <a:pt x="30651" y="124686"/>
                    <a:pt x="1505" y="96663"/>
                    <a:pt x="-399" y="61087"/>
                  </a:cubicBezTo>
                  <a:cubicBezTo>
                    <a:pt x="-1448" y="26512"/>
                    <a:pt x="24650" y="1080"/>
                    <a:pt x="62084" y="32"/>
                  </a:cubicBezTo>
                  <a:cubicBezTo>
                    <a:pt x="93517" y="-2949"/>
                    <a:pt x="121424" y="20101"/>
                    <a:pt x="124378" y="51524"/>
                  </a:cubicBezTo>
                  <a:cubicBezTo>
                    <a:pt x="124663" y="54258"/>
                    <a:pt x="124663" y="57011"/>
                    <a:pt x="124568" y="59754"/>
                  </a:cubicBezTo>
                  <a:close/>
                </a:path>
              </a:pathLst>
            </a:custGeom>
            <a:solidFill>
              <a:srgbClr val="000000"/>
            </a:solidFill>
            <a:ln w="9525" cap="flat">
              <a:noFill/>
              <a:prstDash val="solid"/>
              <a:miter/>
            </a:ln>
          </p:spPr>
          <p:txBody>
            <a:bodyPr rtlCol="0" anchor="ctr"/>
            <a:lstStyle/>
            <a:p>
              <a:endParaRPr lang="de-DE"/>
            </a:p>
          </p:txBody>
        </p:sp>
        <p:sp>
          <p:nvSpPr>
            <p:cNvPr id="24" name="Grafik 2">
              <a:extLst>
                <a:ext uri="{FF2B5EF4-FFF2-40B4-BE49-F238E27FC236}">
                  <a16:creationId xmlns:a16="http://schemas.microsoft.com/office/drawing/2014/main" id="{3392C55C-8DD8-4204-BEC4-F55668AB6B07}"/>
                </a:ext>
              </a:extLst>
            </p:cNvPr>
            <p:cNvSpPr/>
            <p:nvPr/>
          </p:nvSpPr>
          <p:spPr bwMode="gray">
            <a:xfrm>
              <a:off x="9543001" y="1292597"/>
              <a:ext cx="125396" cy="125391"/>
            </a:xfrm>
            <a:custGeom>
              <a:avLst/>
              <a:gdLst>
                <a:gd name="connsiteX0" fmla="*/ 63959 w 125396"/>
                <a:gd name="connsiteY0" fmla="*/ -92 h 125391"/>
                <a:gd name="connsiteX1" fmla="*/ 124824 w 125396"/>
                <a:gd name="connsiteY1" fmla="*/ 53029 h 125391"/>
                <a:gd name="connsiteX2" fmla="*/ 124824 w 125396"/>
                <a:gd name="connsiteY2" fmla="*/ 61440 h 125391"/>
                <a:gd name="connsiteX3" fmla="*/ 64816 w 125396"/>
                <a:gd name="connsiteY3" fmla="*/ 125162 h 125391"/>
                <a:gd name="connsiteX4" fmla="*/ -430 w 125396"/>
                <a:gd name="connsiteY4" fmla="*/ 59153 h 125391"/>
                <a:gd name="connsiteX5" fmla="*/ 63959 w 125396"/>
                <a:gd name="connsiteY5" fmla="*/ -92 h 1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96" h="125391">
                  <a:moveTo>
                    <a:pt x="63959" y="-92"/>
                  </a:moveTo>
                  <a:cubicBezTo>
                    <a:pt x="95486" y="-2245"/>
                    <a:pt x="122729" y="21539"/>
                    <a:pt x="124824" y="53029"/>
                  </a:cubicBezTo>
                  <a:cubicBezTo>
                    <a:pt x="125015" y="55829"/>
                    <a:pt x="125015" y="58639"/>
                    <a:pt x="124824" y="61440"/>
                  </a:cubicBezTo>
                  <a:cubicBezTo>
                    <a:pt x="124252" y="98873"/>
                    <a:pt x="99201" y="125448"/>
                    <a:pt x="64816" y="125162"/>
                  </a:cubicBezTo>
                  <a:cubicBezTo>
                    <a:pt x="29097" y="123771"/>
                    <a:pt x="522" y="94901"/>
                    <a:pt x="-430" y="59153"/>
                  </a:cubicBezTo>
                  <a:cubicBezTo>
                    <a:pt x="-430" y="24864"/>
                    <a:pt x="26430" y="99"/>
                    <a:pt x="63959" y="-92"/>
                  </a:cubicBezTo>
                  <a:close/>
                </a:path>
              </a:pathLst>
            </a:custGeom>
            <a:solidFill>
              <a:srgbClr val="000000"/>
            </a:solidFill>
            <a:ln w="9525" cap="flat">
              <a:noFill/>
              <a:prstDash val="solid"/>
              <a:miter/>
            </a:ln>
          </p:spPr>
          <p:txBody>
            <a:bodyPr rtlCol="0" anchor="ctr"/>
            <a:lstStyle/>
            <a:p>
              <a:endParaRPr lang="de-DE"/>
            </a:p>
          </p:txBody>
        </p:sp>
        <p:sp>
          <p:nvSpPr>
            <p:cNvPr id="25" name="Grafik 2">
              <a:extLst>
                <a:ext uri="{FF2B5EF4-FFF2-40B4-BE49-F238E27FC236}">
                  <a16:creationId xmlns:a16="http://schemas.microsoft.com/office/drawing/2014/main" id="{75304170-7690-4067-843D-70DAF0DBD772}"/>
                </a:ext>
              </a:extLst>
            </p:cNvPr>
            <p:cNvSpPr/>
            <p:nvPr/>
          </p:nvSpPr>
          <p:spPr bwMode="gray">
            <a:xfrm>
              <a:off x="9749673" y="1292481"/>
              <a:ext cx="125183" cy="125505"/>
            </a:xfrm>
            <a:custGeom>
              <a:avLst/>
              <a:gdLst>
                <a:gd name="connsiteX0" fmla="*/ 124654 w 125183"/>
                <a:gd name="connsiteY0" fmla="*/ 59936 h 125505"/>
                <a:gd name="connsiteX1" fmla="*/ 66266 w 125183"/>
                <a:gd name="connsiteY1" fmla="*/ 125278 h 125505"/>
                <a:gd name="connsiteX2" fmla="*/ -409 w 125183"/>
                <a:gd name="connsiteY2" fmla="*/ 60984 h 125505"/>
                <a:gd name="connsiteX3" fmla="*/ 62266 w 125183"/>
                <a:gd name="connsiteY3" fmla="*/ 24 h 125505"/>
                <a:gd name="connsiteX4" fmla="*/ 124464 w 125183"/>
                <a:gd name="connsiteY4" fmla="*/ 51611 h 125505"/>
                <a:gd name="connsiteX5" fmla="*/ 124654 w 125183"/>
                <a:gd name="connsiteY5" fmla="*/ 59936 h 125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183" h="125505">
                  <a:moveTo>
                    <a:pt x="124654" y="59936"/>
                  </a:moveTo>
                  <a:cubicBezTo>
                    <a:pt x="124654" y="97179"/>
                    <a:pt x="100461" y="124706"/>
                    <a:pt x="66266" y="125278"/>
                  </a:cubicBezTo>
                  <a:cubicBezTo>
                    <a:pt x="30642" y="124678"/>
                    <a:pt x="1496" y="96598"/>
                    <a:pt x="-409" y="60984"/>
                  </a:cubicBezTo>
                  <a:cubicBezTo>
                    <a:pt x="-1266" y="26408"/>
                    <a:pt x="24737" y="1072"/>
                    <a:pt x="62266" y="24"/>
                  </a:cubicBezTo>
                  <a:cubicBezTo>
                    <a:pt x="93698" y="-2910"/>
                    <a:pt x="121511" y="20179"/>
                    <a:pt x="124464" y="51611"/>
                  </a:cubicBezTo>
                  <a:cubicBezTo>
                    <a:pt x="124749" y="54374"/>
                    <a:pt x="124845" y="57155"/>
                    <a:pt x="124654" y="59936"/>
                  </a:cubicBezTo>
                  <a:close/>
                </a:path>
              </a:pathLst>
            </a:custGeom>
            <a:solidFill>
              <a:srgbClr val="000000"/>
            </a:solidFill>
            <a:ln w="9525" cap="flat">
              <a:noFill/>
              <a:prstDash val="solid"/>
              <a:miter/>
            </a:ln>
          </p:spPr>
          <p:txBody>
            <a:bodyPr rtlCol="0" anchor="ctr"/>
            <a:lstStyle/>
            <a:p>
              <a:endParaRPr lang="de-DE"/>
            </a:p>
          </p:txBody>
        </p:sp>
        <p:sp>
          <p:nvSpPr>
            <p:cNvPr id="26" name="Grafik 2">
              <a:extLst>
                <a:ext uri="{FF2B5EF4-FFF2-40B4-BE49-F238E27FC236}">
                  <a16:creationId xmlns:a16="http://schemas.microsoft.com/office/drawing/2014/main" id="{64E3CEE5-6279-4695-B73B-2DAA2B9957C5}"/>
                </a:ext>
              </a:extLst>
            </p:cNvPr>
            <p:cNvSpPr/>
            <p:nvPr/>
          </p:nvSpPr>
          <p:spPr bwMode="gray">
            <a:xfrm>
              <a:off x="9956165" y="1292471"/>
              <a:ext cx="125192" cy="125515"/>
            </a:xfrm>
            <a:custGeom>
              <a:avLst/>
              <a:gdLst>
                <a:gd name="connsiteX0" fmla="*/ 62179 w 125192"/>
                <a:gd name="connsiteY0" fmla="*/ 34 h 125515"/>
                <a:gd name="connsiteX1" fmla="*/ 124473 w 125192"/>
                <a:gd name="connsiteY1" fmla="*/ 51507 h 125515"/>
                <a:gd name="connsiteX2" fmla="*/ 124664 w 125192"/>
                <a:gd name="connsiteY2" fmla="*/ 60041 h 125515"/>
                <a:gd name="connsiteX3" fmla="*/ 66275 w 125192"/>
                <a:gd name="connsiteY3" fmla="*/ 125288 h 125515"/>
                <a:gd name="connsiteX4" fmla="*/ -400 w 125192"/>
                <a:gd name="connsiteY4" fmla="*/ 60899 h 125515"/>
                <a:gd name="connsiteX5" fmla="*/ 62179 w 125192"/>
                <a:gd name="connsiteY5" fmla="*/ 34 h 12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192" h="125515">
                  <a:moveTo>
                    <a:pt x="62179" y="34"/>
                  </a:moveTo>
                  <a:cubicBezTo>
                    <a:pt x="93612" y="-2957"/>
                    <a:pt x="121521" y="20084"/>
                    <a:pt x="124473" y="51507"/>
                  </a:cubicBezTo>
                  <a:cubicBezTo>
                    <a:pt x="124759" y="54346"/>
                    <a:pt x="124854" y="57193"/>
                    <a:pt x="124664" y="60041"/>
                  </a:cubicBezTo>
                  <a:cubicBezTo>
                    <a:pt x="124664" y="97379"/>
                    <a:pt x="100375" y="124716"/>
                    <a:pt x="66275" y="125288"/>
                  </a:cubicBezTo>
                  <a:cubicBezTo>
                    <a:pt x="30557" y="124640"/>
                    <a:pt x="1505" y="96532"/>
                    <a:pt x="-400" y="60899"/>
                  </a:cubicBezTo>
                  <a:cubicBezTo>
                    <a:pt x="-1447" y="26323"/>
                    <a:pt x="24651" y="1082"/>
                    <a:pt x="62179" y="34"/>
                  </a:cubicBezTo>
                  <a:close/>
                </a:path>
              </a:pathLst>
            </a:custGeom>
            <a:solidFill>
              <a:srgbClr val="000000"/>
            </a:solidFill>
            <a:ln w="9525" cap="flat">
              <a:noFill/>
              <a:prstDash val="solid"/>
              <a:miter/>
            </a:ln>
          </p:spPr>
          <p:txBody>
            <a:bodyPr rtlCol="0" anchor="ctr"/>
            <a:lstStyle/>
            <a:p>
              <a:endParaRPr lang="de-DE"/>
            </a:p>
          </p:txBody>
        </p:sp>
        <p:sp>
          <p:nvSpPr>
            <p:cNvPr id="27" name="Grafik 2">
              <a:extLst>
                <a:ext uri="{FF2B5EF4-FFF2-40B4-BE49-F238E27FC236}">
                  <a16:creationId xmlns:a16="http://schemas.microsoft.com/office/drawing/2014/main" id="{FA3625BC-3326-4D70-B952-8EAAACD934B6}"/>
                </a:ext>
              </a:extLst>
            </p:cNvPr>
            <p:cNvSpPr/>
            <p:nvPr/>
          </p:nvSpPr>
          <p:spPr bwMode="gray">
            <a:xfrm>
              <a:off x="10162508" y="1292852"/>
              <a:ext cx="125500" cy="125069"/>
            </a:xfrm>
            <a:custGeom>
              <a:avLst/>
              <a:gdLst>
                <a:gd name="connsiteX0" fmla="*/ 124824 w 125500"/>
                <a:gd name="connsiteY0" fmla="*/ 62328 h 125069"/>
                <a:gd name="connsiteX1" fmla="*/ 63768 w 125500"/>
                <a:gd name="connsiteY1" fmla="*/ 124812 h 125069"/>
                <a:gd name="connsiteX2" fmla="*/ -430 w 125500"/>
                <a:gd name="connsiteY2" fmla="*/ 58137 h 125069"/>
                <a:gd name="connsiteX3" fmla="*/ 65102 w 125500"/>
                <a:gd name="connsiteY3" fmla="*/ -156 h 125069"/>
                <a:gd name="connsiteX4" fmla="*/ 125014 w 125500"/>
                <a:gd name="connsiteY4" fmla="*/ 54098 h 125069"/>
                <a:gd name="connsiteX5" fmla="*/ 124824 w 125500"/>
                <a:gd name="connsiteY5" fmla="*/ 62328 h 12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00" h="125069">
                  <a:moveTo>
                    <a:pt x="124824" y="62328"/>
                  </a:moveTo>
                  <a:cubicBezTo>
                    <a:pt x="123680" y="99856"/>
                    <a:pt x="98344" y="125860"/>
                    <a:pt x="63768" y="124812"/>
                  </a:cubicBezTo>
                  <a:cubicBezTo>
                    <a:pt x="28145" y="122964"/>
                    <a:pt x="46" y="93798"/>
                    <a:pt x="-430" y="58137"/>
                  </a:cubicBezTo>
                  <a:cubicBezTo>
                    <a:pt x="236" y="23942"/>
                    <a:pt x="27668" y="-442"/>
                    <a:pt x="65102" y="-156"/>
                  </a:cubicBezTo>
                  <a:cubicBezTo>
                    <a:pt x="96629" y="-1718"/>
                    <a:pt x="123490" y="22570"/>
                    <a:pt x="125014" y="54098"/>
                  </a:cubicBezTo>
                  <a:cubicBezTo>
                    <a:pt x="125109" y="56842"/>
                    <a:pt x="125109" y="59594"/>
                    <a:pt x="124824" y="62328"/>
                  </a:cubicBezTo>
                  <a:close/>
                </a:path>
              </a:pathLst>
            </a:custGeom>
            <a:solidFill>
              <a:srgbClr val="000000"/>
            </a:solidFill>
            <a:ln w="9525" cap="flat">
              <a:noFill/>
              <a:prstDash val="solid"/>
              <a:miter/>
            </a:ln>
          </p:spPr>
          <p:txBody>
            <a:bodyPr rtlCol="0" anchor="ctr"/>
            <a:lstStyle/>
            <a:p>
              <a:endParaRPr lang="de-DE"/>
            </a:p>
          </p:txBody>
        </p:sp>
        <p:sp>
          <p:nvSpPr>
            <p:cNvPr id="28" name="Grafik 2">
              <a:extLst>
                <a:ext uri="{FF2B5EF4-FFF2-40B4-BE49-F238E27FC236}">
                  <a16:creationId xmlns:a16="http://schemas.microsoft.com/office/drawing/2014/main" id="{93E0F113-C812-47B3-8052-6D812521F75B}"/>
                </a:ext>
              </a:extLst>
            </p:cNvPr>
            <p:cNvSpPr/>
            <p:nvPr/>
          </p:nvSpPr>
          <p:spPr bwMode="gray">
            <a:xfrm>
              <a:off x="9542706" y="466480"/>
              <a:ext cx="125653" cy="125498"/>
            </a:xfrm>
            <a:custGeom>
              <a:avLst/>
              <a:gdLst>
                <a:gd name="connsiteX0" fmla="*/ 125119 w 125653"/>
                <a:gd name="connsiteY0" fmla="*/ 60406 h 125498"/>
                <a:gd name="connsiteX1" fmla="*/ 66254 w 125653"/>
                <a:gd name="connsiteY1" fmla="*/ 125271 h 125498"/>
                <a:gd name="connsiteX2" fmla="*/ -421 w 125653"/>
                <a:gd name="connsiteY2" fmla="*/ 60406 h 125498"/>
                <a:gd name="connsiteX3" fmla="*/ 62825 w 125653"/>
                <a:gd name="connsiteY3" fmla="*/ 17 h 125498"/>
                <a:gd name="connsiteX4" fmla="*/ 125024 w 125653"/>
                <a:gd name="connsiteY4" fmla="*/ 51672 h 125498"/>
                <a:gd name="connsiteX5" fmla="*/ 125119 w 125653"/>
                <a:gd name="connsiteY5" fmla="*/ 60406 h 12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53" h="125498">
                  <a:moveTo>
                    <a:pt x="125119" y="60406"/>
                  </a:moveTo>
                  <a:cubicBezTo>
                    <a:pt x="125119" y="97744"/>
                    <a:pt x="100450" y="124986"/>
                    <a:pt x="66254" y="125271"/>
                  </a:cubicBezTo>
                  <a:cubicBezTo>
                    <a:pt x="30345" y="124652"/>
                    <a:pt x="1199" y="96249"/>
                    <a:pt x="-421" y="60406"/>
                  </a:cubicBezTo>
                  <a:cubicBezTo>
                    <a:pt x="-992" y="25925"/>
                    <a:pt x="25393" y="779"/>
                    <a:pt x="62825" y="17"/>
                  </a:cubicBezTo>
                  <a:cubicBezTo>
                    <a:pt x="94258" y="-2878"/>
                    <a:pt x="122070" y="20248"/>
                    <a:pt x="125024" y="51672"/>
                  </a:cubicBezTo>
                  <a:cubicBezTo>
                    <a:pt x="125214" y="54577"/>
                    <a:pt x="125310" y="57501"/>
                    <a:pt x="125119" y="60406"/>
                  </a:cubicBezTo>
                  <a:close/>
                </a:path>
              </a:pathLst>
            </a:custGeom>
            <a:solidFill>
              <a:srgbClr val="000000"/>
            </a:solidFill>
            <a:ln w="9525" cap="flat">
              <a:noFill/>
              <a:prstDash val="solid"/>
              <a:miter/>
            </a:ln>
          </p:spPr>
          <p:txBody>
            <a:bodyPr rtlCol="0" anchor="ctr"/>
            <a:lstStyle/>
            <a:p>
              <a:endParaRPr lang="de-DE"/>
            </a:p>
          </p:txBody>
        </p:sp>
        <p:sp>
          <p:nvSpPr>
            <p:cNvPr id="29" name="Grafik 2">
              <a:extLst>
                <a:ext uri="{FF2B5EF4-FFF2-40B4-BE49-F238E27FC236}">
                  <a16:creationId xmlns:a16="http://schemas.microsoft.com/office/drawing/2014/main" id="{AB196AEB-CEDD-4FD3-8947-D948C02A6E3C}"/>
                </a:ext>
              </a:extLst>
            </p:cNvPr>
            <p:cNvSpPr/>
            <p:nvPr/>
          </p:nvSpPr>
          <p:spPr bwMode="gray">
            <a:xfrm>
              <a:off x="10575511" y="1292751"/>
              <a:ext cx="125500" cy="125165"/>
            </a:xfrm>
            <a:custGeom>
              <a:avLst/>
              <a:gdLst>
                <a:gd name="connsiteX0" fmla="*/ 124824 w 125500"/>
                <a:gd name="connsiteY0" fmla="*/ 62333 h 125165"/>
                <a:gd name="connsiteX1" fmla="*/ 63864 w 125500"/>
                <a:gd name="connsiteY1" fmla="*/ 124913 h 125165"/>
                <a:gd name="connsiteX2" fmla="*/ -430 w 125500"/>
                <a:gd name="connsiteY2" fmla="*/ 58238 h 125165"/>
                <a:gd name="connsiteX3" fmla="*/ 65007 w 125500"/>
                <a:gd name="connsiteY3" fmla="*/ -151 h 125165"/>
                <a:gd name="connsiteX4" fmla="*/ 125014 w 125500"/>
                <a:gd name="connsiteY4" fmla="*/ 53999 h 125165"/>
                <a:gd name="connsiteX5" fmla="*/ 124824 w 125500"/>
                <a:gd name="connsiteY5" fmla="*/ 62333 h 125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00" h="125165">
                  <a:moveTo>
                    <a:pt x="124824" y="62333"/>
                  </a:moveTo>
                  <a:cubicBezTo>
                    <a:pt x="123776" y="99862"/>
                    <a:pt x="98440" y="125865"/>
                    <a:pt x="63864" y="124913"/>
                  </a:cubicBezTo>
                  <a:cubicBezTo>
                    <a:pt x="28240" y="123112"/>
                    <a:pt x="46" y="93937"/>
                    <a:pt x="-430" y="58238"/>
                  </a:cubicBezTo>
                  <a:cubicBezTo>
                    <a:pt x="236" y="24043"/>
                    <a:pt x="28145" y="-437"/>
                    <a:pt x="65007" y="-151"/>
                  </a:cubicBezTo>
                  <a:cubicBezTo>
                    <a:pt x="96534" y="-1770"/>
                    <a:pt x="123395" y="22481"/>
                    <a:pt x="125014" y="53999"/>
                  </a:cubicBezTo>
                  <a:cubicBezTo>
                    <a:pt x="125109" y="56780"/>
                    <a:pt x="125109" y="59562"/>
                    <a:pt x="124824" y="62333"/>
                  </a:cubicBezTo>
                  <a:close/>
                </a:path>
              </a:pathLst>
            </a:custGeom>
            <a:solidFill>
              <a:srgbClr val="000000"/>
            </a:solidFill>
            <a:ln w="9525" cap="flat">
              <a:noFill/>
              <a:prstDash val="solid"/>
              <a:miter/>
            </a:ln>
          </p:spPr>
          <p:txBody>
            <a:bodyPr rtlCol="0" anchor="ctr"/>
            <a:lstStyle/>
            <a:p>
              <a:endParaRPr lang="de-DE"/>
            </a:p>
          </p:txBody>
        </p:sp>
        <p:sp>
          <p:nvSpPr>
            <p:cNvPr id="30" name="Grafik 2">
              <a:extLst>
                <a:ext uri="{FF2B5EF4-FFF2-40B4-BE49-F238E27FC236}">
                  <a16:creationId xmlns:a16="http://schemas.microsoft.com/office/drawing/2014/main" id="{54C67BB9-89BD-4DF1-9A87-53E8844D0604}"/>
                </a:ext>
              </a:extLst>
            </p:cNvPr>
            <p:cNvSpPr/>
            <p:nvPr/>
          </p:nvSpPr>
          <p:spPr bwMode="gray">
            <a:xfrm>
              <a:off x="9749408" y="466232"/>
              <a:ext cx="125576" cy="125752"/>
            </a:xfrm>
            <a:custGeom>
              <a:avLst/>
              <a:gdLst>
                <a:gd name="connsiteX0" fmla="*/ 64530 w 125576"/>
                <a:gd name="connsiteY0" fmla="*/ 125519 h 125752"/>
                <a:gd name="connsiteX1" fmla="*/ -430 w 125576"/>
                <a:gd name="connsiteY1" fmla="*/ 58844 h 125752"/>
                <a:gd name="connsiteX2" fmla="*/ 64435 w 125576"/>
                <a:gd name="connsiteY2" fmla="*/ -116 h 125752"/>
                <a:gd name="connsiteX3" fmla="*/ 125014 w 125576"/>
                <a:gd name="connsiteY3" fmla="*/ 53386 h 125752"/>
                <a:gd name="connsiteX4" fmla="*/ 124918 w 125576"/>
                <a:gd name="connsiteY4" fmla="*/ 61797 h 125752"/>
                <a:gd name="connsiteX5" fmla="*/ 64530 w 125576"/>
                <a:gd name="connsiteY5" fmla="*/ 125519 h 125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76" h="125752">
                  <a:moveTo>
                    <a:pt x="64530" y="125519"/>
                  </a:moveTo>
                  <a:cubicBezTo>
                    <a:pt x="28716" y="123871"/>
                    <a:pt x="236" y="94705"/>
                    <a:pt x="-430" y="58844"/>
                  </a:cubicBezTo>
                  <a:cubicBezTo>
                    <a:pt x="-430" y="24554"/>
                    <a:pt x="27002" y="-116"/>
                    <a:pt x="64435" y="-116"/>
                  </a:cubicBezTo>
                  <a:cubicBezTo>
                    <a:pt x="95963" y="-2069"/>
                    <a:pt x="123014" y="21877"/>
                    <a:pt x="125014" y="53386"/>
                  </a:cubicBezTo>
                  <a:cubicBezTo>
                    <a:pt x="125204" y="56186"/>
                    <a:pt x="125204" y="58996"/>
                    <a:pt x="124918" y="61797"/>
                  </a:cubicBezTo>
                  <a:cubicBezTo>
                    <a:pt x="124157" y="99611"/>
                    <a:pt x="99010" y="125995"/>
                    <a:pt x="64530" y="125519"/>
                  </a:cubicBezTo>
                  <a:close/>
                </a:path>
              </a:pathLst>
            </a:custGeom>
            <a:solidFill>
              <a:srgbClr val="000000"/>
            </a:solidFill>
            <a:ln w="9525" cap="flat">
              <a:noFill/>
              <a:prstDash val="solid"/>
              <a:miter/>
            </a:ln>
          </p:spPr>
          <p:txBody>
            <a:bodyPr rtlCol="0" anchor="ctr"/>
            <a:lstStyle/>
            <a:p>
              <a:endParaRPr lang="de-DE"/>
            </a:p>
          </p:txBody>
        </p:sp>
        <p:sp>
          <p:nvSpPr>
            <p:cNvPr id="31" name="Grafik 2">
              <a:extLst>
                <a:ext uri="{FF2B5EF4-FFF2-40B4-BE49-F238E27FC236}">
                  <a16:creationId xmlns:a16="http://schemas.microsoft.com/office/drawing/2014/main" id="{837F1733-7D8F-417D-9EF7-1DAE024A5EF1}"/>
                </a:ext>
              </a:extLst>
            </p:cNvPr>
            <p:cNvSpPr/>
            <p:nvPr/>
          </p:nvSpPr>
          <p:spPr bwMode="gray">
            <a:xfrm>
              <a:off x="10162505" y="466550"/>
              <a:ext cx="125398" cy="125428"/>
            </a:xfrm>
            <a:custGeom>
              <a:avLst/>
              <a:gdLst>
                <a:gd name="connsiteX0" fmla="*/ 63389 w 125398"/>
                <a:gd name="connsiteY0" fmla="*/ -52 h 125428"/>
                <a:gd name="connsiteX1" fmla="*/ 124826 w 125398"/>
                <a:gd name="connsiteY1" fmla="*/ 52497 h 125428"/>
                <a:gd name="connsiteX2" fmla="*/ 124826 w 125398"/>
                <a:gd name="connsiteY2" fmla="*/ 60907 h 125428"/>
                <a:gd name="connsiteX3" fmla="*/ 65389 w 125398"/>
                <a:gd name="connsiteY3" fmla="*/ 125201 h 125428"/>
                <a:gd name="connsiteX4" fmla="*/ -428 w 125398"/>
                <a:gd name="connsiteY4" fmla="*/ 59860 h 125428"/>
                <a:gd name="connsiteX5" fmla="*/ 63389 w 125398"/>
                <a:gd name="connsiteY5" fmla="*/ -52 h 125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98" h="125428">
                  <a:moveTo>
                    <a:pt x="63389" y="-52"/>
                  </a:moveTo>
                  <a:cubicBezTo>
                    <a:pt x="94822" y="-2500"/>
                    <a:pt x="122350" y="21036"/>
                    <a:pt x="124826" y="52497"/>
                  </a:cubicBezTo>
                  <a:cubicBezTo>
                    <a:pt x="125016" y="55297"/>
                    <a:pt x="125016" y="58107"/>
                    <a:pt x="124826" y="60907"/>
                  </a:cubicBezTo>
                  <a:cubicBezTo>
                    <a:pt x="124826" y="98341"/>
                    <a:pt x="99775" y="125201"/>
                    <a:pt x="65389" y="125201"/>
                  </a:cubicBezTo>
                  <a:cubicBezTo>
                    <a:pt x="29670" y="124125"/>
                    <a:pt x="906" y="95560"/>
                    <a:pt x="-428" y="59860"/>
                  </a:cubicBezTo>
                  <a:cubicBezTo>
                    <a:pt x="-714" y="25094"/>
                    <a:pt x="25957" y="424"/>
                    <a:pt x="63389" y="-52"/>
                  </a:cubicBezTo>
                  <a:close/>
                </a:path>
              </a:pathLst>
            </a:custGeom>
            <a:solidFill>
              <a:srgbClr val="000000"/>
            </a:solidFill>
            <a:ln w="9525" cap="flat">
              <a:noFill/>
              <a:prstDash val="solid"/>
              <a:miter/>
            </a:ln>
          </p:spPr>
          <p:txBody>
            <a:bodyPr rtlCol="0" anchor="ctr"/>
            <a:lstStyle/>
            <a:p>
              <a:endParaRPr lang="de-DE"/>
            </a:p>
          </p:txBody>
        </p:sp>
        <p:sp>
          <p:nvSpPr>
            <p:cNvPr id="32" name="Grafik 2">
              <a:extLst>
                <a:ext uri="{FF2B5EF4-FFF2-40B4-BE49-F238E27FC236}">
                  <a16:creationId xmlns:a16="http://schemas.microsoft.com/office/drawing/2014/main" id="{8C852716-BD5C-4083-ADA4-88BD2D693E09}"/>
                </a:ext>
              </a:extLst>
            </p:cNvPr>
            <p:cNvSpPr/>
            <p:nvPr/>
          </p:nvSpPr>
          <p:spPr bwMode="gray">
            <a:xfrm>
              <a:off x="10368715" y="466480"/>
              <a:ext cx="125651" cy="125498"/>
            </a:xfrm>
            <a:custGeom>
              <a:avLst/>
              <a:gdLst>
                <a:gd name="connsiteX0" fmla="*/ 125118 w 125651"/>
                <a:gd name="connsiteY0" fmla="*/ 60406 h 125498"/>
                <a:gd name="connsiteX1" fmla="*/ 66254 w 125651"/>
                <a:gd name="connsiteY1" fmla="*/ 125271 h 125498"/>
                <a:gd name="connsiteX2" fmla="*/ -421 w 125651"/>
                <a:gd name="connsiteY2" fmla="*/ 60501 h 125498"/>
                <a:gd name="connsiteX3" fmla="*/ 62824 w 125651"/>
                <a:gd name="connsiteY3" fmla="*/ 17 h 125498"/>
                <a:gd name="connsiteX4" fmla="*/ 125023 w 125651"/>
                <a:gd name="connsiteY4" fmla="*/ 51672 h 125498"/>
                <a:gd name="connsiteX5" fmla="*/ 125118 w 125651"/>
                <a:gd name="connsiteY5" fmla="*/ 60406 h 12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51" h="125498">
                  <a:moveTo>
                    <a:pt x="125118" y="60406"/>
                  </a:moveTo>
                  <a:cubicBezTo>
                    <a:pt x="125118" y="97744"/>
                    <a:pt x="100544" y="124986"/>
                    <a:pt x="66254" y="125271"/>
                  </a:cubicBezTo>
                  <a:cubicBezTo>
                    <a:pt x="30440" y="124652"/>
                    <a:pt x="1198" y="96306"/>
                    <a:pt x="-421" y="60501"/>
                  </a:cubicBezTo>
                  <a:cubicBezTo>
                    <a:pt x="-993" y="26021"/>
                    <a:pt x="25296" y="779"/>
                    <a:pt x="62824" y="17"/>
                  </a:cubicBezTo>
                  <a:cubicBezTo>
                    <a:pt x="94257" y="-2878"/>
                    <a:pt x="122071" y="20248"/>
                    <a:pt x="125023" y="51672"/>
                  </a:cubicBezTo>
                  <a:cubicBezTo>
                    <a:pt x="125213" y="54577"/>
                    <a:pt x="125309" y="57501"/>
                    <a:pt x="125118" y="60406"/>
                  </a:cubicBezTo>
                  <a:close/>
                </a:path>
              </a:pathLst>
            </a:custGeom>
            <a:solidFill>
              <a:srgbClr val="000000"/>
            </a:solidFill>
            <a:ln w="9525" cap="flat">
              <a:noFill/>
              <a:prstDash val="solid"/>
              <a:miter/>
            </a:ln>
          </p:spPr>
          <p:txBody>
            <a:bodyPr rtlCol="0" anchor="ctr"/>
            <a:lstStyle/>
            <a:p>
              <a:endParaRPr lang="de-DE"/>
            </a:p>
          </p:txBody>
        </p:sp>
        <p:sp>
          <p:nvSpPr>
            <p:cNvPr id="33" name="Grafik 2">
              <a:extLst>
                <a:ext uri="{FF2B5EF4-FFF2-40B4-BE49-F238E27FC236}">
                  <a16:creationId xmlns:a16="http://schemas.microsoft.com/office/drawing/2014/main" id="{4F00275D-6EC6-4011-8FC6-653379915D7E}"/>
                </a:ext>
              </a:extLst>
            </p:cNvPr>
            <p:cNvSpPr/>
            <p:nvPr/>
          </p:nvSpPr>
          <p:spPr bwMode="gray">
            <a:xfrm>
              <a:off x="10575511" y="466543"/>
              <a:ext cx="125396" cy="125435"/>
            </a:xfrm>
            <a:custGeom>
              <a:avLst/>
              <a:gdLst>
                <a:gd name="connsiteX0" fmla="*/ 124824 w 125396"/>
                <a:gd name="connsiteY0" fmla="*/ 60819 h 125435"/>
                <a:gd name="connsiteX1" fmla="*/ 65482 w 125396"/>
                <a:gd name="connsiteY1" fmla="*/ 125208 h 125435"/>
                <a:gd name="connsiteX2" fmla="*/ -430 w 125396"/>
                <a:gd name="connsiteY2" fmla="*/ 59867 h 125435"/>
                <a:gd name="connsiteX3" fmla="*/ 63292 w 125396"/>
                <a:gd name="connsiteY3" fmla="*/ -46 h 125435"/>
                <a:gd name="connsiteX4" fmla="*/ 124824 w 125396"/>
                <a:gd name="connsiteY4" fmla="*/ 52409 h 125435"/>
                <a:gd name="connsiteX5" fmla="*/ 124824 w 125396"/>
                <a:gd name="connsiteY5" fmla="*/ 60819 h 125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96" h="125435">
                  <a:moveTo>
                    <a:pt x="124824" y="60819"/>
                  </a:moveTo>
                  <a:cubicBezTo>
                    <a:pt x="124824" y="98348"/>
                    <a:pt x="99869" y="125208"/>
                    <a:pt x="65482" y="125208"/>
                  </a:cubicBezTo>
                  <a:cubicBezTo>
                    <a:pt x="29764" y="124180"/>
                    <a:pt x="904" y="95605"/>
                    <a:pt x="-430" y="59867"/>
                  </a:cubicBezTo>
                  <a:cubicBezTo>
                    <a:pt x="-430" y="25481"/>
                    <a:pt x="25859" y="431"/>
                    <a:pt x="63292" y="-46"/>
                  </a:cubicBezTo>
                  <a:cubicBezTo>
                    <a:pt x="94725" y="-2541"/>
                    <a:pt x="122252" y="20947"/>
                    <a:pt x="124824" y="52409"/>
                  </a:cubicBezTo>
                  <a:cubicBezTo>
                    <a:pt x="125014" y="55209"/>
                    <a:pt x="125014" y="58019"/>
                    <a:pt x="124824" y="60819"/>
                  </a:cubicBezTo>
                  <a:close/>
                </a:path>
              </a:pathLst>
            </a:custGeom>
            <a:solidFill>
              <a:srgbClr val="000000"/>
            </a:solidFill>
            <a:ln w="9525" cap="flat">
              <a:noFill/>
              <a:prstDash val="solid"/>
              <a:miter/>
            </a:ln>
          </p:spPr>
          <p:txBody>
            <a:bodyPr rtlCol="0" anchor="ctr"/>
            <a:lstStyle/>
            <a:p>
              <a:endParaRPr lang="de-DE"/>
            </a:p>
          </p:txBody>
        </p:sp>
        <p:sp>
          <p:nvSpPr>
            <p:cNvPr id="34" name="Grafik 2">
              <a:extLst>
                <a:ext uri="{FF2B5EF4-FFF2-40B4-BE49-F238E27FC236}">
                  <a16:creationId xmlns:a16="http://schemas.microsoft.com/office/drawing/2014/main" id="{4C0FAB6A-91C9-4EE0-AC76-5DFA3F2FEFAB}"/>
                </a:ext>
              </a:extLst>
            </p:cNvPr>
            <p:cNvSpPr/>
            <p:nvPr/>
          </p:nvSpPr>
          <p:spPr bwMode="gray">
            <a:xfrm>
              <a:off x="10369360" y="879564"/>
              <a:ext cx="125055" cy="125513"/>
            </a:xfrm>
            <a:custGeom>
              <a:avLst/>
              <a:gdLst>
                <a:gd name="connsiteX0" fmla="*/ 124569 w 125055"/>
                <a:gd name="connsiteY0" fmla="*/ 59754 h 125513"/>
                <a:gd name="connsiteX1" fmla="*/ 66276 w 125055"/>
                <a:gd name="connsiteY1" fmla="*/ 125286 h 125513"/>
                <a:gd name="connsiteX2" fmla="*/ -399 w 125055"/>
                <a:gd name="connsiteY2" fmla="*/ 61087 h 125513"/>
                <a:gd name="connsiteX3" fmla="*/ 62084 w 125055"/>
                <a:gd name="connsiteY3" fmla="*/ 32 h 125513"/>
                <a:gd name="connsiteX4" fmla="*/ 124378 w 125055"/>
                <a:gd name="connsiteY4" fmla="*/ 51524 h 125513"/>
                <a:gd name="connsiteX5" fmla="*/ 124569 w 125055"/>
                <a:gd name="connsiteY5" fmla="*/ 59754 h 12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055" h="125513">
                  <a:moveTo>
                    <a:pt x="124569" y="59754"/>
                  </a:moveTo>
                  <a:cubicBezTo>
                    <a:pt x="124569" y="97092"/>
                    <a:pt x="100470" y="124619"/>
                    <a:pt x="66276" y="125286"/>
                  </a:cubicBezTo>
                  <a:cubicBezTo>
                    <a:pt x="30652" y="124686"/>
                    <a:pt x="1505" y="96663"/>
                    <a:pt x="-399" y="61087"/>
                  </a:cubicBezTo>
                  <a:cubicBezTo>
                    <a:pt x="-1447" y="26512"/>
                    <a:pt x="24556" y="1080"/>
                    <a:pt x="62084" y="32"/>
                  </a:cubicBezTo>
                  <a:cubicBezTo>
                    <a:pt x="93517" y="-2949"/>
                    <a:pt x="121426" y="20101"/>
                    <a:pt x="124378" y="51524"/>
                  </a:cubicBezTo>
                  <a:cubicBezTo>
                    <a:pt x="124664" y="54258"/>
                    <a:pt x="124664" y="57011"/>
                    <a:pt x="124569" y="59754"/>
                  </a:cubicBezTo>
                  <a:close/>
                </a:path>
              </a:pathLst>
            </a:custGeom>
            <a:solidFill>
              <a:srgbClr val="000000"/>
            </a:solidFill>
            <a:ln w="9525" cap="flat">
              <a:noFill/>
              <a:prstDash val="solid"/>
              <a:miter/>
            </a:ln>
          </p:spPr>
          <p:txBody>
            <a:bodyPr rtlCol="0" anchor="ctr"/>
            <a:lstStyle/>
            <a:p>
              <a:endParaRPr lang="de-DE"/>
            </a:p>
          </p:txBody>
        </p:sp>
        <p:sp>
          <p:nvSpPr>
            <p:cNvPr id="35" name="Grafik 2">
              <a:extLst>
                <a:ext uri="{FF2B5EF4-FFF2-40B4-BE49-F238E27FC236}">
                  <a16:creationId xmlns:a16="http://schemas.microsoft.com/office/drawing/2014/main" id="{D352111F-847A-4991-9D7A-A1EB7DB99BB2}"/>
                </a:ext>
              </a:extLst>
            </p:cNvPr>
            <p:cNvSpPr/>
            <p:nvPr/>
          </p:nvSpPr>
          <p:spPr bwMode="gray">
            <a:xfrm>
              <a:off x="9542906" y="672734"/>
              <a:ext cx="125577" cy="125752"/>
            </a:xfrm>
            <a:custGeom>
              <a:avLst/>
              <a:gdLst>
                <a:gd name="connsiteX0" fmla="*/ 64531 w 125577"/>
                <a:gd name="connsiteY0" fmla="*/ 125519 h 125752"/>
                <a:gd name="connsiteX1" fmla="*/ -430 w 125577"/>
                <a:gd name="connsiteY1" fmla="*/ 58844 h 125752"/>
                <a:gd name="connsiteX2" fmla="*/ 64436 w 125577"/>
                <a:gd name="connsiteY2" fmla="*/ -116 h 125752"/>
                <a:gd name="connsiteX3" fmla="*/ 125015 w 125577"/>
                <a:gd name="connsiteY3" fmla="*/ 53386 h 125752"/>
                <a:gd name="connsiteX4" fmla="*/ 124919 w 125577"/>
                <a:gd name="connsiteY4" fmla="*/ 61797 h 125752"/>
                <a:gd name="connsiteX5" fmla="*/ 64531 w 125577"/>
                <a:gd name="connsiteY5" fmla="*/ 125519 h 125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77" h="125752">
                  <a:moveTo>
                    <a:pt x="64531" y="125519"/>
                  </a:moveTo>
                  <a:cubicBezTo>
                    <a:pt x="28717" y="123919"/>
                    <a:pt x="237" y="94724"/>
                    <a:pt x="-430" y="58844"/>
                  </a:cubicBezTo>
                  <a:cubicBezTo>
                    <a:pt x="-430" y="24554"/>
                    <a:pt x="27002" y="-116"/>
                    <a:pt x="64436" y="-116"/>
                  </a:cubicBezTo>
                  <a:cubicBezTo>
                    <a:pt x="95963" y="-2068"/>
                    <a:pt x="123014" y="21877"/>
                    <a:pt x="125015" y="53386"/>
                  </a:cubicBezTo>
                  <a:cubicBezTo>
                    <a:pt x="125205" y="56186"/>
                    <a:pt x="125205" y="58996"/>
                    <a:pt x="124919" y="61797"/>
                  </a:cubicBezTo>
                  <a:cubicBezTo>
                    <a:pt x="124157" y="99611"/>
                    <a:pt x="99012" y="125995"/>
                    <a:pt x="64531" y="125519"/>
                  </a:cubicBezTo>
                  <a:close/>
                </a:path>
              </a:pathLst>
            </a:custGeom>
            <a:solidFill>
              <a:srgbClr val="000000"/>
            </a:solidFill>
            <a:ln w="9525" cap="flat">
              <a:noFill/>
              <a:prstDash val="solid"/>
              <a:miter/>
            </a:ln>
          </p:spPr>
          <p:txBody>
            <a:bodyPr rtlCol="0" anchor="ctr"/>
            <a:lstStyle/>
            <a:p>
              <a:endParaRPr lang="de-DE"/>
            </a:p>
          </p:txBody>
        </p:sp>
        <p:sp>
          <p:nvSpPr>
            <p:cNvPr id="36" name="Grafik 2">
              <a:extLst>
                <a:ext uri="{FF2B5EF4-FFF2-40B4-BE49-F238E27FC236}">
                  <a16:creationId xmlns:a16="http://schemas.microsoft.com/office/drawing/2014/main" id="{C7FE6D85-4B87-4124-B698-D628BAD70B0E}"/>
                </a:ext>
              </a:extLst>
            </p:cNvPr>
            <p:cNvSpPr/>
            <p:nvPr/>
          </p:nvSpPr>
          <p:spPr bwMode="gray">
            <a:xfrm>
              <a:off x="9749597" y="673199"/>
              <a:ext cx="125148" cy="125250"/>
            </a:xfrm>
            <a:custGeom>
              <a:avLst/>
              <a:gdLst>
                <a:gd name="connsiteX0" fmla="*/ 124634 w 125148"/>
                <a:gd name="connsiteY0" fmla="*/ 63522 h 125250"/>
                <a:gd name="connsiteX1" fmla="*/ 62628 w 125148"/>
                <a:gd name="connsiteY1" fmla="*/ 124958 h 125250"/>
                <a:gd name="connsiteX2" fmla="*/ -428 w 125148"/>
                <a:gd name="connsiteY2" fmla="*/ 56950 h 125250"/>
                <a:gd name="connsiteX3" fmla="*/ 66247 w 125148"/>
                <a:gd name="connsiteY3" fmla="*/ -200 h 125250"/>
                <a:gd name="connsiteX4" fmla="*/ 124634 w 125148"/>
                <a:gd name="connsiteY4" fmla="*/ 63522 h 12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148" h="125250">
                  <a:moveTo>
                    <a:pt x="124634" y="63522"/>
                  </a:moveTo>
                  <a:cubicBezTo>
                    <a:pt x="123111" y="100860"/>
                    <a:pt x="97203" y="126483"/>
                    <a:pt x="62628" y="124958"/>
                  </a:cubicBezTo>
                  <a:cubicBezTo>
                    <a:pt x="26909" y="122539"/>
                    <a:pt x="-714" y="92735"/>
                    <a:pt x="-428" y="56950"/>
                  </a:cubicBezTo>
                  <a:cubicBezTo>
                    <a:pt x="905" y="22755"/>
                    <a:pt x="28147" y="-1152"/>
                    <a:pt x="66247" y="-200"/>
                  </a:cubicBezTo>
                  <a:cubicBezTo>
                    <a:pt x="104347" y="753"/>
                    <a:pt x="126254" y="26280"/>
                    <a:pt x="124634" y="63522"/>
                  </a:cubicBezTo>
                  <a:close/>
                </a:path>
              </a:pathLst>
            </a:custGeom>
            <a:solidFill>
              <a:srgbClr val="000000"/>
            </a:solidFill>
            <a:ln w="9525" cap="flat">
              <a:noFill/>
              <a:prstDash val="solid"/>
              <a:miter/>
            </a:ln>
          </p:spPr>
          <p:txBody>
            <a:bodyPr rtlCol="0" anchor="ctr"/>
            <a:lstStyle/>
            <a:p>
              <a:endParaRPr lang="de-DE"/>
            </a:p>
          </p:txBody>
        </p:sp>
        <p:sp>
          <p:nvSpPr>
            <p:cNvPr id="37" name="Grafik 2">
              <a:extLst>
                <a:ext uri="{FF2B5EF4-FFF2-40B4-BE49-F238E27FC236}">
                  <a16:creationId xmlns:a16="http://schemas.microsoft.com/office/drawing/2014/main" id="{3A1C8F01-0AB9-444C-AE4F-4EB7732E2C48}"/>
                </a:ext>
              </a:extLst>
            </p:cNvPr>
            <p:cNvSpPr/>
            <p:nvPr/>
          </p:nvSpPr>
          <p:spPr bwMode="gray">
            <a:xfrm>
              <a:off x="9956005" y="673075"/>
              <a:ext cx="125480" cy="125345"/>
            </a:xfrm>
            <a:custGeom>
              <a:avLst/>
              <a:gdLst>
                <a:gd name="connsiteX0" fmla="*/ 63388 w 125480"/>
                <a:gd name="connsiteY0" fmla="*/ 125082 h 125345"/>
                <a:gd name="connsiteX1" fmla="*/ -430 w 125480"/>
                <a:gd name="connsiteY1" fmla="*/ 57740 h 125345"/>
                <a:gd name="connsiteX2" fmla="*/ 65388 w 125480"/>
                <a:gd name="connsiteY2" fmla="*/ -172 h 125345"/>
                <a:gd name="connsiteX3" fmla="*/ 125015 w 125480"/>
                <a:gd name="connsiteY3" fmla="*/ 54426 h 125345"/>
                <a:gd name="connsiteX4" fmla="*/ 124729 w 125480"/>
                <a:gd name="connsiteY4" fmla="*/ 62884 h 125345"/>
                <a:gd name="connsiteX5" fmla="*/ 63388 w 125480"/>
                <a:gd name="connsiteY5" fmla="*/ 125082 h 12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480" h="125345">
                  <a:moveTo>
                    <a:pt x="63388" y="125082"/>
                  </a:moveTo>
                  <a:cubicBezTo>
                    <a:pt x="27669" y="123015"/>
                    <a:pt x="-335" y="93526"/>
                    <a:pt x="-430" y="57740"/>
                  </a:cubicBezTo>
                  <a:cubicBezTo>
                    <a:pt x="522" y="23641"/>
                    <a:pt x="28145" y="-648"/>
                    <a:pt x="65388" y="-172"/>
                  </a:cubicBezTo>
                  <a:cubicBezTo>
                    <a:pt x="96915" y="-1553"/>
                    <a:pt x="123586" y="22888"/>
                    <a:pt x="125015" y="54426"/>
                  </a:cubicBezTo>
                  <a:cubicBezTo>
                    <a:pt x="125110" y="57245"/>
                    <a:pt x="125015" y="60074"/>
                    <a:pt x="124729" y="62884"/>
                  </a:cubicBezTo>
                  <a:cubicBezTo>
                    <a:pt x="123490" y="100317"/>
                    <a:pt x="97869" y="126225"/>
                    <a:pt x="63388" y="125082"/>
                  </a:cubicBezTo>
                  <a:close/>
                </a:path>
              </a:pathLst>
            </a:custGeom>
            <a:solidFill>
              <a:srgbClr val="000000"/>
            </a:solidFill>
            <a:ln w="9525" cap="flat">
              <a:noFill/>
              <a:prstDash val="solid"/>
              <a:miter/>
            </a:ln>
          </p:spPr>
          <p:txBody>
            <a:bodyPr rtlCol="0" anchor="ctr"/>
            <a:lstStyle/>
            <a:p>
              <a:endParaRPr lang="de-DE"/>
            </a:p>
          </p:txBody>
        </p:sp>
        <p:sp>
          <p:nvSpPr>
            <p:cNvPr id="38" name="Grafik 2">
              <a:extLst>
                <a:ext uri="{FF2B5EF4-FFF2-40B4-BE49-F238E27FC236}">
                  <a16:creationId xmlns:a16="http://schemas.microsoft.com/office/drawing/2014/main" id="{ABCC33AD-A965-4E30-ACA8-6510EBEC69AC}"/>
                </a:ext>
              </a:extLst>
            </p:cNvPr>
            <p:cNvSpPr/>
            <p:nvPr/>
          </p:nvSpPr>
          <p:spPr bwMode="gray">
            <a:xfrm>
              <a:off x="10162495" y="672983"/>
              <a:ext cx="125364" cy="125496"/>
            </a:xfrm>
            <a:custGeom>
              <a:avLst/>
              <a:gdLst>
                <a:gd name="connsiteX0" fmla="*/ 124836 w 125364"/>
                <a:gd name="connsiteY0" fmla="*/ 60119 h 125496"/>
                <a:gd name="connsiteX1" fmla="*/ 66257 w 125364"/>
                <a:gd name="connsiteY1" fmla="*/ 125270 h 125496"/>
                <a:gd name="connsiteX2" fmla="*/ -418 w 125364"/>
                <a:gd name="connsiteY2" fmla="*/ 60690 h 125496"/>
                <a:gd name="connsiteX3" fmla="*/ 62543 w 125364"/>
                <a:gd name="connsiteY3" fmla="*/ 16 h 125496"/>
                <a:gd name="connsiteX4" fmla="*/ 124646 w 125364"/>
                <a:gd name="connsiteY4" fmla="*/ 51689 h 125496"/>
                <a:gd name="connsiteX5" fmla="*/ 124836 w 125364"/>
                <a:gd name="connsiteY5" fmla="*/ 60119 h 125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64" h="125496">
                  <a:moveTo>
                    <a:pt x="124836" y="60119"/>
                  </a:moveTo>
                  <a:cubicBezTo>
                    <a:pt x="124836" y="97456"/>
                    <a:pt x="100452" y="124793"/>
                    <a:pt x="66257" y="125270"/>
                  </a:cubicBezTo>
                  <a:cubicBezTo>
                    <a:pt x="30539" y="124612"/>
                    <a:pt x="1392" y="96399"/>
                    <a:pt x="-418" y="60690"/>
                  </a:cubicBezTo>
                  <a:cubicBezTo>
                    <a:pt x="-1085" y="26210"/>
                    <a:pt x="25109" y="873"/>
                    <a:pt x="62543" y="16"/>
                  </a:cubicBezTo>
                  <a:cubicBezTo>
                    <a:pt x="93974" y="-2870"/>
                    <a:pt x="121788" y="20266"/>
                    <a:pt x="124646" y="51689"/>
                  </a:cubicBezTo>
                  <a:cubicBezTo>
                    <a:pt x="124931" y="54489"/>
                    <a:pt x="125026" y="57309"/>
                    <a:pt x="124836" y="60119"/>
                  </a:cubicBezTo>
                  <a:close/>
                </a:path>
              </a:pathLst>
            </a:custGeom>
            <a:solidFill>
              <a:srgbClr val="000000"/>
            </a:solidFill>
            <a:ln w="9525" cap="flat">
              <a:noFill/>
              <a:prstDash val="solid"/>
              <a:miter/>
            </a:ln>
          </p:spPr>
          <p:txBody>
            <a:bodyPr rtlCol="0" anchor="ctr"/>
            <a:lstStyle/>
            <a:p>
              <a:endParaRPr lang="de-DE"/>
            </a:p>
          </p:txBody>
        </p:sp>
        <p:sp>
          <p:nvSpPr>
            <p:cNvPr id="39" name="Grafik 2">
              <a:extLst>
                <a:ext uri="{FF2B5EF4-FFF2-40B4-BE49-F238E27FC236}">
                  <a16:creationId xmlns:a16="http://schemas.microsoft.com/office/drawing/2014/main" id="{054521AD-A585-4C55-8AD6-DB25AB2A364B}"/>
                </a:ext>
              </a:extLst>
            </p:cNvPr>
            <p:cNvSpPr/>
            <p:nvPr/>
          </p:nvSpPr>
          <p:spPr bwMode="gray">
            <a:xfrm>
              <a:off x="10368715" y="672982"/>
              <a:ext cx="125651" cy="125498"/>
            </a:xfrm>
            <a:custGeom>
              <a:avLst/>
              <a:gdLst>
                <a:gd name="connsiteX0" fmla="*/ 125118 w 125651"/>
                <a:gd name="connsiteY0" fmla="*/ 60406 h 125498"/>
                <a:gd name="connsiteX1" fmla="*/ 66254 w 125651"/>
                <a:gd name="connsiteY1" fmla="*/ 125271 h 125498"/>
                <a:gd name="connsiteX2" fmla="*/ -421 w 125651"/>
                <a:gd name="connsiteY2" fmla="*/ 60406 h 125498"/>
                <a:gd name="connsiteX3" fmla="*/ 62824 w 125651"/>
                <a:gd name="connsiteY3" fmla="*/ 17 h 125498"/>
                <a:gd name="connsiteX4" fmla="*/ 125023 w 125651"/>
                <a:gd name="connsiteY4" fmla="*/ 51681 h 125498"/>
                <a:gd name="connsiteX5" fmla="*/ 125118 w 125651"/>
                <a:gd name="connsiteY5" fmla="*/ 60406 h 12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51" h="125498">
                  <a:moveTo>
                    <a:pt x="125118" y="60406"/>
                  </a:moveTo>
                  <a:cubicBezTo>
                    <a:pt x="125118" y="97744"/>
                    <a:pt x="100449" y="124985"/>
                    <a:pt x="66254" y="125271"/>
                  </a:cubicBezTo>
                  <a:cubicBezTo>
                    <a:pt x="30345" y="124652"/>
                    <a:pt x="1198" y="96249"/>
                    <a:pt x="-421" y="60406"/>
                  </a:cubicBezTo>
                  <a:cubicBezTo>
                    <a:pt x="-993" y="25925"/>
                    <a:pt x="25392" y="779"/>
                    <a:pt x="62824" y="17"/>
                  </a:cubicBezTo>
                  <a:cubicBezTo>
                    <a:pt x="94257" y="-2878"/>
                    <a:pt x="122071" y="20248"/>
                    <a:pt x="125023" y="51681"/>
                  </a:cubicBezTo>
                  <a:cubicBezTo>
                    <a:pt x="125213" y="54577"/>
                    <a:pt x="125309" y="57501"/>
                    <a:pt x="125118" y="60406"/>
                  </a:cubicBezTo>
                  <a:close/>
                </a:path>
              </a:pathLst>
            </a:custGeom>
            <a:solidFill>
              <a:srgbClr val="000000"/>
            </a:solidFill>
            <a:ln w="9525" cap="flat">
              <a:noFill/>
              <a:prstDash val="solid"/>
              <a:miter/>
            </a:ln>
          </p:spPr>
          <p:txBody>
            <a:bodyPr rtlCol="0" anchor="ctr"/>
            <a:lstStyle/>
            <a:p>
              <a:endParaRPr lang="de-DE"/>
            </a:p>
          </p:txBody>
        </p:sp>
        <p:sp>
          <p:nvSpPr>
            <p:cNvPr id="40" name="Grafik 2">
              <a:extLst>
                <a:ext uri="{FF2B5EF4-FFF2-40B4-BE49-F238E27FC236}">
                  <a16:creationId xmlns:a16="http://schemas.microsoft.com/office/drawing/2014/main" id="{768DC1AC-8F75-44C5-AAAD-81E9AEECB17F}"/>
                </a:ext>
              </a:extLst>
            </p:cNvPr>
            <p:cNvSpPr/>
            <p:nvPr/>
          </p:nvSpPr>
          <p:spPr bwMode="gray">
            <a:xfrm>
              <a:off x="10368997" y="1292489"/>
              <a:ext cx="125365" cy="125497"/>
            </a:xfrm>
            <a:custGeom>
              <a:avLst/>
              <a:gdLst>
                <a:gd name="connsiteX0" fmla="*/ 124836 w 125365"/>
                <a:gd name="connsiteY0" fmla="*/ 60119 h 125497"/>
                <a:gd name="connsiteX1" fmla="*/ 66257 w 125365"/>
                <a:gd name="connsiteY1" fmla="*/ 125270 h 125497"/>
                <a:gd name="connsiteX2" fmla="*/ -418 w 125365"/>
                <a:gd name="connsiteY2" fmla="*/ 60690 h 125497"/>
                <a:gd name="connsiteX3" fmla="*/ 62543 w 125365"/>
                <a:gd name="connsiteY3" fmla="*/ 16 h 125497"/>
                <a:gd name="connsiteX4" fmla="*/ 124646 w 125365"/>
                <a:gd name="connsiteY4" fmla="*/ 51689 h 125497"/>
                <a:gd name="connsiteX5" fmla="*/ 124836 w 125365"/>
                <a:gd name="connsiteY5" fmla="*/ 60119 h 12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65" h="125497">
                  <a:moveTo>
                    <a:pt x="124836" y="60119"/>
                  </a:moveTo>
                  <a:cubicBezTo>
                    <a:pt x="124836" y="97457"/>
                    <a:pt x="100453" y="124793"/>
                    <a:pt x="66257" y="125270"/>
                  </a:cubicBezTo>
                  <a:cubicBezTo>
                    <a:pt x="30539" y="124613"/>
                    <a:pt x="1393" y="96399"/>
                    <a:pt x="-418" y="60690"/>
                  </a:cubicBezTo>
                  <a:cubicBezTo>
                    <a:pt x="-1084" y="26210"/>
                    <a:pt x="25110" y="968"/>
                    <a:pt x="62543" y="16"/>
                  </a:cubicBezTo>
                  <a:cubicBezTo>
                    <a:pt x="93976" y="-2870"/>
                    <a:pt x="121789" y="20266"/>
                    <a:pt x="124646" y="51689"/>
                  </a:cubicBezTo>
                  <a:cubicBezTo>
                    <a:pt x="124932" y="54489"/>
                    <a:pt x="125027" y="57309"/>
                    <a:pt x="124836" y="60119"/>
                  </a:cubicBezTo>
                  <a:close/>
                </a:path>
              </a:pathLst>
            </a:custGeom>
            <a:solidFill>
              <a:srgbClr val="000000"/>
            </a:solidFill>
            <a:ln w="9525" cap="flat">
              <a:noFill/>
              <a:prstDash val="solid"/>
              <a:miter/>
            </a:ln>
          </p:spPr>
          <p:txBody>
            <a:bodyPr rtlCol="0" anchor="ctr"/>
            <a:lstStyle/>
            <a:p>
              <a:endParaRPr lang="de-DE"/>
            </a:p>
          </p:txBody>
        </p:sp>
      </p:grpSp>
      <p:sp>
        <p:nvSpPr>
          <p:cNvPr id="45" name="Bildplatzhalter 44">
            <a:extLst>
              <a:ext uri="{FF2B5EF4-FFF2-40B4-BE49-F238E27FC236}">
                <a16:creationId xmlns:a16="http://schemas.microsoft.com/office/drawing/2014/main" id="{FAA75423-5800-473B-AD33-62535B1A5140}"/>
              </a:ext>
            </a:extLst>
          </p:cNvPr>
          <p:cNvSpPr>
            <a:spLocks noGrp="1"/>
          </p:cNvSpPr>
          <p:nvPr>
            <p:ph type="pic" sz="quarter" idx="13" hasCustomPrompt="1"/>
          </p:nvPr>
        </p:nvSpPr>
        <p:spPr bwMode="gray">
          <a:xfrm>
            <a:off x="3935761" y="1917104"/>
            <a:ext cx="2464310" cy="2448000"/>
          </a:xfrm>
          <a:prstGeom prst="ellipse">
            <a:avLst/>
          </a:prstGeom>
          <a:solidFill>
            <a:schemeClr val="bg1"/>
          </a:solidFill>
        </p:spPr>
        <p:txBody>
          <a:bodyPr bIns="720000"/>
          <a:lstStyle>
            <a:lvl1pPr marL="0" indent="0" algn="ctr">
              <a:spcAft>
                <a:spcPts val="0"/>
              </a:spcAft>
              <a:buFont typeface="Arial" panose="020B0604020202020204" pitchFamily="34" charset="0"/>
              <a:buNone/>
              <a:defRPr sz="1200" b="0"/>
            </a:lvl1pPr>
            <a:lvl2pPr marL="0" indent="0" algn="ctr">
              <a:spcAft>
                <a:spcPts val="0"/>
              </a:spcAft>
              <a:buFont typeface="Arial" panose="020B0604020202020204" pitchFamily="34" charset="0"/>
              <a:buNone/>
              <a:defRPr sz="1200" b="0"/>
            </a:lvl2pPr>
            <a:lvl3pPr marL="0" indent="0" algn="ctr">
              <a:spcAft>
                <a:spcPts val="0"/>
              </a:spcAft>
              <a:buNone/>
              <a:defRPr sz="1200" b="0"/>
            </a:lvl3pPr>
            <a:lvl4pPr marL="0" indent="0" algn="ctr">
              <a:spcAft>
                <a:spcPts val="0"/>
              </a:spcAft>
              <a:buNone/>
              <a:defRPr sz="1200" b="0"/>
            </a:lvl4pPr>
            <a:lvl5pPr marL="0" indent="0" algn="ctr">
              <a:spcAft>
                <a:spcPts val="0"/>
              </a:spcAft>
              <a:buNone/>
              <a:defRPr sz="1200" b="0"/>
            </a:lvl5pPr>
            <a:lvl6pPr marL="0" indent="0" algn="ctr">
              <a:spcAft>
                <a:spcPts val="0"/>
              </a:spcAft>
              <a:buNone/>
              <a:defRPr sz="1200" b="0"/>
            </a:lvl6pPr>
            <a:lvl7pPr marL="0" indent="0" algn="ctr">
              <a:spcAft>
                <a:spcPts val="0"/>
              </a:spcAft>
              <a:buNone/>
              <a:defRPr sz="1200" b="0"/>
            </a:lvl7pPr>
            <a:lvl8pPr marL="0" indent="0" algn="ctr">
              <a:spcAft>
                <a:spcPts val="0"/>
              </a:spcAft>
              <a:buNone/>
              <a:defRPr sz="1200" b="0"/>
            </a:lvl8pPr>
            <a:lvl9pPr marL="0" indent="0" algn="ctr">
              <a:spcAft>
                <a:spcPts val="0"/>
              </a:spcAft>
              <a:buNone/>
              <a:defRPr sz="1200" b="0"/>
            </a:lvl9pPr>
          </a:lstStyle>
          <a:p>
            <a:pPr lvl="0"/>
            <a:r>
              <a:rPr lang="de-DE"/>
              <a:t>Bild durch Klick auf </a:t>
            </a:r>
            <a:br>
              <a:rPr lang="de-DE"/>
            </a:br>
            <a:r>
              <a:rPr lang="de-DE"/>
              <a:t>das Icon hinzufügen und </a:t>
            </a:r>
            <a:br>
              <a:rPr lang="de-DE"/>
            </a:br>
            <a:r>
              <a:rPr lang="de-DE"/>
              <a:t>ggf. zuschneiden</a:t>
            </a:r>
          </a:p>
        </p:txBody>
      </p:sp>
      <p:sp>
        <p:nvSpPr>
          <p:cNvPr id="49" name="Textplatzhalter 48">
            <a:extLst>
              <a:ext uri="{FF2B5EF4-FFF2-40B4-BE49-F238E27FC236}">
                <a16:creationId xmlns:a16="http://schemas.microsoft.com/office/drawing/2014/main" id="{C2C7134E-805A-48F4-9E17-5739C885F6D7}"/>
              </a:ext>
            </a:extLst>
          </p:cNvPr>
          <p:cNvSpPr>
            <a:spLocks noGrp="1"/>
          </p:cNvSpPr>
          <p:nvPr>
            <p:ph type="body" sz="quarter" idx="15" hasCustomPrompt="1"/>
          </p:nvPr>
        </p:nvSpPr>
        <p:spPr bwMode="gray">
          <a:xfrm>
            <a:off x="4411617" y="4437112"/>
            <a:ext cx="3312000" cy="1800000"/>
          </a:xfrm>
        </p:spPr>
        <p:txBody>
          <a:bodyPr/>
          <a:lstStyle>
            <a:lvl1pPr>
              <a:defRPr sz="1800"/>
            </a:lvl1pPr>
            <a:lvl2pPr>
              <a:defRPr sz="1400" b="1"/>
            </a:lvl2pPr>
            <a:lvl3pPr marL="0" indent="0">
              <a:buNone/>
              <a:defRPr sz="1400"/>
            </a:lvl3pPr>
            <a:lvl4pPr marL="0" indent="0">
              <a:buNone/>
              <a:defRPr sz="1400"/>
            </a:lvl4pPr>
            <a:lvl5pPr marL="0" indent="0">
              <a:buNone/>
              <a:defRPr sz="1400"/>
            </a:lvl5pPr>
            <a:lvl6pPr marL="0" indent="0">
              <a:buNone/>
              <a:defRPr sz="1400"/>
            </a:lvl6pPr>
            <a:lvl7pPr marL="0" indent="0">
              <a:buNone/>
              <a:defRPr sz="1400"/>
            </a:lvl7pPr>
            <a:lvl8pPr marL="0" indent="0">
              <a:buNone/>
              <a:defRPr sz="1400"/>
            </a:lvl8pPr>
            <a:lvl9pPr marL="0" indent="0">
              <a:buNone/>
              <a:defRPr sz="1400"/>
            </a:lvl9pPr>
          </a:lstStyle>
          <a:p>
            <a:pPr lvl="0"/>
            <a:r>
              <a:rPr lang="de-DE"/>
              <a:t>Vorname Name</a:t>
            </a:r>
          </a:p>
        </p:txBody>
      </p:sp>
      <p:sp>
        <p:nvSpPr>
          <p:cNvPr id="42" name="Textplatzhalter 41">
            <a:extLst>
              <a:ext uri="{FF2B5EF4-FFF2-40B4-BE49-F238E27FC236}">
                <a16:creationId xmlns:a16="http://schemas.microsoft.com/office/drawing/2014/main" id="{9A6531D1-5F93-4414-A755-9A7412495109}"/>
              </a:ext>
            </a:extLst>
          </p:cNvPr>
          <p:cNvSpPr>
            <a:spLocks noGrp="1"/>
          </p:cNvSpPr>
          <p:nvPr>
            <p:ph type="body" sz="quarter" idx="18"/>
          </p:nvPr>
        </p:nvSpPr>
        <p:spPr bwMode="gray">
          <a:xfrm>
            <a:off x="550863" y="1628775"/>
            <a:ext cx="3024857" cy="1584000"/>
          </a:xfrm>
        </p:spPr>
        <p:txBody>
          <a:bodyPr/>
          <a:lstStyle>
            <a:lvl1pPr marL="0">
              <a:spcAft>
                <a:spcPts val="0"/>
              </a:spcAft>
              <a:buFontTx/>
              <a:buNone/>
              <a:defRPr sz="1800" b="1"/>
            </a:lvl1pPr>
            <a:lvl2pPr marL="0">
              <a:spcAft>
                <a:spcPts val="0"/>
              </a:spcAft>
              <a:buFontTx/>
              <a:buNone/>
              <a:defRPr sz="1800" b="1"/>
            </a:lvl2pPr>
            <a:lvl3pPr marL="0" indent="0">
              <a:spcAft>
                <a:spcPts val="0"/>
              </a:spcAft>
              <a:buFontTx/>
              <a:buNone/>
              <a:defRPr sz="1800" b="1"/>
            </a:lvl3pPr>
            <a:lvl4pPr marL="0" indent="0">
              <a:spcAft>
                <a:spcPts val="0"/>
              </a:spcAft>
              <a:buFontTx/>
              <a:buNone/>
              <a:defRPr sz="1800" b="1"/>
            </a:lvl4pPr>
            <a:lvl5pPr marL="0" indent="0">
              <a:spcAft>
                <a:spcPts val="0"/>
              </a:spcAft>
              <a:buFontTx/>
              <a:buNone/>
              <a:defRPr sz="1800" b="1"/>
            </a:lvl5pPr>
            <a:lvl6pPr marL="0" indent="0">
              <a:spcAft>
                <a:spcPts val="0"/>
              </a:spcAft>
              <a:buFontTx/>
              <a:buNone/>
              <a:defRPr sz="1800" b="1"/>
            </a:lvl6pPr>
            <a:lvl7pPr marL="0" indent="0">
              <a:spcAft>
                <a:spcPts val="0"/>
              </a:spcAft>
              <a:buFontTx/>
              <a:buNone/>
              <a:defRPr sz="1800" b="1"/>
            </a:lvl7pPr>
            <a:lvl8pPr marL="0" indent="0">
              <a:spcAft>
                <a:spcPts val="0"/>
              </a:spcAft>
              <a:buFontTx/>
              <a:buNone/>
              <a:defRPr sz="1800" b="1"/>
            </a:lvl8pPr>
            <a:lvl9pPr marL="0" indent="0">
              <a:spcAft>
                <a:spcPts val="0"/>
              </a:spcAft>
              <a:buFontTx/>
              <a:buNone/>
              <a:defRPr sz="1800" b="1"/>
            </a:lvl9pPr>
          </a:lstStyle>
          <a:p>
            <a:pPr lvl="0"/>
            <a:r>
              <a:rPr lang="de-DE"/>
              <a:t>Mastertextformat bearbeiten</a:t>
            </a:r>
          </a:p>
        </p:txBody>
      </p:sp>
      <p:sp>
        <p:nvSpPr>
          <p:cNvPr id="54" name="Grafik 2">
            <a:extLst>
              <a:ext uri="{FF2B5EF4-FFF2-40B4-BE49-F238E27FC236}">
                <a16:creationId xmlns:a16="http://schemas.microsoft.com/office/drawing/2014/main" id="{26292085-8C26-4C5E-BEC5-65E627128C4A}"/>
              </a:ext>
            </a:extLst>
          </p:cNvPr>
          <p:cNvSpPr/>
          <p:nvPr userDrawn="1"/>
        </p:nvSpPr>
        <p:spPr bwMode="gray">
          <a:xfrm>
            <a:off x="8068783" y="3861048"/>
            <a:ext cx="938819" cy="975512"/>
          </a:xfrm>
          <a:custGeom>
            <a:avLst/>
            <a:gdLst>
              <a:gd name="connsiteX0" fmla="*/ 723 w 1221432"/>
              <a:gd name="connsiteY0" fmla="*/ 630127 h 1269170"/>
              <a:gd name="connsiteX1" fmla="*/ 1199 w 1221432"/>
              <a:gd name="connsiteY1" fmla="*/ 195025 h 1269170"/>
              <a:gd name="connsiteX2" fmla="*/ 11200 w 1221432"/>
              <a:gd name="connsiteY2" fmla="*/ 115396 h 1269170"/>
              <a:gd name="connsiteX3" fmla="*/ 156171 w 1221432"/>
              <a:gd name="connsiteY3" fmla="*/ 1953 h 1269170"/>
              <a:gd name="connsiteX4" fmla="*/ 645089 w 1221432"/>
              <a:gd name="connsiteY4" fmla="*/ 3287 h 1269170"/>
              <a:gd name="connsiteX5" fmla="*/ 991704 w 1221432"/>
              <a:gd name="connsiteY5" fmla="*/ 146162 h 1269170"/>
              <a:gd name="connsiteX6" fmla="*/ 1220971 w 1221432"/>
              <a:gd name="connsiteY6" fmla="*/ 633270 h 1269170"/>
              <a:gd name="connsiteX7" fmla="*/ 1100384 w 1221432"/>
              <a:gd name="connsiteY7" fmla="*/ 1001983 h 1269170"/>
              <a:gd name="connsiteX8" fmla="*/ 573271 w 1221432"/>
              <a:gd name="connsiteY8" fmla="*/ 1267540 h 1269170"/>
              <a:gd name="connsiteX9" fmla="*/ 200938 w 1221432"/>
              <a:gd name="connsiteY9" fmla="*/ 1268778 h 1269170"/>
              <a:gd name="connsiteX10" fmla="*/ -325 w 1221432"/>
              <a:gd name="connsiteY10" fmla="*/ 1069610 h 1269170"/>
              <a:gd name="connsiteX11" fmla="*/ 723 w 1221432"/>
              <a:gd name="connsiteY11" fmla="*/ 630127 h 1269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1432" h="1269170">
                <a:moveTo>
                  <a:pt x="723" y="630127"/>
                </a:moveTo>
                <a:cubicBezTo>
                  <a:pt x="723" y="485156"/>
                  <a:pt x="247" y="340091"/>
                  <a:pt x="1199" y="195025"/>
                </a:cubicBezTo>
                <a:cubicBezTo>
                  <a:pt x="1132" y="168164"/>
                  <a:pt x="4495" y="141409"/>
                  <a:pt x="11200" y="115396"/>
                </a:cubicBezTo>
                <a:cubicBezTo>
                  <a:pt x="28650" y="49369"/>
                  <a:pt x="87886" y="3020"/>
                  <a:pt x="156171" y="1953"/>
                </a:cubicBezTo>
                <a:cubicBezTo>
                  <a:pt x="319144" y="715"/>
                  <a:pt x="482307" y="-2905"/>
                  <a:pt x="645089" y="3287"/>
                </a:cubicBezTo>
                <a:cubicBezTo>
                  <a:pt x="775867" y="8240"/>
                  <a:pt x="892168" y="62532"/>
                  <a:pt x="991704" y="146162"/>
                </a:cubicBezTo>
                <a:cubicBezTo>
                  <a:pt x="1142008" y="272654"/>
                  <a:pt x="1219161" y="437341"/>
                  <a:pt x="1220971" y="633270"/>
                </a:cubicBezTo>
                <a:cubicBezTo>
                  <a:pt x="1222333" y="766078"/>
                  <a:pt x="1179956" y="895646"/>
                  <a:pt x="1100384" y="1001983"/>
                </a:cubicBezTo>
                <a:cubicBezTo>
                  <a:pt x="969987" y="1180577"/>
                  <a:pt x="791869" y="1264968"/>
                  <a:pt x="573271" y="1267540"/>
                </a:cubicBezTo>
                <a:cubicBezTo>
                  <a:pt x="449446" y="1268969"/>
                  <a:pt x="324954" y="1264301"/>
                  <a:pt x="200938" y="1268778"/>
                </a:cubicBezTo>
                <a:cubicBezTo>
                  <a:pt x="76923" y="1273255"/>
                  <a:pt x="-3754" y="1186101"/>
                  <a:pt x="-325" y="1069610"/>
                </a:cubicBezTo>
                <a:cubicBezTo>
                  <a:pt x="3961" y="923306"/>
                  <a:pt x="723" y="776716"/>
                  <a:pt x="723" y="630127"/>
                </a:cubicBezTo>
                <a:close/>
              </a:path>
            </a:pathLst>
          </a:custGeom>
          <a:gradFill flip="none" rotWithShape="1">
            <a:gsLst>
              <a:gs pos="0">
                <a:srgbClr val="008795"/>
              </a:gs>
              <a:gs pos="100000">
                <a:srgbClr val="00C7D6"/>
              </a:gs>
            </a:gsLst>
            <a:lin ang="18900000" scaled="1"/>
            <a:tileRect/>
          </a:gradFill>
          <a:ln w="9525" cap="flat">
            <a:noFill/>
            <a:prstDash val="solid"/>
            <a:miter/>
          </a:ln>
        </p:spPr>
        <p:txBody>
          <a:bodyPr rtlCol="0" anchor="ctr"/>
          <a:lstStyle/>
          <a:p>
            <a:endParaRPr lang="de-DE"/>
          </a:p>
        </p:txBody>
      </p:sp>
      <p:sp>
        <p:nvSpPr>
          <p:cNvPr id="55" name="Bildplatzhalter 44">
            <a:extLst>
              <a:ext uri="{FF2B5EF4-FFF2-40B4-BE49-F238E27FC236}">
                <a16:creationId xmlns:a16="http://schemas.microsoft.com/office/drawing/2014/main" id="{08D68777-E827-49C4-8691-093968F7B510}"/>
              </a:ext>
            </a:extLst>
          </p:cNvPr>
          <p:cNvSpPr>
            <a:spLocks noGrp="1"/>
          </p:cNvSpPr>
          <p:nvPr>
            <p:ph type="pic" sz="quarter" idx="19" hasCustomPrompt="1"/>
          </p:nvPr>
        </p:nvSpPr>
        <p:spPr bwMode="gray">
          <a:xfrm>
            <a:off x="8068784" y="1917104"/>
            <a:ext cx="2464310" cy="2448000"/>
          </a:xfrm>
          <a:prstGeom prst="ellipse">
            <a:avLst/>
          </a:prstGeom>
          <a:solidFill>
            <a:schemeClr val="bg1"/>
          </a:solidFill>
        </p:spPr>
        <p:txBody>
          <a:bodyPr bIns="720000"/>
          <a:lstStyle>
            <a:lvl1pPr marL="0" indent="0" algn="ctr">
              <a:spcAft>
                <a:spcPts val="0"/>
              </a:spcAft>
              <a:buFont typeface="Arial" panose="020B0604020202020204" pitchFamily="34" charset="0"/>
              <a:buNone/>
              <a:defRPr sz="1200" b="0"/>
            </a:lvl1pPr>
            <a:lvl2pPr marL="0" indent="0" algn="ctr">
              <a:spcAft>
                <a:spcPts val="0"/>
              </a:spcAft>
              <a:buFont typeface="Arial" panose="020B0604020202020204" pitchFamily="34" charset="0"/>
              <a:buNone/>
              <a:defRPr sz="1200" b="0"/>
            </a:lvl2pPr>
            <a:lvl3pPr marL="0" indent="0" algn="ctr">
              <a:spcAft>
                <a:spcPts val="0"/>
              </a:spcAft>
              <a:buNone/>
              <a:defRPr sz="1200" b="0"/>
            </a:lvl3pPr>
            <a:lvl4pPr marL="0" indent="0" algn="ctr">
              <a:spcAft>
                <a:spcPts val="0"/>
              </a:spcAft>
              <a:buNone/>
              <a:defRPr sz="1200" b="0"/>
            </a:lvl4pPr>
            <a:lvl5pPr marL="0" indent="0" algn="ctr">
              <a:spcAft>
                <a:spcPts val="0"/>
              </a:spcAft>
              <a:buNone/>
              <a:defRPr sz="1200" b="0"/>
            </a:lvl5pPr>
            <a:lvl6pPr marL="0" indent="0" algn="ctr">
              <a:spcAft>
                <a:spcPts val="0"/>
              </a:spcAft>
              <a:buNone/>
              <a:defRPr sz="1200" b="0"/>
            </a:lvl6pPr>
            <a:lvl7pPr marL="0" indent="0" algn="ctr">
              <a:spcAft>
                <a:spcPts val="0"/>
              </a:spcAft>
              <a:buNone/>
              <a:defRPr sz="1200" b="0"/>
            </a:lvl7pPr>
            <a:lvl8pPr marL="0" indent="0" algn="ctr">
              <a:spcAft>
                <a:spcPts val="0"/>
              </a:spcAft>
              <a:buNone/>
              <a:defRPr sz="1200" b="0"/>
            </a:lvl8pPr>
            <a:lvl9pPr marL="0" indent="0" algn="ctr">
              <a:spcAft>
                <a:spcPts val="0"/>
              </a:spcAft>
              <a:buNone/>
              <a:defRPr sz="1200" b="0"/>
            </a:lvl9pPr>
          </a:lstStyle>
          <a:p>
            <a:pPr lvl="0"/>
            <a:r>
              <a:rPr lang="de-DE"/>
              <a:t>Bild durch Klick auf </a:t>
            </a:r>
            <a:br>
              <a:rPr lang="de-DE"/>
            </a:br>
            <a:r>
              <a:rPr lang="de-DE"/>
              <a:t>das Icon hinzufügen und </a:t>
            </a:r>
            <a:br>
              <a:rPr lang="de-DE"/>
            </a:br>
            <a:r>
              <a:rPr lang="de-DE"/>
              <a:t>ggf. zuschneiden</a:t>
            </a:r>
          </a:p>
        </p:txBody>
      </p:sp>
      <p:sp>
        <p:nvSpPr>
          <p:cNvPr id="56" name="Textplatzhalter 48">
            <a:extLst>
              <a:ext uri="{FF2B5EF4-FFF2-40B4-BE49-F238E27FC236}">
                <a16:creationId xmlns:a16="http://schemas.microsoft.com/office/drawing/2014/main" id="{E8828BCF-BA06-499B-B621-FD48F241B7E7}"/>
              </a:ext>
            </a:extLst>
          </p:cNvPr>
          <p:cNvSpPr>
            <a:spLocks noGrp="1"/>
          </p:cNvSpPr>
          <p:nvPr>
            <p:ph type="body" sz="quarter" idx="20" hasCustomPrompt="1"/>
          </p:nvPr>
        </p:nvSpPr>
        <p:spPr bwMode="gray">
          <a:xfrm>
            <a:off x="8544640" y="4437112"/>
            <a:ext cx="3312000" cy="1800000"/>
          </a:xfrm>
        </p:spPr>
        <p:txBody>
          <a:bodyPr/>
          <a:lstStyle>
            <a:lvl1pPr>
              <a:defRPr sz="1800"/>
            </a:lvl1pPr>
            <a:lvl2pPr>
              <a:defRPr sz="1400" b="1"/>
            </a:lvl2pPr>
            <a:lvl3pPr marL="0" indent="0">
              <a:buNone/>
              <a:defRPr sz="1400"/>
            </a:lvl3pPr>
            <a:lvl4pPr marL="0" indent="0">
              <a:buNone/>
              <a:defRPr sz="1400"/>
            </a:lvl4pPr>
            <a:lvl5pPr marL="0" indent="0">
              <a:buNone/>
              <a:defRPr sz="1400"/>
            </a:lvl5pPr>
            <a:lvl6pPr marL="0" indent="0">
              <a:buNone/>
              <a:defRPr sz="1400"/>
            </a:lvl6pPr>
            <a:lvl7pPr marL="0" indent="0">
              <a:buNone/>
              <a:defRPr sz="1400"/>
            </a:lvl7pPr>
            <a:lvl8pPr marL="0" indent="0">
              <a:buNone/>
              <a:defRPr sz="1400"/>
            </a:lvl8pPr>
            <a:lvl9pPr marL="0" indent="0">
              <a:buNone/>
              <a:defRPr sz="1400"/>
            </a:lvl9pPr>
          </a:lstStyle>
          <a:p>
            <a:pPr lvl="0"/>
            <a:r>
              <a:rPr lang="de-DE"/>
              <a:t>Vorname Name</a:t>
            </a:r>
          </a:p>
        </p:txBody>
      </p:sp>
    </p:spTree>
    <p:extLst>
      <p:ext uri="{BB962C8B-B14F-4D97-AF65-F5344CB8AC3E}">
        <p14:creationId xmlns:p14="http://schemas.microsoft.com/office/powerpoint/2010/main" val="42390459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Event – Zahl">
    <p:spTree>
      <p:nvGrpSpPr>
        <p:cNvPr id="1" name=""/>
        <p:cNvGrpSpPr/>
        <p:nvPr/>
      </p:nvGrpSpPr>
      <p:grpSpPr>
        <a:xfrm>
          <a:off x="0" y="0"/>
          <a:ext cx="0" cy="0"/>
          <a:chOff x="0" y="0"/>
          <a:chExt cx="0" cy="0"/>
        </a:xfrm>
      </p:grpSpPr>
      <p:sp>
        <p:nvSpPr>
          <p:cNvPr id="5" name="Grafik 2">
            <a:extLst>
              <a:ext uri="{FF2B5EF4-FFF2-40B4-BE49-F238E27FC236}">
                <a16:creationId xmlns:a16="http://schemas.microsoft.com/office/drawing/2014/main" id="{077928CA-458B-407A-BE73-E193500F8B78}"/>
              </a:ext>
            </a:extLst>
          </p:cNvPr>
          <p:cNvSpPr/>
          <p:nvPr userDrawn="1"/>
        </p:nvSpPr>
        <p:spPr bwMode="gray">
          <a:xfrm>
            <a:off x="3431704" y="3632327"/>
            <a:ext cx="2507002" cy="2604985"/>
          </a:xfrm>
          <a:custGeom>
            <a:avLst/>
            <a:gdLst>
              <a:gd name="connsiteX0" fmla="*/ 723 w 1221432"/>
              <a:gd name="connsiteY0" fmla="*/ 630127 h 1269170"/>
              <a:gd name="connsiteX1" fmla="*/ 1199 w 1221432"/>
              <a:gd name="connsiteY1" fmla="*/ 195025 h 1269170"/>
              <a:gd name="connsiteX2" fmla="*/ 11200 w 1221432"/>
              <a:gd name="connsiteY2" fmla="*/ 115396 h 1269170"/>
              <a:gd name="connsiteX3" fmla="*/ 156171 w 1221432"/>
              <a:gd name="connsiteY3" fmla="*/ 1953 h 1269170"/>
              <a:gd name="connsiteX4" fmla="*/ 645089 w 1221432"/>
              <a:gd name="connsiteY4" fmla="*/ 3287 h 1269170"/>
              <a:gd name="connsiteX5" fmla="*/ 991704 w 1221432"/>
              <a:gd name="connsiteY5" fmla="*/ 146162 h 1269170"/>
              <a:gd name="connsiteX6" fmla="*/ 1220971 w 1221432"/>
              <a:gd name="connsiteY6" fmla="*/ 633270 h 1269170"/>
              <a:gd name="connsiteX7" fmla="*/ 1100384 w 1221432"/>
              <a:gd name="connsiteY7" fmla="*/ 1001983 h 1269170"/>
              <a:gd name="connsiteX8" fmla="*/ 573271 w 1221432"/>
              <a:gd name="connsiteY8" fmla="*/ 1267540 h 1269170"/>
              <a:gd name="connsiteX9" fmla="*/ 200938 w 1221432"/>
              <a:gd name="connsiteY9" fmla="*/ 1268778 h 1269170"/>
              <a:gd name="connsiteX10" fmla="*/ -325 w 1221432"/>
              <a:gd name="connsiteY10" fmla="*/ 1069610 h 1269170"/>
              <a:gd name="connsiteX11" fmla="*/ 723 w 1221432"/>
              <a:gd name="connsiteY11" fmla="*/ 630127 h 1269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1432" h="1269170">
                <a:moveTo>
                  <a:pt x="723" y="630127"/>
                </a:moveTo>
                <a:cubicBezTo>
                  <a:pt x="723" y="485156"/>
                  <a:pt x="247" y="340091"/>
                  <a:pt x="1199" y="195025"/>
                </a:cubicBezTo>
                <a:cubicBezTo>
                  <a:pt x="1132" y="168164"/>
                  <a:pt x="4495" y="141409"/>
                  <a:pt x="11200" y="115396"/>
                </a:cubicBezTo>
                <a:cubicBezTo>
                  <a:pt x="28650" y="49369"/>
                  <a:pt x="87886" y="3020"/>
                  <a:pt x="156171" y="1953"/>
                </a:cubicBezTo>
                <a:cubicBezTo>
                  <a:pt x="319144" y="715"/>
                  <a:pt x="482307" y="-2905"/>
                  <a:pt x="645089" y="3287"/>
                </a:cubicBezTo>
                <a:cubicBezTo>
                  <a:pt x="775867" y="8240"/>
                  <a:pt x="892168" y="62532"/>
                  <a:pt x="991704" y="146162"/>
                </a:cubicBezTo>
                <a:cubicBezTo>
                  <a:pt x="1142008" y="272654"/>
                  <a:pt x="1219161" y="437341"/>
                  <a:pt x="1220971" y="633270"/>
                </a:cubicBezTo>
                <a:cubicBezTo>
                  <a:pt x="1222333" y="766078"/>
                  <a:pt x="1179956" y="895646"/>
                  <a:pt x="1100384" y="1001983"/>
                </a:cubicBezTo>
                <a:cubicBezTo>
                  <a:pt x="969987" y="1180577"/>
                  <a:pt x="791869" y="1264968"/>
                  <a:pt x="573271" y="1267540"/>
                </a:cubicBezTo>
                <a:cubicBezTo>
                  <a:pt x="449446" y="1268969"/>
                  <a:pt x="324954" y="1264301"/>
                  <a:pt x="200938" y="1268778"/>
                </a:cubicBezTo>
                <a:cubicBezTo>
                  <a:pt x="76923" y="1273255"/>
                  <a:pt x="-3754" y="1186101"/>
                  <a:pt x="-325" y="1069610"/>
                </a:cubicBezTo>
                <a:cubicBezTo>
                  <a:pt x="3961" y="923306"/>
                  <a:pt x="723" y="776716"/>
                  <a:pt x="723" y="630127"/>
                </a:cubicBezTo>
                <a:close/>
              </a:path>
            </a:pathLst>
          </a:custGeom>
          <a:gradFill flip="none" rotWithShape="1">
            <a:gsLst>
              <a:gs pos="0">
                <a:srgbClr val="008795"/>
              </a:gs>
              <a:gs pos="100000">
                <a:srgbClr val="00C7D6"/>
              </a:gs>
            </a:gsLst>
            <a:lin ang="18900000" scaled="1"/>
            <a:tileRect/>
          </a:gradFill>
          <a:ln w="9525" cap="flat">
            <a:noFill/>
            <a:prstDash val="solid"/>
            <a:miter/>
          </a:ln>
        </p:spPr>
        <p:txBody>
          <a:bodyPr rtlCol="0" anchor="ctr"/>
          <a:lstStyle/>
          <a:p>
            <a:endParaRPr lang="de-DE"/>
          </a:p>
        </p:txBody>
      </p:sp>
      <p:sp>
        <p:nvSpPr>
          <p:cNvPr id="6" name="Grafik 2">
            <a:extLst>
              <a:ext uri="{FF2B5EF4-FFF2-40B4-BE49-F238E27FC236}">
                <a16:creationId xmlns:a16="http://schemas.microsoft.com/office/drawing/2014/main" id="{8C955768-170E-49D5-BB98-13D42FAEF7AC}"/>
              </a:ext>
            </a:extLst>
          </p:cNvPr>
          <p:cNvSpPr/>
          <p:nvPr userDrawn="1"/>
        </p:nvSpPr>
        <p:spPr bwMode="gray">
          <a:xfrm>
            <a:off x="2911222" y="3828875"/>
            <a:ext cx="1494690" cy="487503"/>
          </a:xfrm>
          <a:custGeom>
            <a:avLst/>
            <a:gdLst>
              <a:gd name="connsiteX0" fmla="*/ 507623 w 1494690"/>
              <a:gd name="connsiteY0" fmla="*/ 172529 h 487503"/>
              <a:gd name="connsiteX1" fmla="*/ 956345 w 1494690"/>
              <a:gd name="connsiteY1" fmla="*/ 173291 h 487503"/>
              <a:gd name="connsiteX2" fmla="*/ 1036355 w 1494690"/>
              <a:gd name="connsiteY2" fmla="*/ 125666 h 487503"/>
              <a:gd name="connsiteX3" fmla="*/ 1289339 w 1494690"/>
              <a:gd name="connsiteY3" fmla="*/ 3079 h 487503"/>
              <a:gd name="connsiteX4" fmla="*/ 1483554 w 1494690"/>
              <a:gd name="connsiteY4" fmla="*/ 173862 h 487503"/>
              <a:gd name="connsiteX5" fmla="*/ 1322772 w 1494690"/>
              <a:gd name="connsiteY5" fmla="*/ 476643 h 487503"/>
              <a:gd name="connsiteX6" fmla="*/ 1126938 w 1494690"/>
              <a:gd name="connsiteY6" fmla="*/ 452659 h 487503"/>
              <a:gd name="connsiteX7" fmla="*/ 1033879 w 1494690"/>
              <a:gd name="connsiteY7" fmla="*/ 352170 h 487503"/>
              <a:gd name="connsiteX8" fmla="*/ 961393 w 1494690"/>
              <a:gd name="connsiteY8" fmla="*/ 308451 h 487503"/>
              <a:gd name="connsiteX9" fmla="*/ 395989 w 1494690"/>
              <a:gd name="connsiteY9" fmla="*/ 308927 h 487503"/>
              <a:gd name="connsiteX10" fmla="*/ 68425 w 1494690"/>
              <a:gd name="connsiteY10" fmla="*/ 308927 h 487503"/>
              <a:gd name="connsiteX11" fmla="*/ 28039 w 1494690"/>
              <a:gd name="connsiteY11" fmla="*/ 307879 h 487503"/>
              <a:gd name="connsiteX12" fmla="*/ 7 w 1494690"/>
              <a:gd name="connsiteY12" fmla="*/ 281847 h 487503"/>
              <a:gd name="connsiteX13" fmla="*/ 35 w 1494690"/>
              <a:gd name="connsiteY13" fmla="*/ 279304 h 487503"/>
              <a:gd name="connsiteX14" fmla="*/ 35 w 1494690"/>
              <a:gd name="connsiteY14" fmla="*/ 203104 h 487503"/>
              <a:gd name="connsiteX15" fmla="*/ 25200 w 1494690"/>
              <a:gd name="connsiteY15" fmla="*/ 173929 h 487503"/>
              <a:gd name="connsiteX16" fmla="*/ 27658 w 1494690"/>
              <a:gd name="connsiteY16" fmla="*/ 173862 h 487503"/>
              <a:gd name="connsiteX17" fmla="*/ 67948 w 1494690"/>
              <a:gd name="connsiteY17" fmla="*/ 172624 h 487503"/>
              <a:gd name="connsiteX18" fmla="*/ 1249715 w 1494690"/>
              <a:gd name="connsiteY18" fmla="*/ 347408 h 487503"/>
              <a:gd name="connsiteX19" fmla="*/ 1355348 w 1494690"/>
              <a:gd name="connsiteY19" fmla="*/ 243471 h 487503"/>
              <a:gd name="connsiteX20" fmla="*/ 1251392 w 1494690"/>
              <a:gd name="connsiteY20" fmla="*/ 137867 h 487503"/>
              <a:gd name="connsiteX21" fmla="*/ 1145779 w 1494690"/>
              <a:gd name="connsiteY21" fmla="*/ 241804 h 487503"/>
              <a:gd name="connsiteX22" fmla="*/ 1145798 w 1494690"/>
              <a:gd name="connsiteY22" fmla="*/ 244728 h 487503"/>
              <a:gd name="connsiteX23" fmla="*/ 1249715 w 1494690"/>
              <a:gd name="connsiteY23" fmla="*/ 347408 h 487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94690" h="487503">
                <a:moveTo>
                  <a:pt x="507623" y="172529"/>
                </a:moveTo>
                <a:cubicBezTo>
                  <a:pt x="657260" y="172529"/>
                  <a:pt x="806803" y="171481"/>
                  <a:pt x="956345" y="173291"/>
                </a:cubicBezTo>
                <a:cubicBezTo>
                  <a:pt x="995398" y="173767"/>
                  <a:pt x="1017496" y="162527"/>
                  <a:pt x="1036355" y="125666"/>
                </a:cubicBezTo>
                <a:cubicBezTo>
                  <a:pt x="1083980" y="32988"/>
                  <a:pt x="1181517" y="-13494"/>
                  <a:pt x="1289339" y="3079"/>
                </a:cubicBezTo>
                <a:cubicBezTo>
                  <a:pt x="1388780" y="18319"/>
                  <a:pt x="1453741" y="78708"/>
                  <a:pt x="1483554" y="173862"/>
                </a:cubicBezTo>
                <a:cubicBezTo>
                  <a:pt x="1522797" y="301869"/>
                  <a:pt x="1450788" y="437429"/>
                  <a:pt x="1322772" y="476643"/>
                </a:cubicBezTo>
                <a:cubicBezTo>
                  <a:pt x="1257050" y="496779"/>
                  <a:pt x="1185860" y="488063"/>
                  <a:pt x="1126938" y="452659"/>
                </a:cubicBezTo>
                <a:cubicBezTo>
                  <a:pt x="1087028" y="428466"/>
                  <a:pt x="1050738" y="396461"/>
                  <a:pt x="1033879" y="352170"/>
                </a:cubicBezTo>
                <a:cubicBezTo>
                  <a:pt x="1019686" y="315309"/>
                  <a:pt x="996350" y="308260"/>
                  <a:pt x="961393" y="308451"/>
                </a:cubicBezTo>
                <a:cubicBezTo>
                  <a:pt x="772989" y="309498"/>
                  <a:pt x="584489" y="308927"/>
                  <a:pt x="395989" y="308927"/>
                </a:cubicBezTo>
                <a:lnTo>
                  <a:pt x="68425" y="308927"/>
                </a:lnTo>
                <a:cubicBezTo>
                  <a:pt x="54995" y="308927"/>
                  <a:pt x="41469" y="308927"/>
                  <a:pt x="28039" y="307879"/>
                </a:cubicBezTo>
                <a:cubicBezTo>
                  <a:pt x="13113" y="308432"/>
                  <a:pt x="559" y="296773"/>
                  <a:pt x="7" y="281847"/>
                </a:cubicBezTo>
                <a:cubicBezTo>
                  <a:pt x="-22" y="281000"/>
                  <a:pt x="-13" y="280152"/>
                  <a:pt x="35" y="279304"/>
                </a:cubicBezTo>
                <a:cubicBezTo>
                  <a:pt x="-632" y="253968"/>
                  <a:pt x="-536" y="228536"/>
                  <a:pt x="35" y="203104"/>
                </a:cubicBezTo>
                <a:cubicBezTo>
                  <a:pt x="-1070" y="188102"/>
                  <a:pt x="10198" y="175043"/>
                  <a:pt x="25200" y="173929"/>
                </a:cubicBezTo>
                <a:cubicBezTo>
                  <a:pt x="26020" y="173872"/>
                  <a:pt x="26839" y="173853"/>
                  <a:pt x="27658" y="173862"/>
                </a:cubicBezTo>
                <a:cubicBezTo>
                  <a:pt x="40992" y="172719"/>
                  <a:pt x="54518" y="172624"/>
                  <a:pt x="67948" y="172624"/>
                </a:cubicBezTo>
                <a:close/>
                <a:moveTo>
                  <a:pt x="1249715" y="347408"/>
                </a:moveTo>
                <a:cubicBezTo>
                  <a:pt x="1307580" y="347865"/>
                  <a:pt x="1354871" y="301335"/>
                  <a:pt x="1355348" y="243471"/>
                </a:cubicBezTo>
                <a:cubicBezTo>
                  <a:pt x="1355824" y="185607"/>
                  <a:pt x="1309256" y="138325"/>
                  <a:pt x="1251392" y="137867"/>
                </a:cubicBezTo>
                <a:cubicBezTo>
                  <a:pt x="1193527" y="137401"/>
                  <a:pt x="1146245" y="183940"/>
                  <a:pt x="1145779" y="241804"/>
                </a:cubicBezTo>
                <a:cubicBezTo>
                  <a:pt x="1145769" y="242776"/>
                  <a:pt x="1145779" y="243757"/>
                  <a:pt x="1145798" y="244728"/>
                </a:cubicBezTo>
                <a:cubicBezTo>
                  <a:pt x="1147560" y="301164"/>
                  <a:pt x="1193261" y="346322"/>
                  <a:pt x="1249715" y="347408"/>
                </a:cubicBezTo>
                <a:close/>
              </a:path>
            </a:pathLst>
          </a:custGeom>
          <a:solidFill>
            <a:srgbClr val="000000"/>
          </a:solidFill>
          <a:ln w="9525" cap="flat">
            <a:noFill/>
            <a:prstDash val="solid"/>
            <a:miter/>
          </a:ln>
        </p:spPr>
        <p:txBody>
          <a:bodyPr rtlCol="0" anchor="ctr"/>
          <a:lstStyle/>
          <a:p>
            <a:endParaRPr lang="de-DE"/>
          </a:p>
        </p:txBody>
      </p:sp>
      <p:sp>
        <p:nvSpPr>
          <p:cNvPr id="7" name="Grafik 2">
            <a:extLst>
              <a:ext uri="{FF2B5EF4-FFF2-40B4-BE49-F238E27FC236}">
                <a16:creationId xmlns:a16="http://schemas.microsoft.com/office/drawing/2014/main" id="{B7F36A8D-C348-4C61-893D-701BB5702B9D}"/>
              </a:ext>
            </a:extLst>
          </p:cNvPr>
          <p:cNvSpPr/>
          <p:nvPr userDrawn="1"/>
        </p:nvSpPr>
        <p:spPr bwMode="gray">
          <a:xfrm>
            <a:off x="550863" y="559502"/>
            <a:ext cx="3816946" cy="3812185"/>
          </a:xfrm>
          <a:custGeom>
            <a:avLst/>
            <a:gdLst>
              <a:gd name="connsiteX0" fmla="*/ 1023085 w 1502635"/>
              <a:gd name="connsiteY0" fmla="*/ 340687 h 1500760"/>
              <a:gd name="connsiteX1" fmla="*/ 1023085 w 1502635"/>
              <a:gd name="connsiteY1" fmla="*/ 434984 h 1500760"/>
              <a:gd name="connsiteX2" fmla="*/ 1066042 w 1502635"/>
              <a:gd name="connsiteY2" fmla="*/ 476608 h 1500760"/>
              <a:gd name="connsiteX3" fmla="*/ 1231968 w 1502635"/>
              <a:gd name="connsiteY3" fmla="*/ 477085 h 1500760"/>
              <a:gd name="connsiteX4" fmla="*/ 1475807 w 1502635"/>
              <a:gd name="connsiteY4" fmla="*/ 637009 h 1500760"/>
              <a:gd name="connsiteX5" fmla="*/ 1426563 w 1502635"/>
              <a:gd name="connsiteY5" fmla="*/ 937618 h 1500760"/>
              <a:gd name="connsiteX6" fmla="*/ 1221681 w 1502635"/>
              <a:gd name="connsiteY6" fmla="*/ 1025153 h 1500760"/>
              <a:gd name="connsiteX7" fmla="*/ 1073567 w 1502635"/>
              <a:gd name="connsiteY7" fmla="*/ 1025153 h 1500760"/>
              <a:gd name="connsiteX8" fmla="*/ 1022798 w 1502635"/>
              <a:gd name="connsiteY8" fmla="*/ 1077731 h 1500760"/>
              <a:gd name="connsiteX9" fmla="*/ 1022798 w 1502635"/>
              <a:gd name="connsiteY9" fmla="*/ 1230131 h 1500760"/>
              <a:gd name="connsiteX10" fmla="*/ 781245 w 1502635"/>
              <a:gd name="connsiteY10" fmla="*/ 1497784 h 1500760"/>
              <a:gd name="connsiteX11" fmla="*/ 493304 w 1502635"/>
              <a:gd name="connsiteY11" fmla="*/ 1315856 h 1500760"/>
              <a:gd name="connsiteX12" fmla="*/ 475206 w 1502635"/>
              <a:gd name="connsiteY12" fmla="*/ 1210891 h 1500760"/>
              <a:gd name="connsiteX13" fmla="*/ 474349 w 1502635"/>
              <a:gd name="connsiteY13" fmla="*/ 1076398 h 1500760"/>
              <a:gd name="connsiteX14" fmla="*/ 421771 w 1502635"/>
              <a:gd name="connsiteY14" fmla="*/ 1025439 h 1500760"/>
              <a:gd name="connsiteX15" fmla="*/ 282706 w 1502635"/>
              <a:gd name="connsiteY15" fmla="*/ 1025439 h 1500760"/>
              <a:gd name="connsiteX16" fmla="*/ 5529 w 1502635"/>
              <a:gd name="connsiteY16" fmla="*/ 801792 h 1500760"/>
              <a:gd name="connsiteX17" fmla="*/ 253179 w 1502635"/>
              <a:gd name="connsiteY17" fmla="*/ 477942 h 1500760"/>
              <a:gd name="connsiteX18" fmla="*/ 423676 w 1502635"/>
              <a:gd name="connsiteY18" fmla="*/ 477085 h 1500760"/>
              <a:gd name="connsiteX19" fmla="*/ 474539 w 1502635"/>
              <a:gd name="connsiteY19" fmla="*/ 424697 h 1500760"/>
              <a:gd name="connsiteX20" fmla="*/ 474539 w 1502635"/>
              <a:gd name="connsiteY20" fmla="*/ 276679 h 1500760"/>
              <a:gd name="connsiteX21" fmla="*/ 692948 w 1502635"/>
              <a:gd name="connsiteY21" fmla="*/ 5692 h 1500760"/>
              <a:gd name="connsiteX22" fmla="*/ 1015655 w 1502635"/>
              <a:gd name="connsiteY22" fmla="*/ 207051 h 1500760"/>
              <a:gd name="connsiteX23" fmla="*/ 1025180 w 1502635"/>
              <a:gd name="connsiteY23" fmla="*/ 340401 h 150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02635" h="1500760">
                <a:moveTo>
                  <a:pt x="1023085" y="340687"/>
                </a:moveTo>
                <a:cubicBezTo>
                  <a:pt x="1023085" y="372119"/>
                  <a:pt x="1022322" y="403552"/>
                  <a:pt x="1023085" y="434984"/>
                </a:cubicBezTo>
                <a:cubicBezTo>
                  <a:pt x="1024227" y="470513"/>
                  <a:pt x="1029466" y="476037"/>
                  <a:pt x="1066042" y="476608"/>
                </a:cubicBezTo>
                <a:cubicBezTo>
                  <a:pt x="1121287" y="477561"/>
                  <a:pt x="1176627" y="476608"/>
                  <a:pt x="1231968" y="477085"/>
                </a:cubicBezTo>
                <a:cubicBezTo>
                  <a:pt x="1347791" y="477656"/>
                  <a:pt x="1430564" y="535187"/>
                  <a:pt x="1475807" y="637009"/>
                </a:cubicBezTo>
                <a:cubicBezTo>
                  <a:pt x="1523432" y="744356"/>
                  <a:pt x="1506383" y="849798"/>
                  <a:pt x="1426563" y="937618"/>
                </a:cubicBezTo>
                <a:cubicBezTo>
                  <a:pt x="1373224" y="996388"/>
                  <a:pt x="1301500" y="1023343"/>
                  <a:pt x="1221681" y="1025153"/>
                </a:cubicBezTo>
                <a:cubicBezTo>
                  <a:pt x="1172341" y="1026106"/>
                  <a:pt x="1122906" y="1025153"/>
                  <a:pt x="1073567" y="1025153"/>
                </a:cubicBezTo>
                <a:cubicBezTo>
                  <a:pt x="1027561" y="1025725"/>
                  <a:pt x="1023275" y="1030297"/>
                  <a:pt x="1022798" y="1077731"/>
                </a:cubicBezTo>
                <a:cubicBezTo>
                  <a:pt x="1022322" y="1128499"/>
                  <a:pt x="1022798" y="1179363"/>
                  <a:pt x="1022798" y="1230131"/>
                </a:cubicBezTo>
                <a:cubicBezTo>
                  <a:pt x="1021370" y="1369482"/>
                  <a:pt x="926596" y="1474447"/>
                  <a:pt x="781245" y="1497784"/>
                </a:cubicBezTo>
                <a:cubicBezTo>
                  <a:pt x="664563" y="1516834"/>
                  <a:pt x="532642" y="1434824"/>
                  <a:pt x="493304" y="1315856"/>
                </a:cubicBezTo>
                <a:cubicBezTo>
                  <a:pt x="482902" y="1281766"/>
                  <a:pt x="476825" y="1246495"/>
                  <a:pt x="475206" y="1210891"/>
                </a:cubicBezTo>
                <a:cubicBezTo>
                  <a:pt x="472254" y="1166218"/>
                  <a:pt x="475206" y="1121261"/>
                  <a:pt x="474349" y="1076398"/>
                </a:cubicBezTo>
                <a:cubicBezTo>
                  <a:pt x="473492" y="1031535"/>
                  <a:pt x="469015" y="1025915"/>
                  <a:pt x="421771" y="1025439"/>
                </a:cubicBezTo>
                <a:cubicBezTo>
                  <a:pt x="374527" y="1024963"/>
                  <a:pt x="329093" y="1025439"/>
                  <a:pt x="282706" y="1025439"/>
                </a:cubicBezTo>
                <a:cubicBezTo>
                  <a:pt x="145070" y="1023915"/>
                  <a:pt x="37152" y="936285"/>
                  <a:pt x="5529" y="801792"/>
                </a:cubicBezTo>
                <a:cubicBezTo>
                  <a:pt x="-27428" y="661584"/>
                  <a:pt x="79252" y="485467"/>
                  <a:pt x="253179" y="477942"/>
                </a:cubicBezTo>
                <a:cubicBezTo>
                  <a:pt x="309852" y="475465"/>
                  <a:pt x="366812" y="477942"/>
                  <a:pt x="423676" y="477085"/>
                </a:cubicBezTo>
                <a:cubicBezTo>
                  <a:pt x="469777" y="476608"/>
                  <a:pt x="474063" y="472132"/>
                  <a:pt x="474539" y="424697"/>
                </a:cubicBezTo>
                <a:cubicBezTo>
                  <a:pt x="474539" y="375358"/>
                  <a:pt x="473778" y="326018"/>
                  <a:pt x="474539" y="276679"/>
                </a:cubicBezTo>
                <a:cubicBezTo>
                  <a:pt x="477968" y="140090"/>
                  <a:pt x="566075" y="31410"/>
                  <a:pt x="692948" y="5692"/>
                </a:cubicBezTo>
                <a:cubicBezTo>
                  <a:pt x="840585" y="-24216"/>
                  <a:pt x="981460" y="61700"/>
                  <a:pt x="1015655" y="207051"/>
                </a:cubicBezTo>
                <a:cubicBezTo>
                  <a:pt x="1025751" y="250009"/>
                  <a:pt x="1022513" y="296110"/>
                  <a:pt x="1025180" y="340401"/>
                </a:cubicBezTo>
                <a:close/>
              </a:path>
            </a:pathLst>
          </a:custGeom>
          <a:gradFill>
            <a:gsLst>
              <a:gs pos="5000">
                <a:srgbClr val="FE935B"/>
              </a:gs>
              <a:gs pos="100000">
                <a:srgbClr val="FC5B2F"/>
              </a:gs>
            </a:gsLst>
            <a:lin ang="18900000" scaled="1"/>
          </a:gradFill>
          <a:ln w="9525" cap="flat">
            <a:noFill/>
            <a:prstDash val="solid"/>
            <a:miter/>
          </a:ln>
        </p:spPr>
        <p:txBody>
          <a:bodyPr rtlCol="0" anchor="ctr"/>
          <a:lstStyle/>
          <a:p>
            <a:endParaRPr lang="de-DE"/>
          </a:p>
        </p:txBody>
      </p:sp>
      <p:sp>
        <p:nvSpPr>
          <p:cNvPr id="8" name="Rechteck 7">
            <a:extLst>
              <a:ext uri="{FF2B5EF4-FFF2-40B4-BE49-F238E27FC236}">
                <a16:creationId xmlns:a16="http://schemas.microsoft.com/office/drawing/2014/main" id="{397A2514-DDCF-4686-AB91-0CA41579704A}"/>
              </a:ext>
            </a:extLst>
          </p:cNvPr>
          <p:cNvSpPr/>
          <p:nvPr userDrawn="1"/>
        </p:nvSpPr>
        <p:spPr bwMode="gray">
          <a:xfrm>
            <a:off x="0" y="6750000"/>
            <a:ext cx="11664000" cy="108000"/>
          </a:xfrm>
          <a:prstGeom prst="rect">
            <a:avLst/>
          </a:prstGeom>
          <a:solidFill>
            <a:srgbClr val="DEFE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CF8BB24E-6E05-49D9-BA20-FCE2633983CE}"/>
              </a:ext>
            </a:extLst>
          </p:cNvPr>
          <p:cNvSpPr>
            <a:spLocks noGrp="1"/>
          </p:cNvSpPr>
          <p:nvPr>
            <p:ph type="body" sz="quarter" idx="13" hasCustomPrompt="1"/>
          </p:nvPr>
        </p:nvSpPr>
        <p:spPr bwMode="gray">
          <a:xfrm>
            <a:off x="3072580" y="836712"/>
            <a:ext cx="8784000" cy="1980000"/>
          </a:xfrm>
        </p:spPr>
        <p:txBody>
          <a:bodyPr anchor="ctr"/>
          <a:lstStyle>
            <a:lvl1pPr marL="0" indent="0">
              <a:spcAft>
                <a:spcPts val="0"/>
              </a:spcAft>
              <a:buFont typeface="Arial" panose="020B0604020202020204" pitchFamily="34" charset="0"/>
              <a:buNone/>
              <a:defRPr sz="19900" b="1"/>
            </a:lvl1pPr>
            <a:lvl2pPr marL="0" indent="0">
              <a:spcAft>
                <a:spcPts val="0"/>
              </a:spcAft>
              <a:buFont typeface="Arial" panose="020B0604020202020204" pitchFamily="34" charset="0"/>
              <a:buNone/>
              <a:defRPr sz="19900" b="1"/>
            </a:lvl2pPr>
            <a:lvl3pPr marL="0" indent="0">
              <a:spcAft>
                <a:spcPts val="0"/>
              </a:spcAft>
              <a:buNone/>
              <a:defRPr sz="19900" b="1"/>
            </a:lvl3pPr>
            <a:lvl4pPr marL="0" indent="0">
              <a:spcAft>
                <a:spcPts val="0"/>
              </a:spcAft>
              <a:buNone/>
              <a:defRPr sz="19900" b="1"/>
            </a:lvl4pPr>
            <a:lvl5pPr marL="0" indent="0">
              <a:spcAft>
                <a:spcPts val="0"/>
              </a:spcAft>
              <a:buNone/>
              <a:defRPr sz="19900" b="1"/>
            </a:lvl5pPr>
            <a:lvl6pPr marL="0" indent="0">
              <a:spcAft>
                <a:spcPts val="0"/>
              </a:spcAft>
              <a:buNone/>
              <a:defRPr sz="19900" b="1"/>
            </a:lvl6pPr>
            <a:lvl7pPr marL="0" indent="0">
              <a:spcAft>
                <a:spcPts val="0"/>
              </a:spcAft>
              <a:buNone/>
              <a:defRPr sz="19900" b="1"/>
            </a:lvl7pPr>
            <a:lvl8pPr marL="0" indent="0">
              <a:spcAft>
                <a:spcPts val="0"/>
              </a:spcAft>
              <a:buNone/>
              <a:defRPr sz="19900" b="1"/>
            </a:lvl8pPr>
            <a:lvl9pPr marL="0" indent="0">
              <a:spcAft>
                <a:spcPts val="0"/>
              </a:spcAft>
              <a:buNone/>
              <a:defRPr sz="19900" b="1"/>
            </a:lvl9pPr>
          </a:lstStyle>
          <a:p>
            <a:pPr lvl="0"/>
            <a:r>
              <a:rPr lang="de-DE"/>
              <a:t>000</a:t>
            </a:r>
          </a:p>
        </p:txBody>
      </p:sp>
      <p:sp>
        <p:nvSpPr>
          <p:cNvPr id="11" name="Textplatzhalter 10">
            <a:extLst>
              <a:ext uri="{FF2B5EF4-FFF2-40B4-BE49-F238E27FC236}">
                <a16:creationId xmlns:a16="http://schemas.microsoft.com/office/drawing/2014/main" id="{9A385DCC-A442-4836-9DCD-539B4816C9F9}"/>
              </a:ext>
            </a:extLst>
          </p:cNvPr>
          <p:cNvSpPr>
            <a:spLocks noGrp="1"/>
          </p:cNvSpPr>
          <p:nvPr>
            <p:ph type="body" sz="quarter" idx="14"/>
          </p:nvPr>
        </p:nvSpPr>
        <p:spPr bwMode="gray">
          <a:xfrm>
            <a:off x="4584640" y="3645024"/>
            <a:ext cx="7272000" cy="2592000"/>
          </a:xfrm>
        </p:spPr>
        <p:txBody>
          <a:bodyPr/>
          <a:lstStyle>
            <a:lvl1pPr marL="0" indent="0">
              <a:spcAft>
                <a:spcPts val="0"/>
              </a:spcAft>
              <a:buFont typeface="Arial" panose="020B0604020202020204" pitchFamily="34" charset="0"/>
              <a:buNone/>
              <a:defRPr sz="4400" b="1"/>
            </a:lvl1pPr>
            <a:lvl2pPr marL="0" indent="0">
              <a:spcAft>
                <a:spcPts val="0"/>
              </a:spcAft>
              <a:buFont typeface="Arial" panose="020B0604020202020204" pitchFamily="34" charset="0"/>
              <a:buNone/>
              <a:defRPr sz="4400" b="1"/>
            </a:lvl2pPr>
            <a:lvl3pPr marL="0" indent="0">
              <a:spcAft>
                <a:spcPts val="0"/>
              </a:spcAft>
              <a:buNone/>
              <a:defRPr sz="4400" b="1"/>
            </a:lvl3pPr>
            <a:lvl4pPr marL="0" indent="0">
              <a:spcAft>
                <a:spcPts val="0"/>
              </a:spcAft>
              <a:buNone/>
              <a:defRPr sz="4400" b="1"/>
            </a:lvl4pPr>
            <a:lvl5pPr marL="0" indent="0">
              <a:spcAft>
                <a:spcPts val="0"/>
              </a:spcAft>
              <a:buNone/>
              <a:defRPr sz="4400" b="1"/>
            </a:lvl5pPr>
            <a:lvl6pPr marL="0" indent="0">
              <a:spcAft>
                <a:spcPts val="0"/>
              </a:spcAft>
              <a:buNone/>
              <a:defRPr sz="4400" b="1"/>
            </a:lvl6pPr>
            <a:lvl7pPr marL="0" indent="0">
              <a:spcAft>
                <a:spcPts val="0"/>
              </a:spcAft>
              <a:buNone/>
              <a:defRPr sz="4400" b="1"/>
            </a:lvl7pPr>
            <a:lvl8pPr marL="0" indent="0">
              <a:spcAft>
                <a:spcPts val="0"/>
              </a:spcAft>
              <a:buNone/>
              <a:defRPr sz="4400" b="1"/>
            </a:lvl8pPr>
            <a:lvl9pPr marL="0" indent="0">
              <a:spcAft>
                <a:spcPts val="0"/>
              </a:spcAft>
              <a:buNone/>
              <a:defRPr sz="4400" b="1"/>
            </a:lvl9pPr>
          </a:lstStyle>
          <a:p>
            <a:pPr lvl="0"/>
            <a:r>
              <a:rPr lang="de-DE"/>
              <a:t>Mastertextformat bearbeiten</a:t>
            </a:r>
          </a:p>
        </p:txBody>
      </p:sp>
    </p:spTree>
    <p:extLst>
      <p:ext uri="{BB962C8B-B14F-4D97-AF65-F5344CB8AC3E}">
        <p14:creationId xmlns:p14="http://schemas.microsoft.com/office/powerpoint/2010/main" val="3353419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Event – Text mit Bild">
    <p:spTree>
      <p:nvGrpSpPr>
        <p:cNvPr id="1" name=""/>
        <p:cNvGrpSpPr/>
        <p:nvPr/>
      </p:nvGrpSpPr>
      <p:grpSpPr>
        <a:xfrm>
          <a:off x="0" y="0"/>
          <a:ext cx="0" cy="0"/>
          <a:chOff x="0" y="0"/>
          <a:chExt cx="0" cy="0"/>
        </a:xfrm>
      </p:grpSpPr>
      <p:sp>
        <p:nvSpPr>
          <p:cNvPr id="10" name="Grafik 2">
            <a:extLst>
              <a:ext uri="{FF2B5EF4-FFF2-40B4-BE49-F238E27FC236}">
                <a16:creationId xmlns:a16="http://schemas.microsoft.com/office/drawing/2014/main" id="{27192F4B-5109-44AE-AD5B-D434999074FD}"/>
              </a:ext>
            </a:extLst>
          </p:cNvPr>
          <p:cNvSpPr/>
          <p:nvPr userDrawn="1"/>
        </p:nvSpPr>
        <p:spPr bwMode="gray">
          <a:xfrm>
            <a:off x="1534170" y="487349"/>
            <a:ext cx="4696545" cy="4309803"/>
          </a:xfrm>
          <a:custGeom>
            <a:avLst/>
            <a:gdLst>
              <a:gd name="connsiteX0" fmla="*/ 639773 w 1480240"/>
              <a:gd name="connsiteY0" fmla="*/ 918170 h 1358348"/>
              <a:gd name="connsiteX1" fmla="*/ 593958 w 1480240"/>
              <a:gd name="connsiteY1" fmla="*/ 916360 h 1358348"/>
              <a:gd name="connsiteX2" fmla="*/ 244010 w 1480240"/>
              <a:gd name="connsiteY2" fmla="*/ 916360 h 1358348"/>
              <a:gd name="connsiteX3" fmla="*/ 3313 w 1480240"/>
              <a:gd name="connsiteY3" fmla="*/ 715859 h 1358348"/>
              <a:gd name="connsiteX4" fmla="*/ 223531 w 1480240"/>
              <a:gd name="connsiteY4" fmla="*/ 440396 h 1358348"/>
              <a:gd name="connsiteX5" fmla="*/ 600341 w 1480240"/>
              <a:gd name="connsiteY5" fmla="*/ 440396 h 1358348"/>
              <a:gd name="connsiteX6" fmla="*/ 648727 w 1480240"/>
              <a:gd name="connsiteY6" fmla="*/ 440396 h 1358348"/>
              <a:gd name="connsiteX7" fmla="*/ 653871 w 1480240"/>
              <a:gd name="connsiteY7" fmla="*/ 431633 h 1358348"/>
              <a:gd name="connsiteX8" fmla="*/ 626534 w 1480240"/>
              <a:gd name="connsiteY8" fmla="*/ 400391 h 1358348"/>
              <a:gd name="connsiteX9" fmla="*/ 581575 w 1480240"/>
              <a:gd name="connsiteY9" fmla="*/ 142739 h 1358348"/>
              <a:gd name="connsiteX10" fmla="*/ 795603 w 1480240"/>
              <a:gd name="connsiteY10" fmla="*/ -136 h 1358348"/>
              <a:gd name="connsiteX11" fmla="*/ 976006 w 1480240"/>
              <a:gd name="connsiteY11" fmla="*/ 75398 h 1358348"/>
              <a:gd name="connsiteX12" fmla="*/ 1408346 w 1480240"/>
              <a:gd name="connsiteY12" fmla="*/ 505833 h 1358348"/>
              <a:gd name="connsiteX13" fmla="*/ 1409966 w 1480240"/>
              <a:gd name="connsiteY13" fmla="*/ 848161 h 1358348"/>
              <a:gd name="connsiteX14" fmla="*/ 1114691 w 1480240"/>
              <a:gd name="connsiteY14" fmla="*/ 1142865 h 1358348"/>
              <a:gd name="connsiteX15" fmla="*/ 938478 w 1480240"/>
              <a:gd name="connsiteY15" fmla="*/ 1308504 h 1358348"/>
              <a:gd name="connsiteX16" fmla="*/ 693589 w 1480240"/>
              <a:gd name="connsiteY16" fmla="*/ 1329745 h 1358348"/>
              <a:gd name="connsiteX17" fmla="*/ 560239 w 1480240"/>
              <a:gd name="connsiteY17" fmla="*/ 1121434 h 1358348"/>
              <a:gd name="connsiteX18" fmla="*/ 620152 w 1480240"/>
              <a:gd name="connsiteY18" fmla="*/ 956270 h 1358348"/>
              <a:gd name="connsiteX19" fmla="*/ 641583 w 1480240"/>
              <a:gd name="connsiteY19" fmla="*/ 928171 h 1358348"/>
              <a:gd name="connsiteX20" fmla="*/ 639773 w 1480240"/>
              <a:gd name="connsiteY20" fmla="*/ 918170 h 1358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80240" h="1358348">
                <a:moveTo>
                  <a:pt x="639773" y="918170"/>
                </a:moveTo>
                <a:cubicBezTo>
                  <a:pt x="625391" y="917598"/>
                  <a:pt x="609675" y="916360"/>
                  <a:pt x="593958" y="916360"/>
                </a:cubicBezTo>
                <a:cubicBezTo>
                  <a:pt x="477277" y="916360"/>
                  <a:pt x="360596" y="917408"/>
                  <a:pt x="244010" y="916360"/>
                </a:cubicBezTo>
                <a:cubicBezTo>
                  <a:pt x="125614" y="914836"/>
                  <a:pt x="27030" y="842065"/>
                  <a:pt x="3313" y="715859"/>
                </a:cubicBezTo>
                <a:cubicBezTo>
                  <a:pt x="-21833" y="581556"/>
                  <a:pt x="82847" y="442396"/>
                  <a:pt x="223531" y="440396"/>
                </a:cubicBezTo>
                <a:cubicBezTo>
                  <a:pt x="349071" y="438681"/>
                  <a:pt x="474705" y="440396"/>
                  <a:pt x="600341" y="440396"/>
                </a:cubicBezTo>
                <a:lnTo>
                  <a:pt x="648727" y="440396"/>
                </a:lnTo>
                <a:lnTo>
                  <a:pt x="653871" y="431633"/>
                </a:lnTo>
                <a:cubicBezTo>
                  <a:pt x="644346" y="421155"/>
                  <a:pt x="636249" y="410201"/>
                  <a:pt x="626534" y="400391"/>
                </a:cubicBezTo>
                <a:cubicBezTo>
                  <a:pt x="552143" y="324762"/>
                  <a:pt x="544618" y="233989"/>
                  <a:pt x="581575" y="142739"/>
                </a:cubicBezTo>
                <a:cubicBezTo>
                  <a:pt x="618532" y="51490"/>
                  <a:pt x="693114" y="2817"/>
                  <a:pt x="795603" y="-136"/>
                </a:cubicBezTo>
                <a:cubicBezTo>
                  <a:pt x="868183" y="-2040"/>
                  <a:pt x="926190" y="25772"/>
                  <a:pt x="976006" y="75398"/>
                </a:cubicBezTo>
                <a:cubicBezTo>
                  <a:pt x="1120024" y="219035"/>
                  <a:pt x="1261756" y="364768"/>
                  <a:pt x="1408346" y="505833"/>
                </a:cubicBezTo>
                <a:cubicBezTo>
                  <a:pt x="1495405" y="589557"/>
                  <a:pt x="1510930" y="747387"/>
                  <a:pt x="1409966" y="848161"/>
                </a:cubicBezTo>
                <a:cubicBezTo>
                  <a:pt x="1311572" y="946459"/>
                  <a:pt x="1213750" y="1045328"/>
                  <a:pt x="1114691" y="1142865"/>
                </a:cubicBezTo>
                <a:cubicBezTo>
                  <a:pt x="1057541" y="1199443"/>
                  <a:pt x="1000961" y="1258022"/>
                  <a:pt x="938478" y="1308504"/>
                </a:cubicBezTo>
                <a:cubicBezTo>
                  <a:pt x="864087" y="1368607"/>
                  <a:pt x="777696" y="1372131"/>
                  <a:pt x="693589" y="1329745"/>
                </a:cubicBezTo>
                <a:cubicBezTo>
                  <a:pt x="609484" y="1287359"/>
                  <a:pt x="563097" y="1216112"/>
                  <a:pt x="560239" y="1121434"/>
                </a:cubicBezTo>
                <a:cubicBezTo>
                  <a:pt x="558811" y="1060816"/>
                  <a:pt x="580242" y="1001876"/>
                  <a:pt x="620152" y="956270"/>
                </a:cubicBezTo>
                <a:cubicBezTo>
                  <a:pt x="627677" y="947221"/>
                  <a:pt x="634630" y="937696"/>
                  <a:pt x="641583" y="928171"/>
                </a:cubicBezTo>
                <a:cubicBezTo>
                  <a:pt x="642060" y="926456"/>
                  <a:pt x="641107" y="924456"/>
                  <a:pt x="639773" y="918170"/>
                </a:cubicBezTo>
                <a:close/>
              </a:path>
            </a:pathLst>
          </a:custGeom>
          <a:gradFill>
            <a:gsLst>
              <a:gs pos="100000">
                <a:srgbClr val="DEFE4A"/>
              </a:gs>
              <a:gs pos="0">
                <a:srgbClr val="BFE900"/>
              </a:gs>
            </a:gsLst>
            <a:lin ang="18900000" scaled="1"/>
          </a:gradFill>
          <a:ln w="9525" cap="flat">
            <a:noFill/>
            <a:prstDash val="solid"/>
            <a:miter/>
          </a:ln>
        </p:spPr>
        <p:txBody>
          <a:bodyPr rtlCol="0" anchor="ctr"/>
          <a:lstStyle/>
          <a:p>
            <a:endParaRPr lang="de-DE"/>
          </a:p>
        </p:txBody>
      </p:sp>
      <p:grpSp>
        <p:nvGrpSpPr>
          <p:cNvPr id="12" name="Gruppieren 11">
            <a:extLst>
              <a:ext uri="{FF2B5EF4-FFF2-40B4-BE49-F238E27FC236}">
                <a16:creationId xmlns:a16="http://schemas.microsoft.com/office/drawing/2014/main" id="{B2B8FF31-CBBD-498A-B097-63FD81E7A513}"/>
              </a:ext>
            </a:extLst>
          </p:cNvPr>
          <p:cNvGrpSpPr/>
          <p:nvPr userDrawn="1"/>
        </p:nvGrpSpPr>
        <p:grpSpPr bwMode="gray">
          <a:xfrm>
            <a:off x="5200389" y="1212580"/>
            <a:ext cx="1158591" cy="951756"/>
            <a:chOff x="9542706" y="466232"/>
            <a:chExt cx="1158591" cy="951756"/>
          </a:xfrm>
        </p:grpSpPr>
        <p:sp>
          <p:nvSpPr>
            <p:cNvPr id="13" name="Grafik 2">
              <a:extLst>
                <a:ext uri="{FF2B5EF4-FFF2-40B4-BE49-F238E27FC236}">
                  <a16:creationId xmlns:a16="http://schemas.microsoft.com/office/drawing/2014/main" id="{DE2CA994-0F40-459D-8D49-FD1EDF116A23}"/>
                </a:ext>
              </a:extLst>
            </p:cNvPr>
            <p:cNvSpPr/>
            <p:nvPr/>
          </p:nvSpPr>
          <p:spPr bwMode="gray">
            <a:xfrm>
              <a:off x="10575216" y="672982"/>
              <a:ext cx="125652" cy="125498"/>
            </a:xfrm>
            <a:custGeom>
              <a:avLst/>
              <a:gdLst>
                <a:gd name="connsiteX0" fmla="*/ 125119 w 125652"/>
                <a:gd name="connsiteY0" fmla="*/ 60406 h 125498"/>
                <a:gd name="connsiteX1" fmla="*/ 66254 w 125652"/>
                <a:gd name="connsiteY1" fmla="*/ 125271 h 125498"/>
                <a:gd name="connsiteX2" fmla="*/ -421 w 125652"/>
                <a:gd name="connsiteY2" fmla="*/ 60406 h 125498"/>
                <a:gd name="connsiteX3" fmla="*/ 62825 w 125652"/>
                <a:gd name="connsiteY3" fmla="*/ 17 h 125498"/>
                <a:gd name="connsiteX4" fmla="*/ 125024 w 125652"/>
                <a:gd name="connsiteY4" fmla="*/ 51681 h 125498"/>
                <a:gd name="connsiteX5" fmla="*/ 125119 w 125652"/>
                <a:gd name="connsiteY5" fmla="*/ 60406 h 12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52" h="125498">
                  <a:moveTo>
                    <a:pt x="125119" y="60406"/>
                  </a:moveTo>
                  <a:cubicBezTo>
                    <a:pt x="125119" y="97744"/>
                    <a:pt x="100449" y="124985"/>
                    <a:pt x="66254" y="125271"/>
                  </a:cubicBezTo>
                  <a:cubicBezTo>
                    <a:pt x="30345" y="124652"/>
                    <a:pt x="1199" y="96249"/>
                    <a:pt x="-421" y="60406"/>
                  </a:cubicBezTo>
                  <a:cubicBezTo>
                    <a:pt x="-992" y="25925"/>
                    <a:pt x="25391" y="779"/>
                    <a:pt x="62825" y="17"/>
                  </a:cubicBezTo>
                  <a:cubicBezTo>
                    <a:pt x="94258" y="-2878"/>
                    <a:pt x="122070" y="20248"/>
                    <a:pt x="125024" y="51681"/>
                  </a:cubicBezTo>
                  <a:cubicBezTo>
                    <a:pt x="125214" y="54577"/>
                    <a:pt x="125309" y="57501"/>
                    <a:pt x="125119" y="60406"/>
                  </a:cubicBezTo>
                  <a:close/>
                </a:path>
              </a:pathLst>
            </a:custGeom>
            <a:solidFill>
              <a:srgbClr val="000000"/>
            </a:solidFill>
            <a:ln w="9525" cap="flat">
              <a:noFill/>
              <a:prstDash val="solid"/>
              <a:miter/>
            </a:ln>
          </p:spPr>
          <p:txBody>
            <a:bodyPr rtlCol="0" anchor="ctr"/>
            <a:lstStyle/>
            <a:p>
              <a:endParaRPr lang="de-DE"/>
            </a:p>
          </p:txBody>
        </p:sp>
        <p:sp>
          <p:nvSpPr>
            <p:cNvPr id="14" name="Grafik 2">
              <a:extLst>
                <a:ext uri="{FF2B5EF4-FFF2-40B4-BE49-F238E27FC236}">
                  <a16:creationId xmlns:a16="http://schemas.microsoft.com/office/drawing/2014/main" id="{396556CD-8A5D-4835-A40E-E086ED7D1581}"/>
                </a:ext>
              </a:extLst>
            </p:cNvPr>
            <p:cNvSpPr/>
            <p:nvPr/>
          </p:nvSpPr>
          <p:spPr bwMode="gray">
            <a:xfrm>
              <a:off x="9542906" y="879329"/>
              <a:ext cx="125577" cy="125659"/>
            </a:xfrm>
            <a:custGeom>
              <a:avLst/>
              <a:gdLst>
                <a:gd name="connsiteX0" fmla="*/ 124919 w 125577"/>
                <a:gd name="connsiteY0" fmla="*/ 62084 h 125659"/>
                <a:gd name="connsiteX1" fmla="*/ 64531 w 125577"/>
                <a:gd name="connsiteY1" fmla="*/ 125426 h 125659"/>
                <a:gd name="connsiteX2" fmla="*/ -430 w 125577"/>
                <a:gd name="connsiteY2" fmla="*/ 58751 h 125659"/>
                <a:gd name="connsiteX3" fmla="*/ 64436 w 125577"/>
                <a:gd name="connsiteY3" fmla="*/ -114 h 125659"/>
                <a:gd name="connsiteX4" fmla="*/ 125015 w 125577"/>
                <a:gd name="connsiteY4" fmla="*/ 53359 h 125659"/>
                <a:gd name="connsiteX5" fmla="*/ 124919 w 125577"/>
                <a:gd name="connsiteY5" fmla="*/ 62084 h 12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77" h="125659">
                  <a:moveTo>
                    <a:pt x="124919" y="62084"/>
                  </a:moveTo>
                  <a:cubicBezTo>
                    <a:pt x="124157" y="99518"/>
                    <a:pt x="99012" y="125902"/>
                    <a:pt x="64531" y="125426"/>
                  </a:cubicBezTo>
                  <a:cubicBezTo>
                    <a:pt x="28717" y="123778"/>
                    <a:pt x="332" y="94612"/>
                    <a:pt x="-430" y="58751"/>
                  </a:cubicBezTo>
                  <a:cubicBezTo>
                    <a:pt x="-430" y="24556"/>
                    <a:pt x="27002" y="-114"/>
                    <a:pt x="64436" y="-114"/>
                  </a:cubicBezTo>
                  <a:cubicBezTo>
                    <a:pt x="95963" y="-2086"/>
                    <a:pt x="123109" y="21860"/>
                    <a:pt x="125015" y="53359"/>
                  </a:cubicBezTo>
                  <a:cubicBezTo>
                    <a:pt x="125205" y="56265"/>
                    <a:pt x="125205" y="59179"/>
                    <a:pt x="124919" y="62084"/>
                  </a:cubicBezTo>
                  <a:close/>
                </a:path>
              </a:pathLst>
            </a:custGeom>
            <a:solidFill>
              <a:srgbClr val="000000"/>
            </a:solidFill>
            <a:ln w="9525" cap="flat">
              <a:noFill/>
              <a:prstDash val="solid"/>
              <a:miter/>
            </a:ln>
          </p:spPr>
          <p:txBody>
            <a:bodyPr rtlCol="0" anchor="ctr"/>
            <a:lstStyle/>
            <a:p>
              <a:endParaRPr lang="de-DE"/>
            </a:p>
          </p:txBody>
        </p:sp>
        <p:sp>
          <p:nvSpPr>
            <p:cNvPr id="15" name="Grafik 2">
              <a:extLst>
                <a:ext uri="{FF2B5EF4-FFF2-40B4-BE49-F238E27FC236}">
                  <a16:creationId xmlns:a16="http://schemas.microsoft.com/office/drawing/2014/main" id="{76554634-F504-4EC8-A8F1-F2C1A882FD03}"/>
                </a:ext>
              </a:extLst>
            </p:cNvPr>
            <p:cNvSpPr/>
            <p:nvPr/>
          </p:nvSpPr>
          <p:spPr bwMode="gray">
            <a:xfrm>
              <a:off x="9749949" y="879440"/>
              <a:ext cx="125246" cy="125541"/>
            </a:xfrm>
            <a:custGeom>
              <a:avLst/>
              <a:gdLst>
                <a:gd name="connsiteX0" fmla="*/ 66276 w 125246"/>
                <a:gd name="connsiteY0" fmla="*/ 125315 h 125541"/>
                <a:gd name="connsiteX1" fmla="*/ -399 w 125246"/>
                <a:gd name="connsiteY1" fmla="*/ 61212 h 125541"/>
                <a:gd name="connsiteX2" fmla="*/ 61990 w 125246"/>
                <a:gd name="connsiteY2" fmla="*/ 61 h 125541"/>
                <a:gd name="connsiteX3" fmla="*/ 124569 w 125246"/>
                <a:gd name="connsiteY3" fmla="*/ 51239 h 125541"/>
                <a:gd name="connsiteX4" fmla="*/ 124759 w 125246"/>
                <a:gd name="connsiteY4" fmla="*/ 59688 h 125541"/>
                <a:gd name="connsiteX5" fmla="*/ 66276 w 125246"/>
                <a:gd name="connsiteY5" fmla="*/ 125315 h 125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246" h="125541">
                  <a:moveTo>
                    <a:pt x="66276" y="125315"/>
                  </a:moveTo>
                  <a:cubicBezTo>
                    <a:pt x="30652" y="124810"/>
                    <a:pt x="1506" y="96787"/>
                    <a:pt x="-399" y="61212"/>
                  </a:cubicBezTo>
                  <a:cubicBezTo>
                    <a:pt x="-1447" y="26636"/>
                    <a:pt x="24461" y="1204"/>
                    <a:pt x="61990" y="61"/>
                  </a:cubicBezTo>
                  <a:cubicBezTo>
                    <a:pt x="93422" y="-3082"/>
                    <a:pt x="121426" y="19835"/>
                    <a:pt x="124569" y="51239"/>
                  </a:cubicBezTo>
                  <a:cubicBezTo>
                    <a:pt x="124855" y="54049"/>
                    <a:pt x="124855" y="56868"/>
                    <a:pt x="124759" y="59688"/>
                  </a:cubicBezTo>
                  <a:cubicBezTo>
                    <a:pt x="124855" y="97025"/>
                    <a:pt x="100470" y="124553"/>
                    <a:pt x="66276" y="125315"/>
                  </a:cubicBezTo>
                  <a:close/>
                </a:path>
              </a:pathLst>
            </a:custGeom>
            <a:solidFill>
              <a:srgbClr val="000000"/>
            </a:solidFill>
            <a:ln w="9525" cap="flat">
              <a:noFill/>
              <a:prstDash val="solid"/>
              <a:miter/>
            </a:ln>
          </p:spPr>
          <p:txBody>
            <a:bodyPr rtlCol="0" anchor="ctr"/>
            <a:lstStyle/>
            <a:p>
              <a:endParaRPr lang="de-DE"/>
            </a:p>
          </p:txBody>
        </p:sp>
        <p:sp>
          <p:nvSpPr>
            <p:cNvPr id="16" name="Grafik 2">
              <a:extLst>
                <a:ext uri="{FF2B5EF4-FFF2-40B4-BE49-F238E27FC236}">
                  <a16:creationId xmlns:a16="http://schemas.microsoft.com/office/drawing/2014/main" id="{906F5B52-D1DB-4CEA-9156-A01D4449A299}"/>
                </a:ext>
              </a:extLst>
            </p:cNvPr>
            <p:cNvSpPr/>
            <p:nvPr/>
          </p:nvSpPr>
          <p:spPr bwMode="gray">
            <a:xfrm>
              <a:off x="9956451" y="879440"/>
              <a:ext cx="125246" cy="125541"/>
            </a:xfrm>
            <a:custGeom>
              <a:avLst/>
              <a:gdLst>
                <a:gd name="connsiteX0" fmla="*/ 66276 w 125246"/>
                <a:gd name="connsiteY0" fmla="*/ 125315 h 125541"/>
                <a:gd name="connsiteX1" fmla="*/ -399 w 125246"/>
                <a:gd name="connsiteY1" fmla="*/ 61212 h 125541"/>
                <a:gd name="connsiteX2" fmla="*/ 61989 w 125246"/>
                <a:gd name="connsiteY2" fmla="*/ 61 h 125541"/>
                <a:gd name="connsiteX3" fmla="*/ 124569 w 125246"/>
                <a:gd name="connsiteY3" fmla="*/ 51239 h 125541"/>
                <a:gd name="connsiteX4" fmla="*/ 124759 w 125246"/>
                <a:gd name="connsiteY4" fmla="*/ 59688 h 125541"/>
                <a:gd name="connsiteX5" fmla="*/ 66276 w 125246"/>
                <a:gd name="connsiteY5" fmla="*/ 125315 h 125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246" h="125541">
                  <a:moveTo>
                    <a:pt x="66276" y="125315"/>
                  </a:moveTo>
                  <a:cubicBezTo>
                    <a:pt x="30652" y="124810"/>
                    <a:pt x="1505" y="96787"/>
                    <a:pt x="-399" y="61212"/>
                  </a:cubicBezTo>
                  <a:cubicBezTo>
                    <a:pt x="-1447" y="26636"/>
                    <a:pt x="24461" y="1204"/>
                    <a:pt x="61989" y="61"/>
                  </a:cubicBezTo>
                  <a:cubicBezTo>
                    <a:pt x="93422" y="-3082"/>
                    <a:pt x="121425" y="19835"/>
                    <a:pt x="124569" y="51239"/>
                  </a:cubicBezTo>
                  <a:cubicBezTo>
                    <a:pt x="124855" y="54049"/>
                    <a:pt x="124855" y="56868"/>
                    <a:pt x="124759" y="59688"/>
                  </a:cubicBezTo>
                  <a:cubicBezTo>
                    <a:pt x="124855" y="97025"/>
                    <a:pt x="100470" y="124553"/>
                    <a:pt x="66276" y="125315"/>
                  </a:cubicBezTo>
                  <a:close/>
                </a:path>
              </a:pathLst>
            </a:custGeom>
            <a:solidFill>
              <a:srgbClr val="000000"/>
            </a:solidFill>
            <a:ln w="9525" cap="flat">
              <a:noFill/>
              <a:prstDash val="solid"/>
              <a:miter/>
            </a:ln>
          </p:spPr>
          <p:txBody>
            <a:bodyPr rtlCol="0" anchor="ctr"/>
            <a:lstStyle/>
            <a:p>
              <a:endParaRPr lang="de-DE"/>
            </a:p>
          </p:txBody>
        </p:sp>
        <p:sp>
          <p:nvSpPr>
            <p:cNvPr id="17" name="Grafik 2">
              <a:extLst>
                <a:ext uri="{FF2B5EF4-FFF2-40B4-BE49-F238E27FC236}">
                  <a16:creationId xmlns:a16="http://schemas.microsoft.com/office/drawing/2014/main" id="{6F5BFB6A-24B6-4544-A014-F914B69E81DA}"/>
                </a:ext>
              </a:extLst>
            </p:cNvPr>
            <p:cNvSpPr/>
            <p:nvPr/>
          </p:nvSpPr>
          <p:spPr bwMode="gray">
            <a:xfrm>
              <a:off x="10162508" y="879546"/>
              <a:ext cx="125500" cy="125361"/>
            </a:xfrm>
            <a:custGeom>
              <a:avLst/>
              <a:gdLst>
                <a:gd name="connsiteX0" fmla="*/ 64816 w 125500"/>
                <a:gd name="connsiteY0" fmla="*/ -141 h 125361"/>
                <a:gd name="connsiteX1" fmla="*/ 125014 w 125500"/>
                <a:gd name="connsiteY1" fmla="*/ 53809 h 125361"/>
                <a:gd name="connsiteX2" fmla="*/ 124824 w 125500"/>
                <a:gd name="connsiteY2" fmla="*/ 62343 h 125361"/>
                <a:gd name="connsiteX3" fmla="*/ 63959 w 125500"/>
                <a:gd name="connsiteY3" fmla="*/ 125113 h 125361"/>
                <a:gd name="connsiteX4" fmla="*/ -430 w 125500"/>
                <a:gd name="connsiteY4" fmla="*/ 58438 h 125361"/>
                <a:gd name="connsiteX5" fmla="*/ 64816 w 125500"/>
                <a:gd name="connsiteY5" fmla="*/ -141 h 12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00" h="125361">
                  <a:moveTo>
                    <a:pt x="64816" y="-141"/>
                  </a:moveTo>
                  <a:cubicBezTo>
                    <a:pt x="96343" y="-1865"/>
                    <a:pt x="123300" y="22291"/>
                    <a:pt x="125014" y="53809"/>
                  </a:cubicBezTo>
                  <a:cubicBezTo>
                    <a:pt x="125109" y="56657"/>
                    <a:pt x="125109" y="59505"/>
                    <a:pt x="124824" y="62343"/>
                  </a:cubicBezTo>
                  <a:cubicBezTo>
                    <a:pt x="123775" y="99872"/>
                    <a:pt x="98535" y="125971"/>
                    <a:pt x="63959" y="125113"/>
                  </a:cubicBezTo>
                  <a:cubicBezTo>
                    <a:pt x="28240" y="123313"/>
                    <a:pt x="141" y="94148"/>
                    <a:pt x="-430" y="58438"/>
                  </a:cubicBezTo>
                  <a:cubicBezTo>
                    <a:pt x="141" y="24148"/>
                    <a:pt x="27478" y="-331"/>
                    <a:pt x="64816" y="-141"/>
                  </a:cubicBezTo>
                  <a:close/>
                </a:path>
              </a:pathLst>
            </a:custGeom>
            <a:solidFill>
              <a:srgbClr val="000000"/>
            </a:solidFill>
            <a:ln w="9525" cap="flat">
              <a:noFill/>
              <a:prstDash val="solid"/>
              <a:miter/>
            </a:ln>
          </p:spPr>
          <p:txBody>
            <a:bodyPr rtlCol="0" anchor="ctr"/>
            <a:lstStyle/>
            <a:p>
              <a:endParaRPr lang="de-DE"/>
            </a:p>
          </p:txBody>
        </p:sp>
        <p:sp>
          <p:nvSpPr>
            <p:cNvPr id="18" name="Grafik 2">
              <a:extLst>
                <a:ext uri="{FF2B5EF4-FFF2-40B4-BE49-F238E27FC236}">
                  <a16:creationId xmlns:a16="http://schemas.microsoft.com/office/drawing/2014/main" id="{8DE43ED8-981C-400C-9A4C-A1387213E954}"/>
                </a:ext>
              </a:extLst>
            </p:cNvPr>
            <p:cNvSpPr/>
            <p:nvPr/>
          </p:nvSpPr>
          <p:spPr bwMode="gray">
            <a:xfrm>
              <a:off x="9956003" y="466550"/>
              <a:ext cx="125399" cy="125428"/>
            </a:xfrm>
            <a:custGeom>
              <a:avLst/>
              <a:gdLst>
                <a:gd name="connsiteX0" fmla="*/ 63390 w 125399"/>
                <a:gd name="connsiteY0" fmla="*/ -52 h 125428"/>
                <a:gd name="connsiteX1" fmla="*/ 124826 w 125399"/>
                <a:gd name="connsiteY1" fmla="*/ 52497 h 125428"/>
                <a:gd name="connsiteX2" fmla="*/ 124826 w 125399"/>
                <a:gd name="connsiteY2" fmla="*/ 60907 h 125428"/>
                <a:gd name="connsiteX3" fmla="*/ 65390 w 125399"/>
                <a:gd name="connsiteY3" fmla="*/ 125201 h 125428"/>
                <a:gd name="connsiteX4" fmla="*/ -428 w 125399"/>
                <a:gd name="connsiteY4" fmla="*/ 59860 h 125428"/>
                <a:gd name="connsiteX5" fmla="*/ 63390 w 125399"/>
                <a:gd name="connsiteY5" fmla="*/ -52 h 125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99" h="125428">
                  <a:moveTo>
                    <a:pt x="63390" y="-52"/>
                  </a:moveTo>
                  <a:cubicBezTo>
                    <a:pt x="94822" y="-2500"/>
                    <a:pt x="122350" y="21036"/>
                    <a:pt x="124826" y="52497"/>
                  </a:cubicBezTo>
                  <a:cubicBezTo>
                    <a:pt x="125017" y="55297"/>
                    <a:pt x="125017" y="58107"/>
                    <a:pt x="124826" y="60907"/>
                  </a:cubicBezTo>
                  <a:cubicBezTo>
                    <a:pt x="124826" y="98341"/>
                    <a:pt x="99775" y="125201"/>
                    <a:pt x="65390" y="125201"/>
                  </a:cubicBezTo>
                  <a:cubicBezTo>
                    <a:pt x="29672" y="124125"/>
                    <a:pt x="906" y="95560"/>
                    <a:pt x="-428" y="59860"/>
                  </a:cubicBezTo>
                  <a:cubicBezTo>
                    <a:pt x="-714" y="25094"/>
                    <a:pt x="25957" y="424"/>
                    <a:pt x="63390" y="-52"/>
                  </a:cubicBezTo>
                  <a:close/>
                </a:path>
              </a:pathLst>
            </a:custGeom>
            <a:solidFill>
              <a:srgbClr val="000000"/>
            </a:solidFill>
            <a:ln w="9525" cap="flat">
              <a:noFill/>
              <a:prstDash val="solid"/>
              <a:miter/>
            </a:ln>
          </p:spPr>
          <p:txBody>
            <a:bodyPr rtlCol="0" anchor="ctr"/>
            <a:lstStyle/>
            <a:p>
              <a:endParaRPr lang="de-DE"/>
            </a:p>
          </p:txBody>
        </p:sp>
        <p:sp>
          <p:nvSpPr>
            <p:cNvPr id="19" name="Grafik 2">
              <a:extLst>
                <a:ext uri="{FF2B5EF4-FFF2-40B4-BE49-F238E27FC236}">
                  <a16:creationId xmlns:a16="http://schemas.microsoft.com/office/drawing/2014/main" id="{065582A7-458B-44C7-B2ED-A0A71EB44A81}"/>
                </a:ext>
              </a:extLst>
            </p:cNvPr>
            <p:cNvSpPr/>
            <p:nvPr/>
          </p:nvSpPr>
          <p:spPr bwMode="gray">
            <a:xfrm>
              <a:off x="10575956" y="879431"/>
              <a:ext cx="125341" cy="125550"/>
            </a:xfrm>
            <a:custGeom>
              <a:avLst/>
              <a:gdLst>
                <a:gd name="connsiteX0" fmla="*/ 66276 w 125341"/>
                <a:gd name="connsiteY0" fmla="*/ 125324 h 125550"/>
                <a:gd name="connsiteX1" fmla="*/ -399 w 125341"/>
                <a:gd name="connsiteY1" fmla="*/ 61221 h 125550"/>
                <a:gd name="connsiteX2" fmla="*/ 61990 w 125341"/>
                <a:gd name="connsiteY2" fmla="*/ 70 h 125550"/>
                <a:gd name="connsiteX3" fmla="*/ 124664 w 125341"/>
                <a:gd name="connsiteY3" fmla="*/ 51143 h 125550"/>
                <a:gd name="connsiteX4" fmla="*/ 124855 w 125341"/>
                <a:gd name="connsiteY4" fmla="*/ 59697 h 125550"/>
                <a:gd name="connsiteX5" fmla="*/ 66276 w 125341"/>
                <a:gd name="connsiteY5" fmla="*/ 125324 h 12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41" h="125550">
                  <a:moveTo>
                    <a:pt x="66276" y="125324"/>
                  </a:moveTo>
                  <a:cubicBezTo>
                    <a:pt x="30652" y="124781"/>
                    <a:pt x="1506" y="96777"/>
                    <a:pt x="-399" y="61221"/>
                  </a:cubicBezTo>
                  <a:cubicBezTo>
                    <a:pt x="-1447" y="26645"/>
                    <a:pt x="24462" y="1213"/>
                    <a:pt x="61990" y="70"/>
                  </a:cubicBezTo>
                  <a:cubicBezTo>
                    <a:pt x="93423" y="-3121"/>
                    <a:pt x="121426" y="19739"/>
                    <a:pt x="124664" y="51143"/>
                  </a:cubicBezTo>
                  <a:cubicBezTo>
                    <a:pt x="124950" y="53981"/>
                    <a:pt x="124950" y="56848"/>
                    <a:pt x="124855" y="59697"/>
                  </a:cubicBezTo>
                  <a:cubicBezTo>
                    <a:pt x="125141" y="97034"/>
                    <a:pt x="100471" y="124562"/>
                    <a:pt x="66276" y="125324"/>
                  </a:cubicBezTo>
                  <a:close/>
                </a:path>
              </a:pathLst>
            </a:custGeom>
            <a:solidFill>
              <a:srgbClr val="000000"/>
            </a:solidFill>
            <a:ln w="9525" cap="flat">
              <a:noFill/>
              <a:prstDash val="solid"/>
              <a:miter/>
            </a:ln>
          </p:spPr>
          <p:txBody>
            <a:bodyPr rtlCol="0" anchor="ctr"/>
            <a:lstStyle/>
            <a:p>
              <a:endParaRPr lang="de-DE"/>
            </a:p>
          </p:txBody>
        </p:sp>
        <p:sp>
          <p:nvSpPr>
            <p:cNvPr id="20" name="Grafik 2">
              <a:extLst>
                <a:ext uri="{FF2B5EF4-FFF2-40B4-BE49-F238E27FC236}">
                  <a16:creationId xmlns:a16="http://schemas.microsoft.com/office/drawing/2014/main" id="{68C387AF-DD15-4EB9-9D96-0B46DB75A014}"/>
                </a:ext>
              </a:extLst>
            </p:cNvPr>
            <p:cNvSpPr/>
            <p:nvPr/>
          </p:nvSpPr>
          <p:spPr bwMode="gray">
            <a:xfrm>
              <a:off x="9543001" y="1086080"/>
              <a:ext cx="125480" cy="125345"/>
            </a:xfrm>
            <a:custGeom>
              <a:avLst/>
              <a:gdLst>
                <a:gd name="connsiteX0" fmla="*/ 65388 w 125480"/>
                <a:gd name="connsiteY0" fmla="*/ -172 h 125345"/>
                <a:gd name="connsiteX1" fmla="*/ 125015 w 125480"/>
                <a:gd name="connsiteY1" fmla="*/ 54426 h 125345"/>
                <a:gd name="connsiteX2" fmla="*/ 124729 w 125480"/>
                <a:gd name="connsiteY2" fmla="*/ 62884 h 125345"/>
                <a:gd name="connsiteX3" fmla="*/ 63387 w 125480"/>
                <a:gd name="connsiteY3" fmla="*/ 125082 h 125345"/>
                <a:gd name="connsiteX4" fmla="*/ -430 w 125480"/>
                <a:gd name="connsiteY4" fmla="*/ 57740 h 125345"/>
                <a:gd name="connsiteX5" fmla="*/ 65388 w 125480"/>
                <a:gd name="connsiteY5" fmla="*/ -172 h 12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480" h="125345">
                  <a:moveTo>
                    <a:pt x="65388" y="-172"/>
                  </a:moveTo>
                  <a:cubicBezTo>
                    <a:pt x="96915" y="-1553"/>
                    <a:pt x="123586" y="22888"/>
                    <a:pt x="125015" y="54426"/>
                  </a:cubicBezTo>
                  <a:cubicBezTo>
                    <a:pt x="125110" y="57245"/>
                    <a:pt x="125015" y="60074"/>
                    <a:pt x="124729" y="62884"/>
                  </a:cubicBezTo>
                  <a:cubicBezTo>
                    <a:pt x="123490" y="100317"/>
                    <a:pt x="97963" y="126225"/>
                    <a:pt x="63387" y="125082"/>
                  </a:cubicBezTo>
                  <a:cubicBezTo>
                    <a:pt x="27668" y="123015"/>
                    <a:pt x="-335" y="93526"/>
                    <a:pt x="-430" y="57740"/>
                  </a:cubicBezTo>
                  <a:cubicBezTo>
                    <a:pt x="427" y="23641"/>
                    <a:pt x="28145" y="-648"/>
                    <a:pt x="65388" y="-172"/>
                  </a:cubicBezTo>
                  <a:close/>
                </a:path>
              </a:pathLst>
            </a:custGeom>
            <a:solidFill>
              <a:srgbClr val="000000"/>
            </a:solidFill>
            <a:ln w="9525" cap="flat">
              <a:noFill/>
              <a:prstDash val="solid"/>
              <a:miter/>
            </a:ln>
          </p:spPr>
          <p:txBody>
            <a:bodyPr rtlCol="0" anchor="ctr"/>
            <a:lstStyle/>
            <a:p>
              <a:endParaRPr lang="de-DE"/>
            </a:p>
          </p:txBody>
        </p:sp>
        <p:sp>
          <p:nvSpPr>
            <p:cNvPr id="21" name="Grafik 2">
              <a:extLst>
                <a:ext uri="{FF2B5EF4-FFF2-40B4-BE49-F238E27FC236}">
                  <a16:creationId xmlns:a16="http://schemas.microsoft.com/office/drawing/2014/main" id="{B5A7650A-305C-402E-8938-EC93B39A3657}"/>
                </a:ext>
              </a:extLst>
            </p:cNvPr>
            <p:cNvSpPr/>
            <p:nvPr/>
          </p:nvSpPr>
          <p:spPr bwMode="gray">
            <a:xfrm>
              <a:off x="9749673" y="1085987"/>
              <a:ext cx="125183" cy="125496"/>
            </a:xfrm>
            <a:custGeom>
              <a:avLst/>
              <a:gdLst>
                <a:gd name="connsiteX0" fmla="*/ 124654 w 125183"/>
                <a:gd name="connsiteY0" fmla="*/ 59928 h 125496"/>
                <a:gd name="connsiteX1" fmla="*/ 66266 w 125183"/>
                <a:gd name="connsiteY1" fmla="*/ 125269 h 125496"/>
                <a:gd name="connsiteX2" fmla="*/ -409 w 125183"/>
                <a:gd name="connsiteY2" fmla="*/ 60881 h 125496"/>
                <a:gd name="connsiteX3" fmla="*/ 62361 w 125183"/>
                <a:gd name="connsiteY3" fmla="*/ 16 h 125496"/>
                <a:gd name="connsiteX4" fmla="*/ 124464 w 125183"/>
                <a:gd name="connsiteY4" fmla="*/ 51708 h 125496"/>
                <a:gd name="connsiteX5" fmla="*/ 124654 w 125183"/>
                <a:gd name="connsiteY5" fmla="*/ 59928 h 125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183" h="125496">
                  <a:moveTo>
                    <a:pt x="124654" y="59928"/>
                  </a:moveTo>
                  <a:cubicBezTo>
                    <a:pt x="124654" y="97266"/>
                    <a:pt x="100461" y="124698"/>
                    <a:pt x="66266" y="125269"/>
                  </a:cubicBezTo>
                  <a:cubicBezTo>
                    <a:pt x="30547" y="124622"/>
                    <a:pt x="1496" y="96514"/>
                    <a:pt x="-409" y="60881"/>
                  </a:cubicBezTo>
                  <a:cubicBezTo>
                    <a:pt x="-1266" y="26305"/>
                    <a:pt x="24832" y="1064"/>
                    <a:pt x="62361" y="16"/>
                  </a:cubicBezTo>
                  <a:cubicBezTo>
                    <a:pt x="93793" y="-2870"/>
                    <a:pt x="121606" y="20276"/>
                    <a:pt x="124464" y="51708"/>
                  </a:cubicBezTo>
                  <a:cubicBezTo>
                    <a:pt x="124749" y="54442"/>
                    <a:pt x="124845" y="57185"/>
                    <a:pt x="124654" y="59928"/>
                  </a:cubicBezTo>
                  <a:close/>
                </a:path>
              </a:pathLst>
            </a:custGeom>
            <a:solidFill>
              <a:srgbClr val="000000"/>
            </a:solidFill>
            <a:ln w="9525" cap="flat">
              <a:noFill/>
              <a:prstDash val="solid"/>
              <a:miter/>
            </a:ln>
          </p:spPr>
          <p:txBody>
            <a:bodyPr rtlCol="0" anchor="ctr"/>
            <a:lstStyle/>
            <a:p>
              <a:endParaRPr lang="de-DE"/>
            </a:p>
          </p:txBody>
        </p:sp>
        <p:sp>
          <p:nvSpPr>
            <p:cNvPr id="22" name="Grafik 2">
              <a:extLst>
                <a:ext uri="{FF2B5EF4-FFF2-40B4-BE49-F238E27FC236}">
                  <a16:creationId xmlns:a16="http://schemas.microsoft.com/office/drawing/2014/main" id="{7343D96D-99B0-4AE6-A1B6-6F4CFD9EB197}"/>
                </a:ext>
              </a:extLst>
            </p:cNvPr>
            <p:cNvSpPr/>
            <p:nvPr/>
          </p:nvSpPr>
          <p:spPr bwMode="gray">
            <a:xfrm>
              <a:off x="9956064" y="1086009"/>
              <a:ext cx="125326" cy="125475"/>
            </a:xfrm>
            <a:custGeom>
              <a:avLst/>
              <a:gdLst>
                <a:gd name="connsiteX0" fmla="*/ 124861 w 125326"/>
                <a:gd name="connsiteY0" fmla="*/ 59430 h 125475"/>
                <a:gd name="connsiteX1" fmla="*/ 66854 w 125326"/>
                <a:gd name="connsiteY1" fmla="*/ 125248 h 125475"/>
                <a:gd name="connsiteX2" fmla="*/ -393 w 125326"/>
                <a:gd name="connsiteY2" fmla="*/ 61431 h 125475"/>
                <a:gd name="connsiteX3" fmla="*/ 61805 w 125326"/>
                <a:gd name="connsiteY3" fmla="*/ 90 h 125475"/>
                <a:gd name="connsiteX4" fmla="*/ 124574 w 125326"/>
                <a:gd name="connsiteY4" fmla="*/ 50972 h 125475"/>
                <a:gd name="connsiteX5" fmla="*/ 124861 w 125326"/>
                <a:gd name="connsiteY5" fmla="*/ 59430 h 125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26" h="125475">
                  <a:moveTo>
                    <a:pt x="124861" y="59430"/>
                  </a:moveTo>
                  <a:cubicBezTo>
                    <a:pt x="124861" y="96673"/>
                    <a:pt x="100953" y="124296"/>
                    <a:pt x="66854" y="125248"/>
                  </a:cubicBezTo>
                  <a:cubicBezTo>
                    <a:pt x="31135" y="125010"/>
                    <a:pt x="1702" y="97092"/>
                    <a:pt x="-393" y="61431"/>
                  </a:cubicBezTo>
                  <a:cubicBezTo>
                    <a:pt x="-1536" y="26855"/>
                    <a:pt x="24276" y="1328"/>
                    <a:pt x="61805" y="90"/>
                  </a:cubicBezTo>
                  <a:cubicBezTo>
                    <a:pt x="93237" y="-3206"/>
                    <a:pt x="121336" y="19578"/>
                    <a:pt x="124574" y="50972"/>
                  </a:cubicBezTo>
                  <a:cubicBezTo>
                    <a:pt x="124861" y="53782"/>
                    <a:pt x="124956" y="56611"/>
                    <a:pt x="124861" y="59430"/>
                  </a:cubicBezTo>
                  <a:close/>
                </a:path>
              </a:pathLst>
            </a:custGeom>
            <a:solidFill>
              <a:srgbClr val="000000"/>
            </a:solidFill>
            <a:ln w="9525" cap="flat">
              <a:noFill/>
              <a:prstDash val="solid"/>
              <a:miter/>
            </a:ln>
          </p:spPr>
          <p:txBody>
            <a:bodyPr rtlCol="0" anchor="ctr"/>
            <a:lstStyle/>
            <a:p>
              <a:endParaRPr lang="de-DE"/>
            </a:p>
          </p:txBody>
        </p:sp>
        <p:sp>
          <p:nvSpPr>
            <p:cNvPr id="23" name="Grafik 2">
              <a:extLst>
                <a:ext uri="{FF2B5EF4-FFF2-40B4-BE49-F238E27FC236}">
                  <a16:creationId xmlns:a16="http://schemas.microsoft.com/office/drawing/2014/main" id="{32565A16-D1B6-4160-8518-647C05EE94B0}"/>
                </a:ext>
              </a:extLst>
            </p:cNvPr>
            <p:cNvSpPr/>
            <p:nvPr/>
          </p:nvSpPr>
          <p:spPr bwMode="gray">
            <a:xfrm>
              <a:off x="10162508" y="1086077"/>
              <a:ext cx="125396" cy="125408"/>
            </a:xfrm>
            <a:custGeom>
              <a:avLst/>
              <a:gdLst>
                <a:gd name="connsiteX0" fmla="*/ 65102 w 125396"/>
                <a:gd name="connsiteY0" fmla="*/ 125180 h 125408"/>
                <a:gd name="connsiteX1" fmla="*/ -430 w 125396"/>
                <a:gd name="connsiteY1" fmla="*/ 59458 h 125408"/>
                <a:gd name="connsiteX2" fmla="*/ 63673 w 125396"/>
                <a:gd name="connsiteY2" fmla="*/ -73 h 125408"/>
                <a:gd name="connsiteX3" fmla="*/ 124824 w 125396"/>
                <a:gd name="connsiteY3" fmla="*/ 52771 h 125408"/>
                <a:gd name="connsiteX4" fmla="*/ 124824 w 125396"/>
                <a:gd name="connsiteY4" fmla="*/ 61172 h 125408"/>
                <a:gd name="connsiteX5" fmla="*/ 65102 w 125396"/>
                <a:gd name="connsiteY5" fmla="*/ 125180 h 12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96" h="125408">
                  <a:moveTo>
                    <a:pt x="65102" y="125180"/>
                  </a:moveTo>
                  <a:cubicBezTo>
                    <a:pt x="29383" y="123895"/>
                    <a:pt x="713" y="95186"/>
                    <a:pt x="-430" y="59458"/>
                  </a:cubicBezTo>
                  <a:cubicBezTo>
                    <a:pt x="-430" y="25073"/>
                    <a:pt x="26239" y="212"/>
                    <a:pt x="63673" y="-73"/>
                  </a:cubicBezTo>
                  <a:cubicBezTo>
                    <a:pt x="95105" y="-2369"/>
                    <a:pt x="122537" y="21291"/>
                    <a:pt x="124824" y="52771"/>
                  </a:cubicBezTo>
                  <a:cubicBezTo>
                    <a:pt x="125014" y="55562"/>
                    <a:pt x="125014" y="58372"/>
                    <a:pt x="124824" y="61172"/>
                  </a:cubicBezTo>
                  <a:cubicBezTo>
                    <a:pt x="124443" y="98701"/>
                    <a:pt x="99487" y="125371"/>
                    <a:pt x="65102" y="125180"/>
                  </a:cubicBezTo>
                  <a:close/>
                </a:path>
              </a:pathLst>
            </a:custGeom>
            <a:solidFill>
              <a:srgbClr val="000000"/>
            </a:solidFill>
            <a:ln w="9525" cap="flat">
              <a:noFill/>
              <a:prstDash val="solid"/>
              <a:miter/>
            </a:ln>
          </p:spPr>
          <p:txBody>
            <a:bodyPr rtlCol="0" anchor="ctr"/>
            <a:lstStyle/>
            <a:p>
              <a:endParaRPr lang="de-DE"/>
            </a:p>
          </p:txBody>
        </p:sp>
        <p:sp>
          <p:nvSpPr>
            <p:cNvPr id="24" name="Grafik 2">
              <a:extLst>
                <a:ext uri="{FF2B5EF4-FFF2-40B4-BE49-F238E27FC236}">
                  <a16:creationId xmlns:a16="http://schemas.microsoft.com/office/drawing/2014/main" id="{782299A4-C99F-4BF6-AC18-FE4D9F1B3BD5}"/>
                </a:ext>
              </a:extLst>
            </p:cNvPr>
            <p:cNvSpPr/>
            <p:nvPr/>
          </p:nvSpPr>
          <p:spPr bwMode="gray">
            <a:xfrm>
              <a:off x="10368633" y="1086048"/>
              <a:ext cx="125663" cy="125155"/>
            </a:xfrm>
            <a:custGeom>
              <a:avLst/>
              <a:gdLst>
                <a:gd name="connsiteX0" fmla="*/ 125200 w 125663"/>
                <a:gd name="connsiteY0" fmla="*/ 58248 h 125155"/>
                <a:gd name="connsiteX1" fmla="*/ 68050 w 125663"/>
                <a:gd name="connsiteY1" fmla="*/ 124923 h 125155"/>
                <a:gd name="connsiteX2" fmla="*/ -339 w 125663"/>
                <a:gd name="connsiteY2" fmla="*/ 62249 h 125155"/>
                <a:gd name="connsiteX3" fmla="*/ 60715 w 125663"/>
                <a:gd name="connsiteY3" fmla="*/ -140 h 125155"/>
                <a:gd name="connsiteX4" fmla="*/ 125200 w 125663"/>
                <a:gd name="connsiteY4" fmla="*/ 58248 h 125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63" h="125155">
                  <a:moveTo>
                    <a:pt x="125200" y="58248"/>
                  </a:moveTo>
                  <a:cubicBezTo>
                    <a:pt x="126247" y="95682"/>
                    <a:pt x="102530" y="123590"/>
                    <a:pt x="68050" y="124923"/>
                  </a:cubicBezTo>
                  <a:cubicBezTo>
                    <a:pt x="32236" y="125371"/>
                    <a:pt x="2327" y="97920"/>
                    <a:pt x="-339" y="62249"/>
                  </a:cubicBezTo>
                  <a:cubicBezTo>
                    <a:pt x="-2150" y="27578"/>
                    <a:pt x="23283" y="1575"/>
                    <a:pt x="60715" y="-140"/>
                  </a:cubicBezTo>
                  <a:cubicBezTo>
                    <a:pt x="98149" y="-1855"/>
                    <a:pt x="124152" y="21768"/>
                    <a:pt x="125200" y="58248"/>
                  </a:cubicBezTo>
                  <a:close/>
                </a:path>
              </a:pathLst>
            </a:custGeom>
            <a:solidFill>
              <a:srgbClr val="000000"/>
            </a:solidFill>
            <a:ln w="9525" cap="flat">
              <a:noFill/>
              <a:prstDash val="solid"/>
              <a:miter/>
            </a:ln>
          </p:spPr>
          <p:txBody>
            <a:bodyPr rtlCol="0" anchor="ctr"/>
            <a:lstStyle/>
            <a:p>
              <a:endParaRPr lang="de-DE"/>
            </a:p>
          </p:txBody>
        </p:sp>
        <p:sp>
          <p:nvSpPr>
            <p:cNvPr id="25" name="Grafik 2">
              <a:extLst>
                <a:ext uri="{FF2B5EF4-FFF2-40B4-BE49-F238E27FC236}">
                  <a16:creationId xmlns:a16="http://schemas.microsoft.com/office/drawing/2014/main" id="{C811CAA0-78F2-493D-A1DD-B6688CDCAFB3}"/>
                </a:ext>
              </a:extLst>
            </p:cNvPr>
            <p:cNvSpPr/>
            <p:nvPr/>
          </p:nvSpPr>
          <p:spPr bwMode="gray">
            <a:xfrm>
              <a:off x="10575862" y="1085971"/>
              <a:ext cx="125054" cy="125513"/>
            </a:xfrm>
            <a:custGeom>
              <a:avLst/>
              <a:gdLst>
                <a:gd name="connsiteX0" fmla="*/ 124568 w 125054"/>
                <a:gd name="connsiteY0" fmla="*/ 59754 h 125513"/>
                <a:gd name="connsiteX1" fmla="*/ 66276 w 125054"/>
                <a:gd name="connsiteY1" fmla="*/ 125286 h 125513"/>
                <a:gd name="connsiteX2" fmla="*/ -399 w 125054"/>
                <a:gd name="connsiteY2" fmla="*/ 61087 h 125513"/>
                <a:gd name="connsiteX3" fmla="*/ 62084 w 125054"/>
                <a:gd name="connsiteY3" fmla="*/ 32 h 125513"/>
                <a:gd name="connsiteX4" fmla="*/ 124378 w 125054"/>
                <a:gd name="connsiteY4" fmla="*/ 51524 h 125513"/>
                <a:gd name="connsiteX5" fmla="*/ 124568 w 125054"/>
                <a:gd name="connsiteY5" fmla="*/ 59754 h 12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054" h="125513">
                  <a:moveTo>
                    <a:pt x="124568" y="59754"/>
                  </a:moveTo>
                  <a:cubicBezTo>
                    <a:pt x="124568" y="97187"/>
                    <a:pt x="100470" y="124619"/>
                    <a:pt x="66276" y="125286"/>
                  </a:cubicBezTo>
                  <a:cubicBezTo>
                    <a:pt x="30651" y="124686"/>
                    <a:pt x="1505" y="96663"/>
                    <a:pt x="-399" y="61087"/>
                  </a:cubicBezTo>
                  <a:cubicBezTo>
                    <a:pt x="-1448" y="26512"/>
                    <a:pt x="24650" y="1080"/>
                    <a:pt x="62084" y="32"/>
                  </a:cubicBezTo>
                  <a:cubicBezTo>
                    <a:pt x="93517" y="-2949"/>
                    <a:pt x="121424" y="20101"/>
                    <a:pt x="124378" y="51524"/>
                  </a:cubicBezTo>
                  <a:cubicBezTo>
                    <a:pt x="124663" y="54258"/>
                    <a:pt x="124663" y="57011"/>
                    <a:pt x="124568" y="59754"/>
                  </a:cubicBezTo>
                  <a:close/>
                </a:path>
              </a:pathLst>
            </a:custGeom>
            <a:solidFill>
              <a:srgbClr val="000000"/>
            </a:solidFill>
            <a:ln w="9525" cap="flat">
              <a:noFill/>
              <a:prstDash val="solid"/>
              <a:miter/>
            </a:ln>
          </p:spPr>
          <p:txBody>
            <a:bodyPr rtlCol="0" anchor="ctr"/>
            <a:lstStyle/>
            <a:p>
              <a:endParaRPr lang="de-DE"/>
            </a:p>
          </p:txBody>
        </p:sp>
        <p:sp>
          <p:nvSpPr>
            <p:cNvPr id="26" name="Grafik 2">
              <a:extLst>
                <a:ext uri="{FF2B5EF4-FFF2-40B4-BE49-F238E27FC236}">
                  <a16:creationId xmlns:a16="http://schemas.microsoft.com/office/drawing/2014/main" id="{BB7B37A5-9DA5-4B0B-9037-4075208ADDE5}"/>
                </a:ext>
              </a:extLst>
            </p:cNvPr>
            <p:cNvSpPr/>
            <p:nvPr/>
          </p:nvSpPr>
          <p:spPr bwMode="gray">
            <a:xfrm>
              <a:off x="9543001" y="1292597"/>
              <a:ext cx="125396" cy="125391"/>
            </a:xfrm>
            <a:custGeom>
              <a:avLst/>
              <a:gdLst>
                <a:gd name="connsiteX0" fmla="*/ 63959 w 125396"/>
                <a:gd name="connsiteY0" fmla="*/ -92 h 125391"/>
                <a:gd name="connsiteX1" fmla="*/ 124824 w 125396"/>
                <a:gd name="connsiteY1" fmla="*/ 53029 h 125391"/>
                <a:gd name="connsiteX2" fmla="*/ 124824 w 125396"/>
                <a:gd name="connsiteY2" fmla="*/ 61440 h 125391"/>
                <a:gd name="connsiteX3" fmla="*/ 64816 w 125396"/>
                <a:gd name="connsiteY3" fmla="*/ 125162 h 125391"/>
                <a:gd name="connsiteX4" fmla="*/ -430 w 125396"/>
                <a:gd name="connsiteY4" fmla="*/ 59153 h 125391"/>
                <a:gd name="connsiteX5" fmla="*/ 63959 w 125396"/>
                <a:gd name="connsiteY5" fmla="*/ -92 h 1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96" h="125391">
                  <a:moveTo>
                    <a:pt x="63959" y="-92"/>
                  </a:moveTo>
                  <a:cubicBezTo>
                    <a:pt x="95486" y="-2245"/>
                    <a:pt x="122729" y="21539"/>
                    <a:pt x="124824" y="53029"/>
                  </a:cubicBezTo>
                  <a:cubicBezTo>
                    <a:pt x="125015" y="55829"/>
                    <a:pt x="125015" y="58639"/>
                    <a:pt x="124824" y="61440"/>
                  </a:cubicBezTo>
                  <a:cubicBezTo>
                    <a:pt x="124252" y="98873"/>
                    <a:pt x="99201" y="125448"/>
                    <a:pt x="64816" y="125162"/>
                  </a:cubicBezTo>
                  <a:cubicBezTo>
                    <a:pt x="29097" y="123771"/>
                    <a:pt x="522" y="94901"/>
                    <a:pt x="-430" y="59153"/>
                  </a:cubicBezTo>
                  <a:cubicBezTo>
                    <a:pt x="-430" y="24864"/>
                    <a:pt x="26430" y="99"/>
                    <a:pt x="63959" y="-92"/>
                  </a:cubicBezTo>
                  <a:close/>
                </a:path>
              </a:pathLst>
            </a:custGeom>
            <a:solidFill>
              <a:srgbClr val="000000"/>
            </a:solidFill>
            <a:ln w="9525" cap="flat">
              <a:noFill/>
              <a:prstDash val="solid"/>
              <a:miter/>
            </a:ln>
          </p:spPr>
          <p:txBody>
            <a:bodyPr rtlCol="0" anchor="ctr"/>
            <a:lstStyle/>
            <a:p>
              <a:endParaRPr lang="de-DE"/>
            </a:p>
          </p:txBody>
        </p:sp>
        <p:sp>
          <p:nvSpPr>
            <p:cNvPr id="27" name="Grafik 2">
              <a:extLst>
                <a:ext uri="{FF2B5EF4-FFF2-40B4-BE49-F238E27FC236}">
                  <a16:creationId xmlns:a16="http://schemas.microsoft.com/office/drawing/2014/main" id="{6FD3B801-26A0-4788-BB9A-14A6C89A95C2}"/>
                </a:ext>
              </a:extLst>
            </p:cNvPr>
            <p:cNvSpPr/>
            <p:nvPr/>
          </p:nvSpPr>
          <p:spPr bwMode="gray">
            <a:xfrm>
              <a:off x="9749673" y="1292481"/>
              <a:ext cx="125183" cy="125505"/>
            </a:xfrm>
            <a:custGeom>
              <a:avLst/>
              <a:gdLst>
                <a:gd name="connsiteX0" fmla="*/ 124654 w 125183"/>
                <a:gd name="connsiteY0" fmla="*/ 59936 h 125505"/>
                <a:gd name="connsiteX1" fmla="*/ 66266 w 125183"/>
                <a:gd name="connsiteY1" fmla="*/ 125278 h 125505"/>
                <a:gd name="connsiteX2" fmla="*/ -409 w 125183"/>
                <a:gd name="connsiteY2" fmla="*/ 60984 h 125505"/>
                <a:gd name="connsiteX3" fmla="*/ 62266 w 125183"/>
                <a:gd name="connsiteY3" fmla="*/ 24 h 125505"/>
                <a:gd name="connsiteX4" fmla="*/ 124464 w 125183"/>
                <a:gd name="connsiteY4" fmla="*/ 51611 h 125505"/>
                <a:gd name="connsiteX5" fmla="*/ 124654 w 125183"/>
                <a:gd name="connsiteY5" fmla="*/ 59936 h 125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183" h="125505">
                  <a:moveTo>
                    <a:pt x="124654" y="59936"/>
                  </a:moveTo>
                  <a:cubicBezTo>
                    <a:pt x="124654" y="97179"/>
                    <a:pt x="100461" y="124706"/>
                    <a:pt x="66266" y="125278"/>
                  </a:cubicBezTo>
                  <a:cubicBezTo>
                    <a:pt x="30642" y="124678"/>
                    <a:pt x="1496" y="96598"/>
                    <a:pt x="-409" y="60984"/>
                  </a:cubicBezTo>
                  <a:cubicBezTo>
                    <a:pt x="-1266" y="26408"/>
                    <a:pt x="24737" y="1072"/>
                    <a:pt x="62266" y="24"/>
                  </a:cubicBezTo>
                  <a:cubicBezTo>
                    <a:pt x="93698" y="-2910"/>
                    <a:pt x="121511" y="20179"/>
                    <a:pt x="124464" y="51611"/>
                  </a:cubicBezTo>
                  <a:cubicBezTo>
                    <a:pt x="124749" y="54374"/>
                    <a:pt x="124845" y="57155"/>
                    <a:pt x="124654" y="59936"/>
                  </a:cubicBezTo>
                  <a:close/>
                </a:path>
              </a:pathLst>
            </a:custGeom>
            <a:solidFill>
              <a:srgbClr val="000000"/>
            </a:solidFill>
            <a:ln w="9525" cap="flat">
              <a:noFill/>
              <a:prstDash val="solid"/>
              <a:miter/>
            </a:ln>
          </p:spPr>
          <p:txBody>
            <a:bodyPr rtlCol="0" anchor="ctr"/>
            <a:lstStyle/>
            <a:p>
              <a:endParaRPr lang="de-DE"/>
            </a:p>
          </p:txBody>
        </p:sp>
        <p:sp>
          <p:nvSpPr>
            <p:cNvPr id="28" name="Grafik 2">
              <a:extLst>
                <a:ext uri="{FF2B5EF4-FFF2-40B4-BE49-F238E27FC236}">
                  <a16:creationId xmlns:a16="http://schemas.microsoft.com/office/drawing/2014/main" id="{0F4D18ED-4AFA-4D65-824A-F1239C4EB8FB}"/>
                </a:ext>
              </a:extLst>
            </p:cNvPr>
            <p:cNvSpPr/>
            <p:nvPr/>
          </p:nvSpPr>
          <p:spPr bwMode="gray">
            <a:xfrm>
              <a:off x="9956165" y="1292471"/>
              <a:ext cx="125192" cy="125515"/>
            </a:xfrm>
            <a:custGeom>
              <a:avLst/>
              <a:gdLst>
                <a:gd name="connsiteX0" fmla="*/ 62179 w 125192"/>
                <a:gd name="connsiteY0" fmla="*/ 34 h 125515"/>
                <a:gd name="connsiteX1" fmla="*/ 124473 w 125192"/>
                <a:gd name="connsiteY1" fmla="*/ 51507 h 125515"/>
                <a:gd name="connsiteX2" fmla="*/ 124664 w 125192"/>
                <a:gd name="connsiteY2" fmla="*/ 60041 h 125515"/>
                <a:gd name="connsiteX3" fmla="*/ 66275 w 125192"/>
                <a:gd name="connsiteY3" fmla="*/ 125288 h 125515"/>
                <a:gd name="connsiteX4" fmla="*/ -400 w 125192"/>
                <a:gd name="connsiteY4" fmla="*/ 60899 h 125515"/>
                <a:gd name="connsiteX5" fmla="*/ 62179 w 125192"/>
                <a:gd name="connsiteY5" fmla="*/ 34 h 12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192" h="125515">
                  <a:moveTo>
                    <a:pt x="62179" y="34"/>
                  </a:moveTo>
                  <a:cubicBezTo>
                    <a:pt x="93612" y="-2957"/>
                    <a:pt x="121521" y="20084"/>
                    <a:pt x="124473" y="51507"/>
                  </a:cubicBezTo>
                  <a:cubicBezTo>
                    <a:pt x="124759" y="54346"/>
                    <a:pt x="124854" y="57193"/>
                    <a:pt x="124664" y="60041"/>
                  </a:cubicBezTo>
                  <a:cubicBezTo>
                    <a:pt x="124664" y="97379"/>
                    <a:pt x="100375" y="124716"/>
                    <a:pt x="66275" y="125288"/>
                  </a:cubicBezTo>
                  <a:cubicBezTo>
                    <a:pt x="30557" y="124640"/>
                    <a:pt x="1505" y="96532"/>
                    <a:pt x="-400" y="60899"/>
                  </a:cubicBezTo>
                  <a:cubicBezTo>
                    <a:pt x="-1447" y="26323"/>
                    <a:pt x="24651" y="1082"/>
                    <a:pt x="62179" y="34"/>
                  </a:cubicBezTo>
                  <a:close/>
                </a:path>
              </a:pathLst>
            </a:custGeom>
            <a:solidFill>
              <a:srgbClr val="000000"/>
            </a:solidFill>
            <a:ln w="9525" cap="flat">
              <a:noFill/>
              <a:prstDash val="solid"/>
              <a:miter/>
            </a:ln>
          </p:spPr>
          <p:txBody>
            <a:bodyPr rtlCol="0" anchor="ctr"/>
            <a:lstStyle/>
            <a:p>
              <a:endParaRPr lang="de-DE"/>
            </a:p>
          </p:txBody>
        </p:sp>
        <p:sp>
          <p:nvSpPr>
            <p:cNvPr id="29" name="Grafik 2">
              <a:extLst>
                <a:ext uri="{FF2B5EF4-FFF2-40B4-BE49-F238E27FC236}">
                  <a16:creationId xmlns:a16="http://schemas.microsoft.com/office/drawing/2014/main" id="{0BD60917-315E-4DB3-96BE-FC863DF8F965}"/>
                </a:ext>
              </a:extLst>
            </p:cNvPr>
            <p:cNvSpPr/>
            <p:nvPr/>
          </p:nvSpPr>
          <p:spPr bwMode="gray">
            <a:xfrm>
              <a:off x="10162508" y="1292852"/>
              <a:ext cx="125500" cy="125069"/>
            </a:xfrm>
            <a:custGeom>
              <a:avLst/>
              <a:gdLst>
                <a:gd name="connsiteX0" fmla="*/ 124824 w 125500"/>
                <a:gd name="connsiteY0" fmla="*/ 62328 h 125069"/>
                <a:gd name="connsiteX1" fmla="*/ 63768 w 125500"/>
                <a:gd name="connsiteY1" fmla="*/ 124812 h 125069"/>
                <a:gd name="connsiteX2" fmla="*/ -430 w 125500"/>
                <a:gd name="connsiteY2" fmla="*/ 58137 h 125069"/>
                <a:gd name="connsiteX3" fmla="*/ 65102 w 125500"/>
                <a:gd name="connsiteY3" fmla="*/ -156 h 125069"/>
                <a:gd name="connsiteX4" fmla="*/ 125014 w 125500"/>
                <a:gd name="connsiteY4" fmla="*/ 54098 h 125069"/>
                <a:gd name="connsiteX5" fmla="*/ 124824 w 125500"/>
                <a:gd name="connsiteY5" fmla="*/ 62328 h 12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00" h="125069">
                  <a:moveTo>
                    <a:pt x="124824" y="62328"/>
                  </a:moveTo>
                  <a:cubicBezTo>
                    <a:pt x="123680" y="99856"/>
                    <a:pt x="98344" y="125860"/>
                    <a:pt x="63768" y="124812"/>
                  </a:cubicBezTo>
                  <a:cubicBezTo>
                    <a:pt x="28145" y="122964"/>
                    <a:pt x="46" y="93798"/>
                    <a:pt x="-430" y="58137"/>
                  </a:cubicBezTo>
                  <a:cubicBezTo>
                    <a:pt x="236" y="23942"/>
                    <a:pt x="27668" y="-442"/>
                    <a:pt x="65102" y="-156"/>
                  </a:cubicBezTo>
                  <a:cubicBezTo>
                    <a:pt x="96629" y="-1718"/>
                    <a:pt x="123490" y="22570"/>
                    <a:pt x="125014" y="54098"/>
                  </a:cubicBezTo>
                  <a:cubicBezTo>
                    <a:pt x="125109" y="56842"/>
                    <a:pt x="125109" y="59594"/>
                    <a:pt x="124824" y="62328"/>
                  </a:cubicBezTo>
                  <a:close/>
                </a:path>
              </a:pathLst>
            </a:custGeom>
            <a:solidFill>
              <a:srgbClr val="000000"/>
            </a:solidFill>
            <a:ln w="9525" cap="flat">
              <a:noFill/>
              <a:prstDash val="solid"/>
              <a:miter/>
            </a:ln>
          </p:spPr>
          <p:txBody>
            <a:bodyPr rtlCol="0" anchor="ctr"/>
            <a:lstStyle/>
            <a:p>
              <a:endParaRPr lang="de-DE"/>
            </a:p>
          </p:txBody>
        </p:sp>
        <p:sp>
          <p:nvSpPr>
            <p:cNvPr id="30" name="Grafik 2">
              <a:extLst>
                <a:ext uri="{FF2B5EF4-FFF2-40B4-BE49-F238E27FC236}">
                  <a16:creationId xmlns:a16="http://schemas.microsoft.com/office/drawing/2014/main" id="{5F997F31-EE66-4990-ACFC-740F177E1520}"/>
                </a:ext>
              </a:extLst>
            </p:cNvPr>
            <p:cNvSpPr/>
            <p:nvPr/>
          </p:nvSpPr>
          <p:spPr bwMode="gray">
            <a:xfrm>
              <a:off x="9542706" y="466480"/>
              <a:ext cx="125653" cy="125498"/>
            </a:xfrm>
            <a:custGeom>
              <a:avLst/>
              <a:gdLst>
                <a:gd name="connsiteX0" fmla="*/ 125119 w 125653"/>
                <a:gd name="connsiteY0" fmla="*/ 60406 h 125498"/>
                <a:gd name="connsiteX1" fmla="*/ 66254 w 125653"/>
                <a:gd name="connsiteY1" fmla="*/ 125271 h 125498"/>
                <a:gd name="connsiteX2" fmla="*/ -421 w 125653"/>
                <a:gd name="connsiteY2" fmla="*/ 60406 h 125498"/>
                <a:gd name="connsiteX3" fmla="*/ 62825 w 125653"/>
                <a:gd name="connsiteY3" fmla="*/ 17 h 125498"/>
                <a:gd name="connsiteX4" fmla="*/ 125024 w 125653"/>
                <a:gd name="connsiteY4" fmla="*/ 51672 h 125498"/>
                <a:gd name="connsiteX5" fmla="*/ 125119 w 125653"/>
                <a:gd name="connsiteY5" fmla="*/ 60406 h 12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53" h="125498">
                  <a:moveTo>
                    <a:pt x="125119" y="60406"/>
                  </a:moveTo>
                  <a:cubicBezTo>
                    <a:pt x="125119" y="97744"/>
                    <a:pt x="100450" y="124986"/>
                    <a:pt x="66254" y="125271"/>
                  </a:cubicBezTo>
                  <a:cubicBezTo>
                    <a:pt x="30345" y="124652"/>
                    <a:pt x="1199" y="96249"/>
                    <a:pt x="-421" y="60406"/>
                  </a:cubicBezTo>
                  <a:cubicBezTo>
                    <a:pt x="-992" y="25925"/>
                    <a:pt x="25393" y="779"/>
                    <a:pt x="62825" y="17"/>
                  </a:cubicBezTo>
                  <a:cubicBezTo>
                    <a:pt x="94258" y="-2878"/>
                    <a:pt x="122070" y="20248"/>
                    <a:pt x="125024" y="51672"/>
                  </a:cubicBezTo>
                  <a:cubicBezTo>
                    <a:pt x="125214" y="54577"/>
                    <a:pt x="125310" y="57501"/>
                    <a:pt x="125119" y="60406"/>
                  </a:cubicBezTo>
                  <a:close/>
                </a:path>
              </a:pathLst>
            </a:custGeom>
            <a:solidFill>
              <a:srgbClr val="000000"/>
            </a:solidFill>
            <a:ln w="9525" cap="flat">
              <a:noFill/>
              <a:prstDash val="solid"/>
              <a:miter/>
            </a:ln>
          </p:spPr>
          <p:txBody>
            <a:bodyPr rtlCol="0" anchor="ctr"/>
            <a:lstStyle/>
            <a:p>
              <a:endParaRPr lang="de-DE"/>
            </a:p>
          </p:txBody>
        </p:sp>
        <p:sp>
          <p:nvSpPr>
            <p:cNvPr id="31" name="Grafik 2">
              <a:extLst>
                <a:ext uri="{FF2B5EF4-FFF2-40B4-BE49-F238E27FC236}">
                  <a16:creationId xmlns:a16="http://schemas.microsoft.com/office/drawing/2014/main" id="{86F2DF1E-E9F8-46E5-9FA9-42FF5FA5A26F}"/>
                </a:ext>
              </a:extLst>
            </p:cNvPr>
            <p:cNvSpPr/>
            <p:nvPr/>
          </p:nvSpPr>
          <p:spPr bwMode="gray">
            <a:xfrm>
              <a:off x="10575511" y="1292751"/>
              <a:ext cx="125500" cy="125165"/>
            </a:xfrm>
            <a:custGeom>
              <a:avLst/>
              <a:gdLst>
                <a:gd name="connsiteX0" fmla="*/ 124824 w 125500"/>
                <a:gd name="connsiteY0" fmla="*/ 62333 h 125165"/>
                <a:gd name="connsiteX1" fmla="*/ 63864 w 125500"/>
                <a:gd name="connsiteY1" fmla="*/ 124913 h 125165"/>
                <a:gd name="connsiteX2" fmla="*/ -430 w 125500"/>
                <a:gd name="connsiteY2" fmla="*/ 58238 h 125165"/>
                <a:gd name="connsiteX3" fmla="*/ 65007 w 125500"/>
                <a:gd name="connsiteY3" fmla="*/ -151 h 125165"/>
                <a:gd name="connsiteX4" fmla="*/ 125014 w 125500"/>
                <a:gd name="connsiteY4" fmla="*/ 53999 h 125165"/>
                <a:gd name="connsiteX5" fmla="*/ 124824 w 125500"/>
                <a:gd name="connsiteY5" fmla="*/ 62333 h 125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00" h="125165">
                  <a:moveTo>
                    <a:pt x="124824" y="62333"/>
                  </a:moveTo>
                  <a:cubicBezTo>
                    <a:pt x="123776" y="99862"/>
                    <a:pt x="98440" y="125865"/>
                    <a:pt x="63864" y="124913"/>
                  </a:cubicBezTo>
                  <a:cubicBezTo>
                    <a:pt x="28240" y="123112"/>
                    <a:pt x="46" y="93937"/>
                    <a:pt x="-430" y="58238"/>
                  </a:cubicBezTo>
                  <a:cubicBezTo>
                    <a:pt x="236" y="24043"/>
                    <a:pt x="28145" y="-437"/>
                    <a:pt x="65007" y="-151"/>
                  </a:cubicBezTo>
                  <a:cubicBezTo>
                    <a:pt x="96534" y="-1770"/>
                    <a:pt x="123395" y="22481"/>
                    <a:pt x="125014" y="53999"/>
                  </a:cubicBezTo>
                  <a:cubicBezTo>
                    <a:pt x="125109" y="56780"/>
                    <a:pt x="125109" y="59562"/>
                    <a:pt x="124824" y="62333"/>
                  </a:cubicBezTo>
                  <a:close/>
                </a:path>
              </a:pathLst>
            </a:custGeom>
            <a:solidFill>
              <a:srgbClr val="000000"/>
            </a:solidFill>
            <a:ln w="9525" cap="flat">
              <a:noFill/>
              <a:prstDash val="solid"/>
              <a:miter/>
            </a:ln>
          </p:spPr>
          <p:txBody>
            <a:bodyPr rtlCol="0" anchor="ctr"/>
            <a:lstStyle/>
            <a:p>
              <a:endParaRPr lang="de-DE"/>
            </a:p>
          </p:txBody>
        </p:sp>
        <p:sp>
          <p:nvSpPr>
            <p:cNvPr id="32" name="Grafik 2">
              <a:extLst>
                <a:ext uri="{FF2B5EF4-FFF2-40B4-BE49-F238E27FC236}">
                  <a16:creationId xmlns:a16="http://schemas.microsoft.com/office/drawing/2014/main" id="{16816B9D-2629-4C83-8DA2-A8154D6B8964}"/>
                </a:ext>
              </a:extLst>
            </p:cNvPr>
            <p:cNvSpPr/>
            <p:nvPr/>
          </p:nvSpPr>
          <p:spPr bwMode="gray">
            <a:xfrm>
              <a:off x="9749408" y="466232"/>
              <a:ext cx="125576" cy="125752"/>
            </a:xfrm>
            <a:custGeom>
              <a:avLst/>
              <a:gdLst>
                <a:gd name="connsiteX0" fmla="*/ 64530 w 125576"/>
                <a:gd name="connsiteY0" fmla="*/ 125519 h 125752"/>
                <a:gd name="connsiteX1" fmla="*/ -430 w 125576"/>
                <a:gd name="connsiteY1" fmla="*/ 58844 h 125752"/>
                <a:gd name="connsiteX2" fmla="*/ 64435 w 125576"/>
                <a:gd name="connsiteY2" fmla="*/ -116 h 125752"/>
                <a:gd name="connsiteX3" fmla="*/ 125014 w 125576"/>
                <a:gd name="connsiteY3" fmla="*/ 53386 h 125752"/>
                <a:gd name="connsiteX4" fmla="*/ 124918 w 125576"/>
                <a:gd name="connsiteY4" fmla="*/ 61797 h 125752"/>
                <a:gd name="connsiteX5" fmla="*/ 64530 w 125576"/>
                <a:gd name="connsiteY5" fmla="*/ 125519 h 125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76" h="125752">
                  <a:moveTo>
                    <a:pt x="64530" y="125519"/>
                  </a:moveTo>
                  <a:cubicBezTo>
                    <a:pt x="28716" y="123871"/>
                    <a:pt x="236" y="94705"/>
                    <a:pt x="-430" y="58844"/>
                  </a:cubicBezTo>
                  <a:cubicBezTo>
                    <a:pt x="-430" y="24554"/>
                    <a:pt x="27002" y="-116"/>
                    <a:pt x="64435" y="-116"/>
                  </a:cubicBezTo>
                  <a:cubicBezTo>
                    <a:pt x="95963" y="-2069"/>
                    <a:pt x="123014" y="21877"/>
                    <a:pt x="125014" y="53386"/>
                  </a:cubicBezTo>
                  <a:cubicBezTo>
                    <a:pt x="125204" y="56186"/>
                    <a:pt x="125204" y="58996"/>
                    <a:pt x="124918" y="61797"/>
                  </a:cubicBezTo>
                  <a:cubicBezTo>
                    <a:pt x="124157" y="99611"/>
                    <a:pt x="99010" y="125995"/>
                    <a:pt x="64530" y="125519"/>
                  </a:cubicBezTo>
                  <a:close/>
                </a:path>
              </a:pathLst>
            </a:custGeom>
            <a:solidFill>
              <a:srgbClr val="000000"/>
            </a:solidFill>
            <a:ln w="9525" cap="flat">
              <a:noFill/>
              <a:prstDash val="solid"/>
              <a:miter/>
            </a:ln>
          </p:spPr>
          <p:txBody>
            <a:bodyPr rtlCol="0" anchor="ctr"/>
            <a:lstStyle/>
            <a:p>
              <a:endParaRPr lang="de-DE"/>
            </a:p>
          </p:txBody>
        </p:sp>
        <p:sp>
          <p:nvSpPr>
            <p:cNvPr id="33" name="Grafik 2">
              <a:extLst>
                <a:ext uri="{FF2B5EF4-FFF2-40B4-BE49-F238E27FC236}">
                  <a16:creationId xmlns:a16="http://schemas.microsoft.com/office/drawing/2014/main" id="{1794C05D-37E1-4D55-9FEE-9060642BFC69}"/>
                </a:ext>
              </a:extLst>
            </p:cNvPr>
            <p:cNvSpPr/>
            <p:nvPr/>
          </p:nvSpPr>
          <p:spPr bwMode="gray">
            <a:xfrm>
              <a:off x="10162505" y="466550"/>
              <a:ext cx="125398" cy="125428"/>
            </a:xfrm>
            <a:custGeom>
              <a:avLst/>
              <a:gdLst>
                <a:gd name="connsiteX0" fmla="*/ 63389 w 125398"/>
                <a:gd name="connsiteY0" fmla="*/ -52 h 125428"/>
                <a:gd name="connsiteX1" fmla="*/ 124826 w 125398"/>
                <a:gd name="connsiteY1" fmla="*/ 52497 h 125428"/>
                <a:gd name="connsiteX2" fmla="*/ 124826 w 125398"/>
                <a:gd name="connsiteY2" fmla="*/ 60907 h 125428"/>
                <a:gd name="connsiteX3" fmla="*/ 65389 w 125398"/>
                <a:gd name="connsiteY3" fmla="*/ 125201 h 125428"/>
                <a:gd name="connsiteX4" fmla="*/ -428 w 125398"/>
                <a:gd name="connsiteY4" fmla="*/ 59860 h 125428"/>
                <a:gd name="connsiteX5" fmla="*/ 63389 w 125398"/>
                <a:gd name="connsiteY5" fmla="*/ -52 h 125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98" h="125428">
                  <a:moveTo>
                    <a:pt x="63389" y="-52"/>
                  </a:moveTo>
                  <a:cubicBezTo>
                    <a:pt x="94822" y="-2500"/>
                    <a:pt x="122350" y="21036"/>
                    <a:pt x="124826" y="52497"/>
                  </a:cubicBezTo>
                  <a:cubicBezTo>
                    <a:pt x="125016" y="55297"/>
                    <a:pt x="125016" y="58107"/>
                    <a:pt x="124826" y="60907"/>
                  </a:cubicBezTo>
                  <a:cubicBezTo>
                    <a:pt x="124826" y="98341"/>
                    <a:pt x="99775" y="125201"/>
                    <a:pt x="65389" y="125201"/>
                  </a:cubicBezTo>
                  <a:cubicBezTo>
                    <a:pt x="29670" y="124125"/>
                    <a:pt x="906" y="95560"/>
                    <a:pt x="-428" y="59860"/>
                  </a:cubicBezTo>
                  <a:cubicBezTo>
                    <a:pt x="-714" y="25094"/>
                    <a:pt x="25957" y="424"/>
                    <a:pt x="63389" y="-52"/>
                  </a:cubicBezTo>
                  <a:close/>
                </a:path>
              </a:pathLst>
            </a:custGeom>
            <a:solidFill>
              <a:srgbClr val="000000"/>
            </a:solidFill>
            <a:ln w="9525" cap="flat">
              <a:noFill/>
              <a:prstDash val="solid"/>
              <a:miter/>
            </a:ln>
          </p:spPr>
          <p:txBody>
            <a:bodyPr rtlCol="0" anchor="ctr"/>
            <a:lstStyle/>
            <a:p>
              <a:endParaRPr lang="de-DE"/>
            </a:p>
          </p:txBody>
        </p:sp>
        <p:sp>
          <p:nvSpPr>
            <p:cNvPr id="34" name="Grafik 2">
              <a:extLst>
                <a:ext uri="{FF2B5EF4-FFF2-40B4-BE49-F238E27FC236}">
                  <a16:creationId xmlns:a16="http://schemas.microsoft.com/office/drawing/2014/main" id="{770AD233-1D51-419A-AAA0-EFDEE91D642B}"/>
                </a:ext>
              </a:extLst>
            </p:cNvPr>
            <p:cNvSpPr/>
            <p:nvPr/>
          </p:nvSpPr>
          <p:spPr bwMode="gray">
            <a:xfrm>
              <a:off x="10368715" y="466480"/>
              <a:ext cx="125651" cy="125498"/>
            </a:xfrm>
            <a:custGeom>
              <a:avLst/>
              <a:gdLst>
                <a:gd name="connsiteX0" fmla="*/ 125118 w 125651"/>
                <a:gd name="connsiteY0" fmla="*/ 60406 h 125498"/>
                <a:gd name="connsiteX1" fmla="*/ 66254 w 125651"/>
                <a:gd name="connsiteY1" fmla="*/ 125271 h 125498"/>
                <a:gd name="connsiteX2" fmla="*/ -421 w 125651"/>
                <a:gd name="connsiteY2" fmla="*/ 60501 h 125498"/>
                <a:gd name="connsiteX3" fmla="*/ 62824 w 125651"/>
                <a:gd name="connsiteY3" fmla="*/ 17 h 125498"/>
                <a:gd name="connsiteX4" fmla="*/ 125023 w 125651"/>
                <a:gd name="connsiteY4" fmla="*/ 51672 h 125498"/>
                <a:gd name="connsiteX5" fmla="*/ 125118 w 125651"/>
                <a:gd name="connsiteY5" fmla="*/ 60406 h 12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51" h="125498">
                  <a:moveTo>
                    <a:pt x="125118" y="60406"/>
                  </a:moveTo>
                  <a:cubicBezTo>
                    <a:pt x="125118" y="97744"/>
                    <a:pt x="100544" y="124986"/>
                    <a:pt x="66254" y="125271"/>
                  </a:cubicBezTo>
                  <a:cubicBezTo>
                    <a:pt x="30440" y="124652"/>
                    <a:pt x="1198" y="96306"/>
                    <a:pt x="-421" y="60501"/>
                  </a:cubicBezTo>
                  <a:cubicBezTo>
                    <a:pt x="-993" y="26021"/>
                    <a:pt x="25296" y="779"/>
                    <a:pt x="62824" y="17"/>
                  </a:cubicBezTo>
                  <a:cubicBezTo>
                    <a:pt x="94257" y="-2878"/>
                    <a:pt x="122071" y="20248"/>
                    <a:pt x="125023" y="51672"/>
                  </a:cubicBezTo>
                  <a:cubicBezTo>
                    <a:pt x="125213" y="54577"/>
                    <a:pt x="125309" y="57501"/>
                    <a:pt x="125118" y="60406"/>
                  </a:cubicBezTo>
                  <a:close/>
                </a:path>
              </a:pathLst>
            </a:custGeom>
            <a:solidFill>
              <a:srgbClr val="000000"/>
            </a:solidFill>
            <a:ln w="9525" cap="flat">
              <a:noFill/>
              <a:prstDash val="solid"/>
              <a:miter/>
            </a:ln>
          </p:spPr>
          <p:txBody>
            <a:bodyPr rtlCol="0" anchor="ctr"/>
            <a:lstStyle/>
            <a:p>
              <a:endParaRPr lang="de-DE"/>
            </a:p>
          </p:txBody>
        </p:sp>
        <p:sp>
          <p:nvSpPr>
            <p:cNvPr id="35" name="Grafik 2">
              <a:extLst>
                <a:ext uri="{FF2B5EF4-FFF2-40B4-BE49-F238E27FC236}">
                  <a16:creationId xmlns:a16="http://schemas.microsoft.com/office/drawing/2014/main" id="{21EF8D20-86BA-43A4-89AA-280D3E06007B}"/>
                </a:ext>
              </a:extLst>
            </p:cNvPr>
            <p:cNvSpPr/>
            <p:nvPr/>
          </p:nvSpPr>
          <p:spPr bwMode="gray">
            <a:xfrm>
              <a:off x="10575511" y="466543"/>
              <a:ext cx="125396" cy="125435"/>
            </a:xfrm>
            <a:custGeom>
              <a:avLst/>
              <a:gdLst>
                <a:gd name="connsiteX0" fmla="*/ 124824 w 125396"/>
                <a:gd name="connsiteY0" fmla="*/ 60819 h 125435"/>
                <a:gd name="connsiteX1" fmla="*/ 65482 w 125396"/>
                <a:gd name="connsiteY1" fmla="*/ 125208 h 125435"/>
                <a:gd name="connsiteX2" fmla="*/ -430 w 125396"/>
                <a:gd name="connsiteY2" fmla="*/ 59867 h 125435"/>
                <a:gd name="connsiteX3" fmla="*/ 63292 w 125396"/>
                <a:gd name="connsiteY3" fmla="*/ -46 h 125435"/>
                <a:gd name="connsiteX4" fmla="*/ 124824 w 125396"/>
                <a:gd name="connsiteY4" fmla="*/ 52409 h 125435"/>
                <a:gd name="connsiteX5" fmla="*/ 124824 w 125396"/>
                <a:gd name="connsiteY5" fmla="*/ 60819 h 125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96" h="125435">
                  <a:moveTo>
                    <a:pt x="124824" y="60819"/>
                  </a:moveTo>
                  <a:cubicBezTo>
                    <a:pt x="124824" y="98348"/>
                    <a:pt x="99869" y="125208"/>
                    <a:pt x="65482" y="125208"/>
                  </a:cubicBezTo>
                  <a:cubicBezTo>
                    <a:pt x="29764" y="124180"/>
                    <a:pt x="904" y="95605"/>
                    <a:pt x="-430" y="59867"/>
                  </a:cubicBezTo>
                  <a:cubicBezTo>
                    <a:pt x="-430" y="25481"/>
                    <a:pt x="25859" y="431"/>
                    <a:pt x="63292" y="-46"/>
                  </a:cubicBezTo>
                  <a:cubicBezTo>
                    <a:pt x="94725" y="-2541"/>
                    <a:pt x="122252" y="20947"/>
                    <a:pt x="124824" y="52409"/>
                  </a:cubicBezTo>
                  <a:cubicBezTo>
                    <a:pt x="125014" y="55209"/>
                    <a:pt x="125014" y="58019"/>
                    <a:pt x="124824" y="60819"/>
                  </a:cubicBezTo>
                  <a:close/>
                </a:path>
              </a:pathLst>
            </a:custGeom>
            <a:solidFill>
              <a:srgbClr val="000000"/>
            </a:solidFill>
            <a:ln w="9525" cap="flat">
              <a:noFill/>
              <a:prstDash val="solid"/>
              <a:miter/>
            </a:ln>
          </p:spPr>
          <p:txBody>
            <a:bodyPr rtlCol="0" anchor="ctr"/>
            <a:lstStyle/>
            <a:p>
              <a:endParaRPr lang="de-DE"/>
            </a:p>
          </p:txBody>
        </p:sp>
        <p:sp>
          <p:nvSpPr>
            <p:cNvPr id="36" name="Grafik 2">
              <a:extLst>
                <a:ext uri="{FF2B5EF4-FFF2-40B4-BE49-F238E27FC236}">
                  <a16:creationId xmlns:a16="http://schemas.microsoft.com/office/drawing/2014/main" id="{F580D199-BB84-4DE7-93BB-00839F937A4F}"/>
                </a:ext>
              </a:extLst>
            </p:cNvPr>
            <p:cNvSpPr/>
            <p:nvPr/>
          </p:nvSpPr>
          <p:spPr bwMode="gray">
            <a:xfrm>
              <a:off x="10369360" y="879564"/>
              <a:ext cx="125055" cy="125513"/>
            </a:xfrm>
            <a:custGeom>
              <a:avLst/>
              <a:gdLst>
                <a:gd name="connsiteX0" fmla="*/ 124569 w 125055"/>
                <a:gd name="connsiteY0" fmla="*/ 59754 h 125513"/>
                <a:gd name="connsiteX1" fmla="*/ 66276 w 125055"/>
                <a:gd name="connsiteY1" fmla="*/ 125286 h 125513"/>
                <a:gd name="connsiteX2" fmla="*/ -399 w 125055"/>
                <a:gd name="connsiteY2" fmla="*/ 61087 h 125513"/>
                <a:gd name="connsiteX3" fmla="*/ 62084 w 125055"/>
                <a:gd name="connsiteY3" fmla="*/ 32 h 125513"/>
                <a:gd name="connsiteX4" fmla="*/ 124378 w 125055"/>
                <a:gd name="connsiteY4" fmla="*/ 51524 h 125513"/>
                <a:gd name="connsiteX5" fmla="*/ 124569 w 125055"/>
                <a:gd name="connsiteY5" fmla="*/ 59754 h 12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055" h="125513">
                  <a:moveTo>
                    <a:pt x="124569" y="59754"/>
                  </a:moveTo>
                  <a:cubicBezTo>
                    <a:pt x="124569" y="97092"/>
                    <a:pt x="100470" y="124619"/>
                    <a:pt x="66276" y="125286"/>
                  </a:cubicBezTo>
                  <a:cubicBezTo>
                    <a:pt x="30652" y="124686"/>
                    <a:pt x="1505" y="96663"/>
                    <a:pt x="-399" y="61087"/>
                  </a:cubicBezTo>
                  <a:cubicBezTo>
                    <a:pt x="-1447" y="26512"/>
                    <a:pt x="24556" y="1080"/>
                    <a:pt x="62084" y="32"/>
                  </a:cubicBezTo>
                  <a:cubicBezTo>
                    <a:pt x="93517" y="-2949"/>
                    <a:pt x="121426" y="20101"/>
                    <a:pt x="124378" y="51524"/>
                  </a:cubicBezTo>
                  <a:cubicBezTo>
                    <a:pt x="124664" y="54258"/>
                    <a:pt x="124664" y="57011"/>
                    <a:pt x="124569" y="59754"/>
                  </a:cubicBezTo>
                  <a:close/>
                </a:path>
              </a:pathLst>
            </a:custGeom>
            <a:solidFill>
              <a:srgbClr val="000000"/>
            </a:solidFill>
            <a:ln w="9525" cap="flat">
              <a:noFill/>
              <a:prstDash val="solid"/>
              <a:miter/>
            </a:ln>
          </p:spPr>
          <p:txBody>
            <a:bodyPr rtlCol="0" anchor="ctr"/>
            <a:lstStyle/>
            <a:p>
              <a:endParaRPr lang="de-DE"/>
            </a:p>
          </p:txBody>
        </p:sp>
        <p:sp>
          <p:nvSpPr>
            <p:cNvPr id="37" name="Grafik 2">
              <a:extLst>
                <a:ext uri="{FF2B5EF4-FFF2-40B4-BE49-F238E27FC236}">
                  <a16:creationId xmlns:a16="http://schemas.microsoft.com/office/drawing/2014/main" id="{0664D76B-E58A-4ACB-8815-F22D4F632148}"/>
                </a:ext>
              </a:extLst>
            </p:cNvPr>
            <p:cNvSpPr/>
            <p:nvPr/>
          </p:nvSpPr>
          <p:spPr bwMode="gray">
            <a:xfrm>
              <a:off x="9542906" y="672734"/>
              <a:ext cx="125577" cy="125752"/>
            </a:xfrm>
            <a:custGeom>
              <a:avLst/>
              <a:gdLst>
                <a:gd name="connsiteX0" fmla="*/ 64531 w 125577"/>
                <a:gd name="connsiteY0" fmla="*/ 125519 h 125752"/>
                <a:gd name="connsiteX1" fmla="*/ -430 w 125577"/>
                <a:gd name="connsiteY1" fmla="*/ 58844 h 125752"/>
                <a:gd name="connsiteX2" fmla="*/ 64436 w 125577"/>
                <a:gd name="connsiteY2" fmla="*/ -116 h 125752"/>
                <a:gd name="connsiteX3" fmla="*/ 125015 w 125577"/>
                <a:gd name="connsiteY3" fmla="*/ 53386 h 125752"/>
                <a:gd name="connsiteX4" fmla="*/ 124919 w 125577"/>
                <a:gd name="connsiteY4" fmla="*/ 61797 h 125752"/>
                <a:gd name="connsiteX5" fmla="*/ 64531 w 125577"/>
                <a:gd name="connsiteY5" fmla="*/ 125519 h 125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77" h="125752">
                  <a:moveTo>
                    <a:pt x="64531" y="125519"/>
                  </a:moveTo>
                  <a:cubicBezTo>
                    <a:pt x="28717" y="123919"/>
                    <a:pt x="237" y="94724"/>
                    <a:pt x="-430" y="58844"/>
                  </a:cubicBezTo>
                  <a:cubicBezTo>
                    <a:pt x="-430" y="24554"/>
                    <a:pt x="27002" y="-116"/>
                    <a:pt x="64436" y="-116"/>
                  </a:cubicBezTo>
                  <a:cubicBezTo>
                    <a:pt x="95963" y="-2068"/>
                    <a:pt x="123014" y="21877"/>
                    <a:pt x="125015" y="53386"/>
                  </a:cubicBezTo>
                  <a:cubicBezTo>
                    <a:pt x="125205" y="56186"/>
                    <a:pt x="125205" y="58996"/>
                    <a:pt x="124919" y="61797"/>
                  </a:cubicBezTo>
                  <a:cubicBezTo>
                    <a:pt x="124157" y="99611"/>
                    <a:pt x="99012" y="125995"/>
                    <a:pt x="64531" y="125519"/>
                  </a:cubicBezTo>
                  <a:close/>
                </a:path>
              </a:pathLst>
            </a:custGeom>
            <a:solidFill>
              <a:srgbClr val="000000"/>
            </a:solidFill>
            <a:ln w="9525" cap="flat">
              <a:noFill/>
              <a:prstDash val="solid"/>
              <a:miter/>
            </a:ln>
          </p:spPr>
          <p:txBody>
            <a:bodyPr rtlCol="0" anchor="ctr"/>
            <a:lstStyle/>
            <a:p>
              <a:endParaRPr lang="de-DE"/>
            </a:p>
          </p:txBody>
        </p:sp>
        <p:sp>
          <p:nvSpPr>
            <p:cNvPr id="38" name="Grafik 2">
              <a:extLst>
                <a:ext uri="{FF2B5EF4-FFF2-40B4-BE49-F238E27FC236}">
                  <a16:creationId xmlns:a16="http://schemas.microsoft.com/office/drawing/2014/main" id="{6972656A-D0D8-4E21-964E-AB3B90CECA0A}"/>
                </a:ext>
              </a:extLst>
            </p:cNvPr>
            <p:cNvSpPr/>
            <p:nvPr/>
          </p:nvSpPr>
          <p:spPr bwMode="gray">
            <a:xfrm>
              <a:off x="9749597" y="673199"/>
              <a:ext cx="125148" cy="125250"/>
            </a:xfrm>
            <a:custGeom>
              <a:avLst/>
              <a:gdLst>
                <a:gd name="connsiteX0" fmla="*/ 124634 w 125148"/>
                <a:gd name="connsiteY0" fmla="*/ 63522 h 125250"/>
                <a:gd name="connsiteX1" fmla="*/ 62628 w 125148"/>
                <a:gd name="connsiteY1" fmla="*/ 124958 h 125250"/>
                <a:gd name="connsiteX2" fmla="*/ -428 w 125148"/>
                <a:gd name="connsiteY2" fmla="*/ 56950 h 125250"/>
                <a:gd name="connsiteX3" fmla="*/ 66247 w 125148"/>
                <a:gd name="connsiteY3" fmla="*/ -200 h 125250"/>
                <a:gd name="connsiteX4" fmla="*/ 124634 w 125148"/>
                <a:gd name="connsiteY4" fmla="*/ 63522 h 12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148" h="125250">
                  <a:moveTo>
                    <a:pt x="124634" y="63522"/>
                  </a:moveTo>
                  <a:cubicBezTo>
                    <a:pt x="123111" y="100860"/>
                    <a:pt x="97203" y="126483"/>
                    <a:pt x="62628" y="124958"/>
                  </a:cubicBezTo>
                  <a:cubicBezTo>
                    <a:pt x="26909" y="122539"/>
                    <a:pt x="-714" y="92735"/>
                    <a:pt x="-428" y="56950"/>
                  </a:cubicBezTo>
                  <a:cubicBezTo>
                    <a:pt x="905" y="22755"/>
                    <a:pt x="28147" y="-1152"/>
                    <a:pt x="66247" y="-200"/>
                  </a:cubicBezTo>
                  <a:cubicBezTo>
                    <a:pt x="104347" y="753"/>
                    <a:pt x="126254" y="26280"/>
                    <a:pt x="124634" y="63522"/>
                  </a:cubicBezTo>
                  <a:close/>
                </a:path>
              </a:pathLst>
            </a:custGeom>
            <a:solidFill>
              <a:srgbClr val="000000"/>
            </a:solidFill>
            <a:ln w="9525" cap="flat">
              <a:noFill/>
              <a:prstDash val="solid"/>
              <a:miter/>
            </a:ln>
          </p:spPr>
          <p:txBody>
            <a:bodyPr rtlCol="0" anchor="ctr"/>
            <a:lstStyle/>
            <a:p>
              <a:endParaRPr lang="de-DE"/>
            </a:p>
          </p:txBody>
        </p:sp>
        <p:sp>
          <p:nvSpPr>
            <p:cNvPr id="39" name="Grafik 2">
              <a:extLst>
                <a:ext uri="{FF2B5EF4-FFF2-40B4-BE49-F238E27FC236}">
                  <a16:creationId xmlns:a16="http://schemas.microsoft.com/office/drawing/2014/main" id="{B69AEC7C-A1D6-4BDB-A917-1B683A973049}"/>
                </a:ext>
              </a:extLst>
            </p:cNvPr>
            <p:cNvSpPr/>
            <p:nvPr/>
          </p:nvSpPr>
          <p:spPr bwMode="gray">
            <a:xfrm>
              <a:off x="9956005" y="673075"/>
              <a:ext cx="125480" cy="125345"/>
            </a:xfrm>
            <a:custGeom>
              <a:avLst/>
              <a:gdLst>
                <a:gd name="connsiteX0" fmla="*/ 63388 w 125480"/>
                <a:gd name="connsiteY0" fmla="*/ 125082 h 125345"/>
                <a:gd name="connsiteX1" fmla="*/ -430 w 125480"/>
                <a:gd name="connsiteY1" fmla="*/ 57740 h 125345"/>
                <a:gd name="connsiteX2" fmla="*/ 65388 w 125480"/>
                <a:gd name="connsiteY2" fmla="*/ -172 h 125345"/>
                <a:gd name="connsiteX3" fmla="*/ 125015 w 125480"/>
                <a:gd name="connsiteY3" fmla="*/ 54426 h 125345"/>
                <a:gd name="connsiteX4" fmla="*/ 124729 w 125480"/>
                <a:gd name="connsiteY4" fmla="*/ 62884 h 125345"/>
                <a:gd name="connsiteX5" fmla="*/ 63388 w 125480"/>
                <a:gd name="connsiteY5" fmla="*/ 125082 h 12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480" h="125345">
                  <a:moveTo>
                    <a:pt x="63388" y="125082"/>
                  </a:moveTo>
                  <a:cubicBezTo>
                    <a:pt x="27669" y="123015"/>
                    <a:pt x="-335" y="93526"/>
                    <a:pt x="-430" y="57740"/>
                  </a:cubicBezTo>
                  <a:cubicBezTo>
                    <a:pt x="522" y="23641"/>
                    <a:pt x="28145" y="-648"/>
                    <a:pt x="65388" y="-172"/>
                  </a:cubicBezTo>
                  <a:cubicBezTo>
                    <a:pt x="96915" y="-1553"/>
                    <a:pt x="123586" y="22888"/>
                    <a:pt x="125015" y="54426"/>
                  </a:cubicBezTo>
                  <a:cubicBezTo>
                    <a:pt x="125110" y="57245"/>
                    <a:pt x="125015" y="60074"/>
                    <a:pt x="124729" y="62884"/>
                  </a:cubicBezTo>
                  <a:cubicBezTo>
                    <a:pt x="123490" y="100317"/>
                    <a:pt x="97869" y="126225"/>
                    <a:pt x="63388" y="125082"/>
                  </a:cubicBezTo>
                  <a:close/>
                </a:path>
              </a:pathLst>
            </a:custGeom>
            <a:solidFill>
              <a:srgbClr val="000000"/>
            </a:solidFill>
            <a:ln w="9525" cap="flat">
              <a:noFill/>
              <a:prstDash val="solid"/>
              <a:miter/>
            </a:ln>
          </p:spPr>
          <p:txBody>
            <a:bodyPr rtlCol="0" anchor="ctr"/>
            <a:lstStyle/>
            <a:p>
              <a:endParaRPr lang="de-DE"/>
            </a:p>
          </p:txBody>
        </p:sp>
        <p:sp>
          <p:nvSpPr>
            <p:cNvPr id="40" name="Grafik 2">
              <a:extLst>
                <a:ext uri="{FF2B5EF4-FFF2-40B4-BE49-F238E27FC236}">
                  <a16:creationId xmlns:a16="http://schemas.microsoft.com/office/drawing/2014/main" id="{EDDA6067-FE44-46F9-A55A-54130ADCD9EC}"/>
                </a:ext>
              </a:extLst>
            </p:cNvPr>
            <p:cNvSpPr/>
            <p:nvPr/>
          </p:nvSpPr>
          <p:spPr bwMode="gray">
            <a:xfrm>
              <a:off x="10162495" y="672983"/>
              <a:ext cx="125364" cy="125496"/>
            </a:xfrm>
            <a:custGeom>
              <a:avLst/>
              <a:gdLst>
                <a:gd name="connsiteX0" fmla="*/ 124836 w 125364"/>
                <a:gd name="connsiteY0" fmla="*/ 60119 h 125496"/>
                <a:gd name="connsiteX1" fmla="*/ 66257 w 125364"/>
                <a:gd name="connsiteY1" fmla="*/ 125270 h 125496"/>
                <a:gd name="connsiteX2" fmla="*/ -418 w 125364"/>
                <a:gd name="connsiteY2" fmla="*/ 60690 h 125496"/>
                <a:gd name="connsiteX3" fmla="*/ 62543 w 125364"/>
                <a:gd name="connsiteY3" fmla="*/ 16 h 125496"/>
                <a:gd name="connsiteX4" fmla="*/ 124646 w 125364"/>
                <a:gd name="connsiteY4" fmla="*/ 51689 h 125496"/>
                <a:gd name="connsiteX5" fmla="*/ 124836 w 125364"/>
                <a:gd name="connsiteY5" fmla="*/ 60119 h 125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64" h="125496">
                  <a:moveTo>
                    <a:pt x="124836" y="60119"/>
                  </a:moveTo>
                  <a:cubicBezTo>
                    <a:pt x="124836" y="97456"/>
                    <a:pt x="100452" y="124793"/>
                    <a:pt x="66257" y="125270"/>
                  </a:cubicBezTo>
                  <a:cubicBezTo>
                    <a:pt x="30539" y="124612"/>
                    <a:pt x="1392" y="96399"/>
                    <a:pt x="-418" y="60690"/>
                  </a:cubicBezTo>
                  <a:cubicBezTo>
                    <a:pt x="-1085" y="26210"/>
                    <a:pt x="25109" y="873"/>
                    <a:pt x="62543" y="16"/>
                  </a:cubicBezTo>
                  <a:cubicBezTo>
                    <a:pt x="93974" y="-2870"/>
                    <a:pt x="121788" y="20266"/>
                    <a:pt x="124646" y="51689"/>
                  </a:cubicBezTo>
                  <a:cubicBezTo>
                    <a:pt x="124931" y="54489"/>
                    <a:pt x="125026" y="57309"/>
                    <a:pt x="124836" y="60119"/>
                  </a:cubicBezTo>
                  <a:close/>
                </a:path>
              </a:pathLst>
            </a:custGeom>
            <a:solidFill>
              <a:srgbClr val="000000"/>
            </a:solidFill>
            <a:ln w="9525" cap="flat">
              <a:noFill/>
              <a:prstDash val="solid"/>
              <a:miter/>
            </a:ln>
          </p:spPr>
          <p:txBody>
            <a:bodyPr rtlCol="0" anchor="ctr"/>
            <a:lstStyle/>
            <a:p>
              <a:endParaRPr lang="de-DE"/>
            </a:p>
          </p:txBody>
        </p:sp>
        <p:sp>
          <p:nvSpPr>
            <p:cNvPr id="41" name="Grafik 2">
              <a:extLst>
                <a:ext uri="{FF2B5EF4-FFF2-40B4-BE49-F238E27FC236}">
                  <a16:creationId xmlns:a16="http://schemas.microsoft.com/office/drawing/2014/main" id="{D18D23AB-2A83-42D8-94DA-99A1689DB9F4}"/>
                </a:ext>
              </a:extLst>
            </p:cNvPr>
            <p:cNvSpPr/>
            <p:nvPr/>
          </p:nvSpPr>
          <p:spPr bwMode="gray">
            <a:xfrm>
              <a:off x="10368715" y="672982"/>
              <a:ext cx="125651" cy="125498"/>
            </a:xfrm>
            <a:custGeom>
              <a:avLst/>
              <a:gdLst>
                <a:gd name="connsiteX0" fmla="*/ 125118 w 125651"/>
                <a:gd name="connsiteY0" fmla="*/ 60406 h 125498"/>
                <a:gd name="connsiteX1" fmla="*/ 66254 w 125651"/>
                <a:gd name="connsiteY1" fmla="*/ 125271 h 125498"/>
                <a:gd name="connsiteX2" fmla="*/ -421 w 125651"/>
                <a:gd name="connsiteY2" fmla="*/ 60406 h 125498"/>
                <a:gd name="connsiteX3" fmla="*/ 62824 w 125651"/>
                <a:gd name="connsiteY3" fmla="*/ 17 h 125498"/>
                <a:gd name="connsiteX4" fmla="*/ 125023 w 125651"/>
                <a:gd name="connsiteY4" fmla="*/ 51681 h 125498"/>
                <a:gd name="connsiteX5" fmla="*/ 125118 w 125651"/>
                <a:gd name="connsiteY5" fmla="*/ 60406 h 12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51" h="125498">
                  <a:moveTo>
                    <a:pt x="125118" y="60406"/>
                  </a:moveTo>
                  <a:cubicBezTo>
                    <a:pt x="125118" y="97744"/>
                    <a:pt x="100449" y="124985"/>
                    <a:pt x="66254" y="125271"/>
                  </a:cubicBezTo>
                  <a:cubicBezTo>
                    <a:pt x="30345" y="124652"/>
                    <a:pt x="1198" y="96249"/>
                    <a:pt x="-421" y="60406"/>
                  </a:cubicBezTo>
                  <a:cubicBezTo>
                    <a:pt x="-993" y="25925"/>
                    <a:pt x="25392" y="779"/>
                    <a:pt x="62824" y="17"/>
                  </a:cubicBezTo>
                  <a:cubicBezTo>
                    <a:pt x="94257" y="-2878"/>
                    <a:pt x="122071" y="20248"/>
                    <a:pt x="125023" y="51681"/>
                  </a:cubicBezTo>
                  <a:cubicBezTo>
                    <a:pt x="125213" y="54577"/>
                    <a:pt x="125309" y="57501"/>
                    <a:pt x="125118" y="60406"/>
                  </a:cubicBezTo>
                  <a:close/>
                </a:path>
              </a:pathLst>
            </a:custGeom>
            <a:solidFill>
              <a:srgbClr val="000000"/>
            </a:solidFill>
            <a:ln w="9525" cap="flat">
              <a:noFill/>
              <a:prstDash val="solid"/>
              <a:miter/>
            </a:ln>
          </p:spPr>
          <p:txBody>
            <a:bodyPr rtlCol="0" anchor="ctr"/>
            <a:lstStyle/>
            <a:p>
              <a:endParaRPr lang="de-DE"/>
            </a:p>
          </p:txBody>
        </p:sp>
        <p:sp>
          <p:nvSpPr>
            <p:cNvPr id="42" name="Grafik 2">
              <a:extLst>
                <a:ext uri="{FF2B5EF4-FFF2-40B4-BE49-F238E27FC236}">
                  <a16:creationId xmlns:a16="http://schemas.microsoft.com/office/drawing/2014/main" id="{93880DE3-A28A-4F5C-864B-CED7AEECB764}"/>
                </a:ext>
              </a:extLst>
            </p:cNvPr>
            <p:cNvSpPr/>
            <p:nvPr/>
          </p:nvSpPr>
          <p:spPr bwMode="gray">
            <a:xfrm>
              <a:off x="10368997" y="1292489"/>
              <a:ext cx="125365" cy="125497"/>
            </a:xfrm>
            <a:custGeom>
              <a:avLst/>
              <a:gdLst>
                <a:gd name="connsiteX0" fmla="*/ 124836 w 125365"/>
                <a:gd name="connsiteY0" fmla="*/ 60119 h 125497"/>
                <a:gd name="connsiteX1" fmla="*/ 66257 w 125365"/>
                <a:gd name="connsiteY1" fmla="*/ 125270 h 125497"/>
                <a:gd name="connsiteX2" fmla="*/ -418 w 125365"/>
                <a:gd name="connsiteY2" fmla="*/ 60690 h 125497"/>
                <a:gd name="connsiteX3" fmla="*/ 62543 w 125365"/>
                <a:gd name="connsiteY3" fmla="*/ 16 h 125497"/>
                <a:gd name="connsiteX4" fmla="*/ 124646 w 125365"/>
                <a:gd name="connsiteY4" fmla="*/ 51689 h 125497"/>
                <a:gd name="connsiteX5" fmla="*/ 124836 w 125365"/>
                <a:gd name="connsiteY5" fmla="*/ 60119 h 12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65" h="125497">
                  <a:moveTo>
                    <a:pt x="124836" y="60119"/>
                  </a:moveTo>
                  <a:cubicBezTo>
                    <a:pt x="124836" y="97457"/>
                    <a:pt x="100453" y="124793"/>
                    <a:pt x="66257" y="125270"/>
                  </a:cubicBezTo>
                  <a:cubicBezTo>
                    <a:pt x="30539" y="124613"/>
                    <a:pt x="1393" y="96399"/>
                    <a:pt x="-418" y="60690"/>
                  </a:cubicBezTo>
                  <a:cubicBezTo>
                    <a:pt x="-1084" y="26210"/>
                    <a:pt x="25110" y="968"/>
                    <a:pt x="62543" y="16"/>
                  </a:cubicBezTo>
                  <a:cubicBezTo>
                    <a:pt x="93976" y="-2870"/>
                    <a:pt x="121789" y="20266"/>
                    <a:pt x="124646" y="51689"/>
                  </a:cubicBezTo>
                  <a:cubicBezTo>
                    <a:pt x="124932" y="54489"/>
                    <a:pt x="125027" y="57309"/>
                    <a:pt x="124836" y="60119"/>
                  </a:cubicBezTo>
                  <a:close/>
                </a:path>
              </a:pathLst>
            </a:custGeom>
            <a:solidFill>
              <a:srgbClr val="000000"/>
            </a:solidFill>
            <a:ln w="9525" cap="flat">
              <a:noFill/>
              <a:prstDash val="solid"/>
              <a:miter/>
            </a:ln>
          </p:spPr>
          <p:txBody>
            <a:bodyPr rtlCol="0" anchor="ctr"/>
            <a:lstStyle/>
            <a:p>
              <a:endParaRPr lang="de-DE"/>
            </a:p>
          </p:txBody>
        </p:sp>
      </p:grpSp>
      <p:sp>
        <p:nvSpPr>
          <p:cNvPr id="8" name="Rechteck 7">
            <a:extLst>
              <a:ext uri="{FF2B5EF4-FFF2-40B4-BE49-F238E27FC236}">
                <a16:creationId xmlns:a16="http://schemas.microsoft.com/office/drawing/2014/main" id="{397A2514-DDCF-4686-AB91-0CA41579704A}"/>
              </a:ext>
            </a:extLst>
          </p:cNvPr>
          <p:cNvSpPr/>
          <p:nvPr userDrawn="1"/>
        </p:nvSpPr>
        <p:spPr bwMode="gray">
          <a:xfrm>
            <a:off x="0" y="6750000"/>
            <a:ext cx="11664000" cy="10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platzhalter 10">
            <a:extLst>
              <a:ext uri="{FF2B5EF4-FFF2-40B4-BE49-F238E27FC236}">
                <a16:creationId xmlns:a16="http://schemas.microsoft.com/office/drawing/2014/main" id="{9A385DCC-A442-4836-9DCD-539B4816C9F9}"/>
              </a:ext>
            </a:extLst>
          </p:cNvPr>
          <p:cNvSpPr>
            <a:spLocks noGrp="1"/>
          </p:cNvSpPr>
          <p:nvPr>
            <p:ph type="body" sz="quarter" idx="14"/>
          </p:nvPr>
        </p:nvSpPr>
        <p:spPr bwMode="gray">
          <a:xfrm>
            <a:off x="551384" y="2997312"/>
            <a:ext cx="4608000" cy="3240000"/>
          </a:xfrm>
        </p:spPr>
        <p:txBody>
          <a:bodyPr/>
          <a:lstStyle>
            <a:lvl1pPr marL="0" indent="0">
              <a:spcAft>
                <a:spcPts val="0"/>
              </a:spcAft>
              <a:buFont typeface="Arial" panose="020B0604020202020204" pitchFamily="34" charset="0"/>
              <a:buNone/>
              <a:defRPr sz="4400" b="1"/>
            </a:lvl1pPr>
            <a:lvl2pPr marL="0" indent="0">
              <a:spcAft>
                <a:spcPts val="0"/>
              </a:spcAft>
              <a:buFont typeface="Arial" panose="020B0604020202020204" pitchFamily="34" charset="0"/>
              <a:buNone/>
              <a:defRPr sz="4400" b="1"/>
            </a:lvl2pPr>
            <a:lvl3pPr marL="0" indent="0">
              <a:spcAft>
                <a:spcPts val="0"/>
              </a:spcAft>
              <a:buNone/>
              <a:defRPr sz="4400" b="1"/>
            </a:lvl3pPr>
            <a:lvl4pPr marL="0" indent="0">
              <a:spcAft>
                <a:spcPts val="0"/>
              </a:spcAft>
              <a:buNone/>
              <a:defRPr sz="4400" b="1"/>
            </a:lvl4pPr>
            <a:lvl5pPr marL="0" indent="0">
              <a:spcAft>
                <a:spcPts val="0"/>
              </a:spcAft>
              <a:buNone/>
              <a:defRPr sz="4400" b="1"/>
            </a:lvl5pPr>
            <a:lvl6pPr marL="0" indent="0">
              <a:spcAft>
                <a:spcPts val="0"/>
              </a:spcAft>
              <a:buNone/>
              <a:defRPr sz="4400" b="1"/>
            </a:lvl6pPr>
            <a:lvl7pPr marL="0" indent="0">
              <a:spcAft>
                <a:spcPts val="0"/>
              </a:spcAft>
              <a:buNone/>
              <a:defRPr sz="4400" b="1"/>
            </a:lvl7pPr>
            <a:lvl8pPr marL="0" indent="0">
              <a:spcAft>
                <a:spcPts val="0"/>
              </a:spcAft>
              <a:buNone/>
              <a:defRPr sz="4400" b="1"/>
            </a:lvl8pPr>
            <a:lvl9pPr marL="0" indent="0">
              <a:spcAft>
                <a:spcPts val="0"/>
              </a:spcAft>
              <a:buNone/>
              <a:defRPr sz="4400" b="1"/>
            </a:lvl9pPr>
          </a:lstStyle>
          <a:p>
            <a:pPr lvl="0"/>
            <a:r>
              <a:rPr lang="de-DE"/>
              <a:t>Mastertextformat bearbeiten</a:t>
            </a:r>
          </a:p>
        </p:txBody>
      </p:sp>
      <p:sp>
        <p:nvSpPr>
          <p:cNvPr id="3" name="Bildplatzhalter 2">
            <a:extLst>
              <a:ext uri="{FF2B5EF4-FFF2-40B4-BE49-F238E27FC236}">
                <a16:creationId xmlns:a16="http://schemas.microsoft.com/office/drawing/2014/main" id="{22AD90AE-B273-4DDC-B7DB-547D3B9CF1AD}"/>
              </a:ext>
            </a:extLst>
          </p:cNvPr>
          <p:cNvSpPr>
            <a:spLocks noGrp="1"/>
          </p:cNvSpPr>
          <p:nvPr>
            <p:ph type="pic" sz="quarter" idx="15" hasCustomPrompt="1"/>
          </p:nvPr>
        </p:nvSpPr>
        <p:spPr bwMode="gray">
          <a:xfrm>
            <a:off x="5519936" y="2349312"/>
            <a:ext cx="6336000" cy="3888000"/>
          </a:xfrm>
          <a:prstGeom prst="roundRect">
            <a:avLst>
              <a:gd name="adj" fmla="val 8809"/>
            </a:avLst>
          </a:prstGeom>
          <a:solidFill>
            <a:schemeClr val="bg1"/>
          </a:solidFill>
        </p:spPr>
        <p:txBody>
          <a:bodyPr bIns="936000" anchor="ctr"/>
          <a:lstStyle>
            <a:lvl1pPr marL="0" indent="0" algn="ctr">
              <a:spcAft>
                <a:spcPts val="0"/>
              </a:spcAft>
              <a:buFont typeface="Arial" panose="020B0604020202020204" pitchFamily="34" charset="0"/>
              <a:buNone/>
              <a:defRPr sz="1200" b="0">
                <a:solidFill>
                  <a:schemeClr val="tx1"/>
                </a:solidFill>
              </a:defRPr>
            </a:lvl1pPr>
            <a:lvl2pPr marL="0" indent="0" algn="ctr">
              <a:spcAft>
                <a:spcPts val="0"/>
              </a:spcAft>
              <a:buFont typeface="Arial" panose="020B0604020202020204" pitchFamily="34" charset="0"/>
              <a:buNone/>
              <a:defRPr sz="1200" b="0">
                <a:solidFill>
                  <a:schemeClr val="tx1"/>
                </a:solidFill>
              </a:defRPr>
            </a:lvl2pPr>
            <a:lvl3pPr marL="0" indent="0" algn="ctr">
              <a:spcAft>
                <a:spcPts val="0"/>
              </a:spcAft>
              <a:buNone/>
              <a:defRPr sz="1200" b="0">
                <a:solidFill>
                  <a:schemeClr val="tx1"/>
                </a:solidFill>
              </a:defRPr>
            </a:lvl3pPr>
            <a:lvl4pPr marL="0" indent="0" algn="ctr">
              <a:spcAft>
                <a:spcPts val="0"/>
              </a:spcAft>
              <a:buNone/>
              <a:defRPr sz="1200" b="0">
                <a:solidFill>
                  <a:schemeClr val="tx1"/>
                </a:solidFill>
              </a:defRPr>
            </a:lvl4pPr>
            <a:lvl5pPr marL="0" indent="0" algn="ctr">
              <a:spcAft>
                <a:spcPts val="0"/>
              </a:spcAft>
              <a:buNone/>
              <a:defRPr sz="1200" b="0">
                <a:solidFill>
                  <a:schemeClr val="tx1"/>
                </a:solidFill>
              </a:defRPr>
            </a:lvl5pPr>
            <a:lvl6pPr marL="0" indent="0" algn="ctr">
              <a:spcAft>
                <a:spcPts val="0"/>
              </a:spcAft>
              <a:buNone/>
              <a:defRPr sz="1200" b="0">
                <a:solidFill>
                  <a:schemeClr val="tx1"/>
                </a:solidFill>
              </a:defRPr>
            </a:lvl6pPr>
            <a:lvl7pPr marL="0" indent="0" algn="ctr">
              <a:spcAft>
                <a:spcPts val="0"/>
              </a:spcAft>
              <a:buNone/>
              <a:defRPr sz="1200" b="0">
                <a:solidFill>
                  <a:schemeClr val="tx1"/>
                </a:solidFill>
              </a:defRPr>
            </a:lvl7pPr>
            <a:lvl8pPr marL="0" indent="0" algn="ctr">
              <a:spcAft>
                <a:spcPts val="0"/>
              </a:spcAft>
              <a:buNone/>
              <a:defRPr sz="1200" b="0">
                <a:solidFill>
                  <a:schemeClr val="tx1"/>
                </a:solidFill>
              </a:defRPr>
            </a:lvl8pPr>
            <a:lvl9pPr marL="0" indent="0" algn="ctr">
              <a:spcAft>
                <a:spcPts val="0"/>
              </a:spcAft>
              <a:buNone/>
              <a:defRPr sz="1200" b="0">
                <a:solidFill>
                  <a:schemeClr val="tx1"/>
                </a:solidFill>
              </a:defRPr>
            </a:lvl9pPr>
          </a:lstStyle>
          <a:p>
            <a:pPr lvl="0"/>
            <a:r>
              <a:rPr lang="de-DE"/>
              <a:t>Bild durch Klick auf </a:t>
            </a:r>
            <a:br>
              <a:rPr lang="de-DE"/>
            </a:br>
            <a:r>
              <a:rPr lang="de-DE"/>
              <a:t>das Icon hinzufügen und </a:t>
            </a:r>
            <a:br>
              <a:rPr lang="de-DE"/>
            </a:br>
            <a:r>
              <a:rPr lang="de-DE"/>
              <a:t>ggf. zuschneiden</a:t>
            </a:r>
          </a:p>
        </p:txBody>
      </p:sp>
    </p:spTree>
    <p:extLst>
      <p:ext uri="{BB962C8B-B14F-4D97-AF65-F5344CB8AC3E}">
        <p14:creationId xmlns:p14="http://schemas.microsoft.com/office/powerpoint/2010/main" val="4257245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Event – Bild mit Text">
    <p:spTree>
      <p:nvGrpSpPr>
        <p:cNvPr id="1" name=""/>
        <p:cNvGrpSpPr/>
        <p:nvPr/>
      </p:nvGrpSpPr>
      <p:grpSpPr>
        <a:xfrm>
          <a:off x="0" y="0"/>
          <a:ext cx="0" cy="0"/>
          <a:chOff x="0" y="0"/>
          <a:chExt cx="0" cy="0"/>
        </a:xfrm>
      </p:grpSpPr>
      <p:sp>
        <p:nvSpPr>
          <p:cNvPr id="9" name="Grafik 2">
            <a:extLst>
              <a:ext uri="{FF2B5EF4-FFF2-40B4-BE49-F238E27FC236}">
                <a16:creationId xmlns:a16="http://schemas.microsoft.com/office/drawing/2014/main" id="{DE1F86D9-CB94-4F8A-B093-7E9EEAA744D0}"/>
              </a:ext>
            </a:extLst>
          </p:cNvPr>
          <p:cNvSpPr/>
          <p:nvPr userDrawn="1"/>
        </p:nvSpPr>
        <p:spPr bwMode="gray">
          <a:xfrm>
            <a:off x="5448012" y="2850670"/>
            <a:ext cx="2016140" cy="2018490"/>
          </a:xfrm>
          <a:prstGeom prst="ellipse">
            <a:avLst/>
          </a:prstGeom>
          <a:gradFill>
            <a:gsLst>
              <a:gs pos="0">
                <a:srgbClr val="FC5B2F"/>
              </a:gs>
              <a:gs pos="100000">
                <a:srgbClr val="FE935B"/>
              </a:gs>
            </a:gsLst>
            <a:lin ang="5400000" scaled="1"/>
          </a:gradFill>
          <a:ln w="9525" cap="flat">
            <a:noFill/>
            <a:prstDash val="solid"/>
            <a:miter/>
          </a:ln>
        </p:spPr>
        <p:txBody>
          <a:bodyPr rtlCol="0" anchor="ctr"/>
          <a:lstStyle/>
          <a:p>
            <a:endParaRPr lang="de-DE"/>
          </a:p>
        </p:txBody>
      </p:sp>
      <p:sp>
        <p:nvSpPr>
          <p:cNvPr id="7" name="Bildplatzhalter 6">
            <a:extLst>
              <a:ext uri="{FF2B5EF4-FFF2-40B4-BE49-F238E27FC236}">
                <a16:creationId xmlns:a16="http://schemas.microsoft.com/office/drawing/2014/main" id="{EB18D55A-FAD7-44CA-8B72-7C8F20994622}"/>
              </a:ext>
            </a:extLst>
          </p:cNvPr>
          <p:cNvSpPr>
            <a:spLocks noGrp="1"/>
          </p:cNvSpPr>
          <p:nvPr>
            <p:ph type="pic" sz="quarter" idx="13" hasCustomPrompt="1"/>
          </p:nvPr>
        </p:nvSpPr>
        <p:spPr bwMode="gray">
          <a:xfrm>
            <a:off x="559012" y="267946"/>
            <a:ext cx="5455208" cy="5968511"/>
          </a:xfrm>
          <a:custGeom>
            <a:avLst/>
            <a:gdLst>
              <a:gd name="connsiteX0" fmla="*/ 2703764 w 5455208"/>
              <a:gd name="connsiteY0" fmla="*/ 0 h 5968511"/>
              <a:gd name="connsiteX1" fmla="*/ 2724374 w 5455208"/>
              <a:gd name="connsiteY1" fmla="*/ 0 h 5968511"/>
              <a:gd name="connsiteX2" fmla="*/ 2828819 w 5455208"/>
              <a:gd name="connsiteY2" fmla="*/ 4374 h 5968511"/>
              <a:gd name="connsiteX3" fmla="*/ 3183176 w 5455208"/>
              <a:gd name="connsiteY3" fmla="*/ 114108 h 5968511"/>
              <a:gd name="connsiteX4" fmla="*/ 4052950 w 5455208"/>
              <a:gd name="connsiteY4" fmla="*/ 605267 h 5968511"/>
              <a:gd name="connsiteX5" fmla="*/ 4843979 w 5455208"/>
              <a:gd name="connsiteY5" fmla="*/ 1061188 h 5968511"/>
              <a:gd name="connsiteX6" fmla="*/ 5428589 w 5455208"/>
              <a:gd name="connsiteY6" fmla="*/ 1774882 h 5968511"/>
              <a:gd name="connsiteX7" fmla="*/ 5455208 w 5455208"/>
              <a:gd name="connsiteY7" fmla="*/ 1927081 h 5968511"/>
              <a:gd name="connsiteX8" fmla="*/ 5455208 w 5455208"/>
              <a:gd name="connsiteY8" fmla="*/ 4042181 h 5968511"/>
              <a:gd name="connsiteX9" fmla="*/ 5451902 w 5455208"/>
              <a:gd name="connsiteY9" fmla="*/ 4091035 h 5968511"/>
              <a:gd name="connsiteX10" fmla="*/ 4919485 w 5455208"/>
              <a:gd name="connsiteY10" fmla="*/ 4875746 h 5968511"/>
              <a:gd name="connsiteX11" fmla="*/ 3380214 w 5455208"/>
              <a:gd name="connsiteY11" fmla="*/ 5765655 h 5968511"/>
              <a:gd name="connsiteX12" fmla="*/ 2742717 w 5455208"/>
              <a:gd name="connsiteY12" fmla="*/ 5968446 h 5968511"/>
              <a:gd name="connsiteX13" fmla="*/ 2224235 w 5455208"/>
              <a:gd name="connsiteY13" fmla="*/ 5833969 h 5968511"/>
              <a:gd name="connsiteX14" fmla="*/ 596148 w 5455208"/>
              <a:gd name="connsiteY14" fmla="*/ 4894443 h 5968511"/>
              <a:gd name="connsiteX15" fmla="*/ 8630 w 5455208"/>
              <a:gd name="connsiteY15" fmla="*/ 3895587 h 5968511"/>
              <a:gd name="connsiteX16" fmla="*/ 8630 w 5455208"/>
              <a:gd name="connsiteY16" fmla="*/ 2097793 h 5968511"/>
              <a:gd name="connsiteX17" fmla="*/ 613765 w 5455208"/>
              <a:gd name="connsiteY17" fmla="*/ 1074490 h 5968511"/>
              <a:gd name="connsiteX18" fmla="*/ 2242211 w 5455208"/>
              <a:gd name="connsiteY18" fmla="*/ 136040 h 5968511"/>
              <a:gd name="connsiteX19" fmla="*/ 2592018 w 5455208"/>
              <a:gd name="connsiteY19" fmla="*/ 10153 h 596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455208" h="5968511">
                <a:moveTo>
                  <a:pt x="2703764" y="0"/>
                </a:moveTo>
                <a:lnTo>
                  <a:pt x="2724374" y="0"/>
                </a:lnTo>
                <a:lnTo>
                  <a:pt x="2828819" y="4374"/>
                </a:lnTo>
                <a:cubicBezTo>
                  <a:pt x="2947418" y="17213"/>
                  <a:pt x="3066005" y="53702"/>
                  <a:pt x="3183176" y="114108"/>
                </a:cubicBezTo>
                <a:cubicBezTo>
                  <a:pt x="3478735" y="266919"/>
                  <a:pt x="3763864" y="439870"/>
                  <a:pt x="4052950" y="605267"/>
                </a:cubicBezTo>
                <a:cubicBezTo>
                  <a:pt x="4317585" y="756278"/>
                  <a:pt x="4581503" y="909093"/>
                  <a:pt x="4843979" y="1061188"/>
                </a:cubicBezTo>
                <a:cubicBezTo>
                  <a:pt x="5146549" y="1235933"/>
                  <a:pt x="5351026" y="1466904"/>
                  <a:pt x="5428589" y="1774882"/>
                </a:cubicBezTo>
                <a:lnTo>
                  <a:pt x="5455208" y="1927081"/>
                </a:lnTo>
                <a:lnTo>
                  <a:pt x="5455208" y="4042181"/>
                </a:lnTo>
                <a:lnTo>
                  <a:pt x="5451902" y="4091035"/>
                </a:lnTo>
                <a:cubicBezTo>
                  <a:pt x="5408631" y="4430489"/>
                  <a:pt x="5228751" y="4693584"/>
                  <a:pt x="4919485" y="4875746"/>
                </a:cubicBezTo>
                <a:cubicBezTo>
                  <a:pt x="4408915" y="5176696"/>
                  <a:pt x="3894744" y="5471175"/>
                  <a:pt x="3380214" y="5765655"/>
                </a:cubicBezTo>
                <a:cubicBezTo>
                  <a:pt x="3183176" y="5878555"/>
                  <a:pt x="2980743" y="5971323"/>
                  <a:pt x="2742717" y="5968446"/>
                </a:cubicBezTo>
                <a:cubicBezTo>
                  <a:pt x="2561212" y="5968877"/>
                  <a:pt x="2382656" y="5922566"/>
                  <a:pt x="2224235" y="5833969"/>
                </a:cubicBezTo>
                <a:cubicBezTo>
                  <a:pt x="1680219" y="5522952"/>
                  <a:pt x="1143040" y="5200070"/>
                  <a:pt x="596148" y="4894443"/>
                </a:cubicBezTo>
                <a:cubicBezTo>
                  <a:pt x="200633" y="4672955"/>
                  <a:pt x="17260" y="4331013"/>
                  <a:pt x="8630" y="3895587"/>
                </a:cubicBezTo>
                <a:cubicBezTo>
                  <a:pt x="-2876" y="3296311"/>
                  <a:pt x="-2876" y="2697073"/>
                  <a:pt x="8630" y="2097793"/>
                </a:cubicBezTo>
                <a:cubicBezTo>
                  <a:pt x="17260" y="1649784"/>
                  <a:pt x="201354" y="1300652"/>
                  <a:pt x="613765" y="1074490"/>
                </a:cubicBezTo>
                <a:cubicBezTo>
                  <a:pt x="1162813" y="773182"/>
                  <a:pt x="1697119" y="445264"/>
                  <a:pt x="2242211" y="136040"/>
                </a:cubicBezTo>
                <a:cubicBezTo>
                  <a:pt x="2356955" y="70781"/>
                  <a:pt x="2474026" y="28730"/>
                  <a:pt x="2592018" y="10153"/>
                </a:cubicBezTo>
                <a:close/>
              </a:path>
            </a:pathLst>
          </a:custGeom>
          <a:solidFill>
            <a:schemeClr val="bg1"/>
          </a:solidFill>
        </p:spPr>
        <p:txBody>
          <a:bodyPr wrap="square" bIns="936000" anchor="ctr">
            <a:noAutofit/>
          </a:bodyPr>
          <a:lstStyle>
            <a:lvl1pPr marL="0" algn="ctr">
              <a:spcAft>
                <a:spcPts val="0"/>
              </a:spcAft>
              <a:buFontTx/>
              <a:buNone/>
              <a:defRPr sz="1200" b="0"/>
            </a:lvl1pPr>
            <a:lvl2pPr marL="0" algn="ctr">
              <a:spcAft>
                <a:spcPts val="0"/>
              </a:spcAft>
              <a:buFontTx/>
              <a:buNone/>
              <a:defRPr sz="1200" b="0"/>
            </a:lvl2pPr>
            <a:lvl3pPr marL="0" indent="0" algn="ctr">
              <a:spcAft>
                <a:spcPts val="0"/>
              </a:spcAft>
              <a:buFontTx/>
              <a:buNone/>
              <a:defRPr sz="1200" b="0"/>
            </a:lvl3pPr>
            <a:lvl4pPr marL="0" indent="0" algn="ctr">
              <a:spcAft>
                <a:spcPts val="0"/>
              </a:spcAft>
              <a:buFontTx/>
              <a:buNone/>
              <a:defRPr sz="1200" b="0"/>
            </a:lvl4pPr>
            <a:lvl5pPr marL="0" indent="0" algn="ctr">
              <a:spcAft>
                <a:spcPts val="0"/>
              </a:spcAft>
              <a:buFontTx/>
              <a:buNone/>
              <a:defRPr sz="1200" b="0"/>
            </a:lvl5pPr>
            <a:lvl6pPr marL="0" indent="0" algn="ctr">
              <a:spcAft>
                <a:spcPts val="0"/>
              </a:spcAft>
              <a:buFontTx/>
              <a:buNone/>
              <a:defRPr sz="1200" b="0"/>
            </a:lvl6pPr>
            <a:lvl7pPr marL="0" indent="0" algn="ctr">
              <a:spcAft>
                <a:spcPts val="0"/>
              </a:spcAft>
              <a:buFontTx/>
              <a:buNone/>
              <a:defRPr sz="1200" b="0"/>
            </a:lvl7pPr>
            <a:lvl8pPr marL="0" indent="0" algn="ctr">
              <a:spcAft>
                <a:spcPts val="0"/>
              </a:spcAft>
              <a:buFontTx/>
              <a:buNone/>
              <a:defRPr sz="1200" b="0"/>
            </a:lvl8pPr>
            <a:lvl9pPr marL="0" indent="0" algn="ctr">
              <a:spcAft>
                <a:spcPts val="0"/>
              </a:spcAft>
              <a:buFontTx/>
              <a:buNone/>
              <a:defRPr sz="1200" b="0"/>
            </a:lvl9pPr>
          </a:lstStyle>
          <a:p>
            <a:pPr lvl="0"/>
            <a:r>
              <a:rPr lang="de-DE"/>
              <a:t>Bild durch Klick auf </a:t>
            </a:r>
            <a:br>
              <a:rPr lang="de-DE"/>
            </a:br>
            <a:r>
              <a:rPr lang="de-DE"/>
              <a:t>das Icon hinzufügen und </a:t>
            </a:r>
            <a:br>
              <a:rPr lang="de-DE"/>
            </a:br>
            <a:r>
              <a:rPr lang="de-DE"/>
              <a:t>ggf. zuschneiden</a:t>
            </a:r>
          </a:p>
        </p:txBody>
      </p:sp>
      <p:sp>
        <p:nvSpPr>
          <p:cNvPr id="8" name="Textplatzhalter 10">
            <a:extLst>
              <a:ext uri="{FF2B5EF4-FFF2-40B4-BE49-F238E27FC236}">
                <a16:creationId xmlns:a16="http://schemas.microsoft.com/office/drawing/2014/main" id="{70CF5F7A-3B79-48AA-845F-71D063341622}"/>
              </a:ext>
            </a:extLst>
          </p:cNvPr>
          <p:cNvSpPr>
            <a:spLocks noGrp="1"/>
          </p:cNvSpPr>
          <p:nvPr>
            <p:ph type="body" sz="quarter" idx="14"/>
          </p:nvPr>
        </p:nvSpPr>
        <p:spPr bwMode="gray">
          <a:xfrm>
            <a:off x="6384640" y="2997312"/>
            <a:ext cx="5472000" cy="3240000"/>
          </a:xfrm>
        </p:spPr>
        <p:txBody>
          <a:bodyPr/>
          <a:lstStyle>
            <a:lvl1pPr marL="0" indent="0">
              <a:spcAft>
                <a:spcPts val="0"/>
              </a:spcAft>
              <a:buFont typeface="Arial" panose="020B0604020202020204" pitchFamily="34" charset="0"/>
              <a:buNone/>
              <a:defRPr sz="4400" b="1"/>
            </a:lvl1pPr>
            <a:lvl2pPr marL="0" indent="0">
              <a:spcAft>
                <a:spcPts val="0"/>
              </a:spcAft>
              <a:buFont typeface="Arial" panose="020B0604020202020204" pitchFamily="34" charset="0"/>
              <a:buNone/>
              <a:defRPr sz="4400" b="1"/>
            </a:lvl2pPr>
            <a:lvl3pPr marL="0" indent="0">
              <a:spcAft>
                <a:spcPts val="0"/>
              </a:spcAft>
              <a:buNone/>
              <a:defRPr sz="4400" b="1"/>
            </a:lvl3pPr>
            <a:lvl4pPr marL="0" indent="0">
              <a:spcAft>
                <a:spcPts val="0"/>
              </a:spcAft>
              <a:buNone/>
              <a:defRPr sz="4400" b="1"/>
            </a:lvl4pPr>
            <a:lvl5pPr marL="0" indent="0">
              <a:spcAft>
                <a:spcPts val="0"/>
              </a:spcAft>
              <a:buNone/>
              <a:defRPr sz="4400" b="1"/>
            </a:lvl5pPr>
            <a:lvl6pPr marL="0" indent="0">
              <a:spcAft>
                <a:spcPts val="0"/>
              </a:spcAft>
              <a:buNone/>
              <a:defRPr sz="4400" b="1"/>
            </a:lvl6pPr>
            <a:lvl7pPr marL="0" indent="0">
              <a:spcAft>
                <a:spcPts val="0"/>
              </a:spcAft>
              <a:buNone/>
              <a:defRPr sz="4400" b="1"/>
            </a:lvl7pPr>
            <a:lvl8pPr marL="0" indent="0">
              <a:spcAft>
                <a:spcPts val="0"/>
              </a:spcAft>
              <a:buNone/>
              <a:defRPr sz="4400" b="1"/>
            </a:lvl8pPr>
            <a:lvl9pPr marL="0" indent="0">
              <a:spcAft>
                <a:spcPts val="0"/>
              </a:spcAft>
              <a:buNone/>
              <a:defRPr sz="4400" b="1"/>
            </a:lvl9pPr>
          </a:lstStyle>
          <a:p>
            <a:pPr lvl="0"/>
            <a:r>
              <a:rPr lang="de-DE"/>
              <a:t>Mastertextformat bearbeiten</a:t>
            </a:r>
          </a:p>
        </p:txBody>
      </p:sp>
      <p:sp>
        <p:nvSpPr>
          <p:cNvPr id="10" name="Rechteck 9">
            <a:extLst>
              <a:ext uri="{FF2B5EF4-FFF2-40B4-BE49-F238E27FC236}">
                <a16:creationId xmlns:a16="http://schemas.microsoft.com/office/drawing/2014/main" id="{A68B0F0F-7688-4033-B2E1-133401AC1A27}"/>
              </a:ext>
            </a:extLst>
          </p:cNvPr>
          <p:cNvSpPr/>
          <p:nvPr userDrawn="1"/>
        </p:nvSpPr>
        <p:spPr bwMode="gray">
          <a:xfrm>
            <a:off x="0" y="6750000"/>
            <a:ext cx="11664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Grafik 2">
            <a:extLst>
              <a:ext uri="{FF2B5EF4-FFF2-40B4-BE49-F238E27FC236}">
                <a16:creationId xmlns:a16="http://schemas.microsoft.com/office/drawing/2014/main" id="{620B7A1D-7A48-4E39-A79B-6EECB076D3AE}"/>
              </a:ext>
            </a:extLst>
          </p:cNvPr>
          <p:cNvSpPr/>
          <p:nvPr userDrawn="1"/>
        </p:nvSpPr>
        <p:spPr bwMode="gray">
          <a:xfrm>
            <a:off x="10572288" y="544513"/>
            <a:ext cx="1284750" cy="1403744"/>
          </a:xfrm>
          <a:custGeom>
            <a:avLst/>
            <a:gdLst>
              <a:gd name="connsiteX0" fmla="*/ 1446513 w 1447286"/>
              <a:gd name="connsiteY0" fmla="*/ 797086 h 1581333"/>
              <a:gd name="connsiteX1" fmla="*/ 1446513 w 1447286"/>
              <a:gd name="connsiteY1" fmla="*/ 1043974 h 1581333"/>
              <a:gd name="connsiteX2" fmla="*/ 1302780 w 1447286"/>
              <a:gd name="connsiteY2" fmla="*/ 1291624 h 1581333"/>
              <a:gd name="connsiteX3" fmla="*/ 895015 w 1447286"/>
              <a:gd name="connsiteY3" fmla="*/ 1527368 h 1581333"/>
              <a:gd name="connsiteX4" fmla="*/ 726137 w 1447286"/>
              <a:gd name="connsiteY4" fmla="*/ 1581089 h 1581333"/>
              <a:gd name="connsiteX5" fmla="*/ 588787 w 1447286"/>
              <a:gd name="connsiteY5" fmla="*/ 1545465 h 1581333"/>
              <a:gd name="connsiteX6" fmla="*/ 157494 w 1447286"/>
              <a:gd name="connsiteY6" fmla="*/ 1296577 h 1581333"/>
              <a:gd name="connsiteX7" fmla="*/ 1856 w 1447286"/>
              <a:gd name="connsiteY7" fmla="*/ 1031972 h 1581333"/>
              <a:gd name="connsiteX8" fmla="*/ 1856 w 1447286"/>
              <a:gd name="connsiteY8" fmla="*/ 555722 h 1581333"/>
              <a:gd name="connsiteX9" fmla="*/ 162161 w 1447286"/>
              <a:gd name="connsiteY9" fmla="*/ 284641 h 1581333"/>
              <a:gd name="connsiteX10" fmla="*/ 593549 w 1447286"/>
              <a:gd name="connsiteY10" fmla="*/ 36038 h 1581333"/>
              <a:gd name="connsiteX11" fmla="*/ 842818 w 1447286"/>
              <a:gd name="connsiteY11" fmla="*/ 30228 h 1581333"/>
              <a:gd name="connsiteX12" fmla="*/ 1073228 w 1447286"/>
              <a:gd name="connsiteY12" fmla="*/ 160340 h 1581333"/>
              <a:gd name="connsiteX13" fmla="*/ 1282778 w 1447286"/>
              <a:gd name="connsiteY13" fmla="*/ 281117 h 1581333"/>
              <a:gd name="connsiteX14" fmla="*/ 1446703 w 1447286"/>
              <a:gd name="connsiteY14" fmla="*/ 558770 h 1581333"/>
              <a:gd name="connsiteX15" fmla="*/ 1446513 w 1447286"/>
              <a:gd name="connsiteY15" fmla="*/ 797086 h 158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47286" h="1581333">
                <a:moveTo>
                  <a:pt x="1446513" y="797086"/>
                </a:moveTo>
                <a:cubicBezTo>
                  <a:pt x="1446513" y="879382"/>
                  <a:pt x="1447275" y="961678"/>
                  <a:pt x="1446513" y="1043974"/>
                </a:cubicBezTo>
                <a:cubicBezTo>
                  <a:pt x="1445274" y="1153321"/>
                  <a:pt x="1396411" y="1236474"/>
                  <a:pt x="1302780" y="1291624"/>
                </a:cubicBezTo>
                <a:cubicBezTo>
                  <a:pt x="1167526" y="1371348"/>
                  <a:pt x="1031318" y="1449358"/>
                  <a:pt x="895015" y="1527368"/>
                </a:cubicBezTo>
                <a:cubicBezTo>
                  <a:pt x="842818" y="1557276"/>
                  <a:pt x="789192" y="1581851"/>
                  <a:pt x="726137" y="1581089"/>
                </a:cubicBezTo>
                <a:cubicBezTo>
                  <a:pt x="678055" y="1581203"/>
                  <a:pt x="630754" y="1568935"/>
                  <a:pt x="588787" y="1545465"/>
                </a:cubicBezTo>
                <a:cubicBezTo>
                  <a:pt x="444673" y="1463074"/>
                  <a:pt x="302370" y="1377540"/>
                  <a:pt x="157494" y="1296577"/>
                </a:cubicBezTo>
                <a:cubicBezTo>
                  <a:pt x="52719" y="1237903"/>
                  <a:pt x="4142" y="1147320"/>
                  <a:pt x="1856" y="1031972"/>
                </a:cubicBezTo>
                <a:cubicBezTo>
                  <a:pt x="-1192" y="873219"/>
                  <a:pt x="-1192" y="714476"/>
                  <a:pt x="1856" y="555722"/>
                </a:cubicBezTo>
                <a:cubicBezTo>
                  <a:pt x="4142" y="437041"/>
                  <a:pt x="52910" y="344553"/>
                  <a:pt x="162161" y="284641"/>
                </a:cubicBezTo>
                <a:cubicBezTo>
                  <a:pt x="307608" y="204822"/>
                  <a:pt x="449150" y="117954"/>
                  <a:pt x="593549" y="36038"/>
                </a:cubicBezTo>
                <a:cubicBezTo>
                  <a:pt x="674607" y="-10062"/>
                  <a:pt x="760046" y="-12444"/>
                  <a:pt x="842818" y="30228"/>
                </a:cubicBezTo>
                <a:cubicBezTo>
                  <a:pt x="921114" y="70709"/>
                  <a:pt x="996647" y="116525"/>
                  <a:pt x="1073228" y="160340"/>
                </a:cubicBezTo>
                <a:cubicBezTo>
                  <a:pt x="1143332" y="200344"/>
                  <a:pt x="1213246" y="240826"/>
                  <a:pt x="1282778" y="281117"/>
                </a:cubicBezTo>
                <a:cubicBezTo>
                  <a:pt x="1389649" y="342839"/>
                  <a:pt x="1450323" y="431040"/>
                  <a:pt x="1446703" y="558770"/>
                </a:cubicBezTo>
                <a:cubicBezTo>
                  <a:pt x="1444703" y="638114"/>
                  <a:pt x="1446513" y="717743"/>
                  <a:pt x="1446513" y="797086"/>
                </a:cubicBezTo>
                <a:close/>
              </a:path>
            </a:pathLst>
          </a:custGeom>
          <a:gradFill flip="none" rotWithShape="1">
            <a:gsLst>
              <a:gs pos="0">
                <a:schemeClr val="accent2"/>
              </a:gs>
              <a:gs pos="100000">
                <a:srgbClr val="DEFE4A"/>
              </a:gs>
            </a:gsLst>
            <a:lin ang="18900000" scaled="1"/>
            <a:tileRect/>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p>
        </p:txBody>
      </p:sp>
      <p:sp>
        <p:nvSpPr>
          <p:cNvPr id="13" name="Grafik 2">
            <a:extLst>
              <a:ext uri="{FF2B5EF4-FFF2-40B4-BE49-F238E27FC236}">
                <a16:creationId xmlns:a16="http://schemas.microsoft.com/office/drawing/2014/main" id="{663B3468-64C6-4141-B435-163938B944F0}"/>
              </a:ext>
            </a:extLst>
          </p:cNvPr>
          <p:cNvSpPr/>
          <p:nvPr userDrawn="1"/>
        </p:nvSpPr>
        <p:spPr bwMode="gray">
          <a:xfrm>
            <a:off x="10235165" y="1250427"/>
            <a:ext cx="674245" cy="675258"/>
          </a:xfrm>
          <a:custGeom>
            <a:avLst/>
            <a:gdLst>
              <a:gd name="connsiteX0" fmla="*/ 673200 w 674245"/>
              <a:gd name="connsiteY0" fmla="*/ 338487 h 675258"/>
              <a:gd name="connsiteX1" fmla="*/ 334205 w 674245"/>
              <a:gd name="connsiteY1" fmla="*/ 675006 h 675258"/>
              <a:gd name="connsiteX2" fmla="*/ -408 w 674245"/>
              <a:gd name="connsiteY2" fmla="*/ 340392 h 675258"/>
              <a:gd name="connsiteX3" fmla="*/ 340682 w 674245"/>
              <a:gd name="connsiteY3" fmla="*/ -222 h 675258"/>
              <a:gd name="connsiteX4" fmla="*/ 673200 w 674245"/>
              <a:gd name="connsiteY4" fmla="*/ 338487 h 675258"/>
              <a:gd name="connsiteX5" fmla="*/ 536707 w 674245"/>
              <a:gd name="connsiteY5" fmla="*/ 335535 h 675258"/>
              <a:gd name="connsiteX6" fmla="*/ 339349 w 674245"/>
              <a:gd name="connsiteY6" fmla="*/ 137224 h 675258"/>
              <a:gd name="connsiteX7" fmla="*/ 137800 w 674245"/>
              <a:gd name="connsiteY7" fmla="*/ 340392 h 675258"/>
              <a:gd name="connsiteX8" fmla="*/ 333729 w 674245"/>
              <a:gd name="connsiteY8" fmla="*/ 536703 h 675258"/>
              <a:gd name="connsiteX9" fmla="*/ 536707 w 674245"/>
              <a:gd name="connsiteY9" fmla="*/ 335535 h 675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4245" h="675258">
                <a:moveTo>
                  <a:pt x="673200" y="338487"/>
                </a:moveTo>
                <a:cubicBezTo>
                  <a:pt x="679677" y="523749"/>
                  <a:pt x="525753" y="677292"/>
                  <a:pt x="334205" y="675006"/>
                </a:cubicBezTo>
                <a:cubicBezTo>
                  <a:pt x="145801" y="672720"/>
                  <a:pt x="1688" y="528892"/>
                  <a:pt x="-408" y="340392"/>
                </a:cubicBezTo>
                <a:cubicBezTo>
                  <a:pt x="-2503" y="151893"/>
                  <a:pt x="144658" y="1112"/>
                  <a:pt x="340682" y="-222"/>
                </a:cubicBezTo>
                <a:cubicBezTo>
                  <a:pt x="524896" y="-1365"/>
                  <a:pt x="685011" y="168085"/>
                  <a:pt x="673200" y="338487"/>
                </a:cubicBezTo>
                <a:close/>
                <a:moveTo>
                  <a:pt x="536707" y="335535"/>
                </a:moveTo>
                <a:cubicBezTo>
                  <a:pt x="542136" y="235236"/>
                  <a:pt x="439361" y="134557"/>
                  <a:pt x="339349" y="137224"/>
                </a:cubicBezTo>
                <a:cubicBezTo>
                  <a:pt x="246480" y="139701"/>
                  <a:pt x="139324" y="201613"/>
                  <a:pt x="137800" y="340392"/>
                </a:cubicBezTo>
                <a:cubicBezTo>
                  <a:pt x="136657" y="443072"/>
                  <a:pt x="230764" y="537465"/>
                  <a:pt x="333729" y="536703"/>
                </a:cubicBezTo>
                <a:cubicBezTo>
                  <a:pt x="471746" y="535655"/>
                  <a:pt x="536707" y="429356"/>
                  <a:pt x="536707" y="335535"/>
                </a:cubicBezTo>
                <a:close/>
              </a:path>
            </a:pathLst>
          </a:custGeom>
          <a:solidFill>
            <a:srgbClr val="000000"/>
          </a:solidFill>
          <a:ln w="9525" cap="flat">
            <a:noFill/>
            <a:prstDash val="solid"/>
            <a:miter/>
          </a:ln>
        </p:spPr>
        <p:txBody>
          <a:bodyPr rtlCol="0" anchor="ctr"/>
          <a:lstStyle/>
          <a:p>
            <a:endParaRPr lang="de-DE"/>
          </a:p>
        </p:txBody>
      </p:sp>
    </p:spTree>
    <p:extLst>
      <p:ext uri="{BB962C8B-B14F-4D97-AF65-F5344CB8AC3E}">
        <p14:creationId xmlns:p14="http://schemas.microsoft.com/office/powerpoint/2010/main" val="4605939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A103474-4EBB-4B30-B1D2-6F6F5D799AB5}"/>
              </a:ext>
            </a:extLst>
          </p:cNvPr>
          <p:cNvSpPr>
            <a:spLocks noGrp="1"/>
          </p:cNvSpPr>
          <p:nvPr>
            <p:ph type="title"/>
          </p:nvPr>
        </p:nvSpPr>
        <p:spPr bwMode="gray"/>
        <p:txBody>
          <a:bodyPr/>
          <a:lstStyle/>
          <a:p>
            <a:r>
              <a:rPr lang="de-DE"/>
              <a:t>Mastertitelformat bearbeiten</a:t>
            </a:r>
          </a:p>
        </p:txBody>
      </p:sp>
      <p:sp>
        <p:nvSpPr>
          <p:cNvPr id="4" name="Fußzeilenplatzhalter 3">
            <a:extLst>
              <a:ext uri="{FF2B5EF4-FFF2-40B4-BE49-F238E27FC236}">
                <a16:creationId xmlns:a16="http://schemas.microsoft.com/office/drawing/2014/main" id="{976D4EE2-D83E-423F-862C-4526945969BB}"/>
              </a:ext>
            </a:extLst>
          </p:cNvPr>
          <p:cNvSpPr>
            <a:spLocks noGrp="1"/>
          </p:cNvSpPr>
          <p:nvPr>
            <p:ph type="ftr" sz="quarter" idx="11"/>
          </p:nvPr>
        </p:nvSpPr>
        <p:spPr bwMode="gray"/>
        <p:txBody>
          <a:bodyPr/>
          <a:lstStyle/>
          <a:p>
            <a:r>
              <a:rPr lang="de-DE"/>
              <a:t>DENEFF PowerPoint Master</a:t>
            </a:r>
          </a:p>
        </p:txBody>
      </p:sp>
      <p:sp>
        <p:nvSpPr>
          <p:cNvPr id="5" name="Foliennummernplatzhalter 4">
            <a:extLst>
              <a:ext uri="{FF2B5EF4-FFF2-40B4-BE49-F238E27FC236}">
                <a16:creationId xmlns:a16="http://schemas.microsoft.com/office/drawing/2014/main" id="{45A1933F-FFB9-489F-8D62-977CE088E776}"/>
              </a:ext>
            </a:extLst>
          </p:cNvPr>
          <p:cNvSpPr>
            <a:spLocks noGrp="1"/>
          </p:cNvSpPr>
          <p:nvPr>
            <p:ph type="sldNum" sz="quarter" idx="12"/>
          </p:nvPr>
        </p:nvSpPr>
        <p:spPr bwMode="gray"/>
        <p:txBody>
          <a:bodyPr/>
          <a:lstStyle/>
          <a:p>
            <a:fld id="{596A2A10-B827-4CCE-9EB2-A13B5A721707}" type="slidenum">
              <a:rPr lang="de-DE" smtClean="0"/>
              <a:t>‹Nr.›</a:t>
            </a:fld>
            <a:endParaRPr lang="de-DE"/>
          </a:p>
        </p:txBody>
      </p:sp>
    </p:spTree>
    <p:extLst>
      <p:ext uri="{BB962C8B-B14F-4D97-AF65-F5344CB8AC3E}">
        <p14:creationId xmlns:p14="http://schemas.microsoft.com/office/powerpoint/2010/main" val="16982600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Geschichte">
    <p:spTree>
      <p:nvGrpSpPr>
        <p:cNvPr id="1" name=""/>
        <p:cNvGrpSpPr/>
        <p:nvPr/>
      </p:nvGrpSpPr>
      <p:grpSpPr>
        <a:xfrm>
          <a:off x="0" y="0"/>
          <a:ext cx="0" cy="0"/>
          <a:chOff x="0" y="0"/>
          <a:chExt cx="0" cy="0"/>
        </a:xfrm>
      </p:grpSpPr>
      <p:sp>
        <p:nvSpPr>
          <p:cNvPr id="49" name="Grafik 2">
            <a:extLst>
              <a:ext uri="{FF2B5EF4-FFF2-40B4-BE49-F238E27FC236}">
                <a16:creationId xmlns:a16="http://schemas.microsoft.com/office/drawing/2014/main" id="{6157B3FE-4A50-4FE4-A5CA-B58A6F40C2B1}"/>
              </a:ext>
            </a:extLst>
          </p:cNvPr>
          <p:cNvSpPr/>
          <p:nvPr userDrawn="1"/>
        </p:nvSpPr>
        <p:spPr bwMode="gray">
          <a:xfrm>
            <a:off x="10974592" y="548680"/>
            <a:ext cx="666024" cy="666800"/>
          </a:xfrm>
          <a:prstGeom prst="ellipse">
            <a:avLst/>
          </a:prstGeom>
          <a:gradFill flip="none" rotWithShape="1">
            <a:gsLst>
              <a:gs pos="0">
                <a:schemeClr val="tx2"/>
              </a:gs>
              <a:gs pos="100000">
                <a:schemeClr val="accent4"/>
              </a:gs>
            </a:gsLst>
            <a:lin ang="5400000" scaled="1"/>
            <a:tileRect/>
          </a:gradFill>
          <a:ln w="9525" cap="flat">
            <a:noFill/>
            <a:prstDash val="solid"/>
            <a:miter/>
          </a:ln>
        </p:spPr>
        <p:txBody>
          <a:bodyPr rtlCol="0" anchor="ctr"/>
          <a:lstStyle/>
          <a:p>
            <a:endParaRPr lang="de-DE"/>
          </a:p>
        </p:txBody>
      </p:sp>
      <p:sp>
        <p:nvSpPr>
          <p:cNvPr id="50" name="Grafik 2">
            <a:extLst>
              <a:ext uri="{FF2B5EF4-FFF2-40B4-BE49-F238E27FC236}">
                <a16:creationId xmlns:a16="http://schemas.microsoft.com/office/drawing/2014/main" id="{6F18B10C-023B-4944-8D13-5CA1C3F3BC20}"/>
              </a:ext>
            </a:extLst>
          </p:cNvPr>
          <p:cNvSpPr/>
          <p:nvPr userDrawn="1"/>
        </p:nvSpPr>
        <p:spPr bwMode="gray">
          <a:xfrm>
            <a:off x="550863" y="4655979"/>
            <a:ext cx="1447286" cy="1581333"/>
          </a:xfrm>
          <a:custGeom>
            <a:avLst/>
            <a:gdLst>
              <a:gd name="connsiteX0" fmla="*/ 1446513 w 1447286"/>
              <a:gd name="connsiteY0" fmla="*/ 797086 h 1581333"/>
              <a:gd name="connsiteX1" fmla="*/ 1446513 w 1447286"/>
              <a:gd name="connsiteY1" fmla="*/ 1043974 h 1581333"/>
              <a:gd name="connsiteX2" fmla="*/ 1302780 w 1447286"/>
              <a:gd name="connsiteY2" fmla="*/ 1291624 h 1581333"/>
              <a:gd name="connsiteX3" fmla="*/ 895015 w 1447286"/>
              <a:gd name="connsiteY3" fmla="*/ 1527368 h 1581333"/>
              <a:gd name="connsiteX4" fmla="*/ 726137 w 1447286"/>
              <a:gd name="connsiteY4" fmla="*/ 1581089 h 1581333"/>
              <a:gd name="connsiteX5" fmla="*/ 588787 w 1447286"/>
              <a:gd name="connsiteY5" fmla="*/ 1545465 h 1581333"/>
              <a:gd name="connsiteX6" fmla="*/ 157494 w 1447286"/>
              <a:gd name="connsiteY6" fmla="*/ 1296577 h 1581333"/>
              <a:gd name="connsiteX7" fmla="*/ 1856 w 1447286"/>
              <a:gd name="connsiteY7" fmla="*/ 1031972 h 1581333"/>
              <a:gd name="connsiteX8" fmla="*/ 1856 w 1447286"/>
              <a:gd name="connsiteY8" fmla="*/ 555722 h 1581333"/>
              <a:gd name="connsiteX9" fmla="*/ 162161 w 1447286"/>
              <a:gd name="connsiteY9" fmla="*/ 284641 h 1581333"/>
              <a:gd name="connsiteX10" fmla="*/ 593549 w 1447286"/>
              <a:gd name="connsiteY10" fmla="*/ 36038 h 1581333"/>
              <a:gd name="connsiteX11" fmla="*/ 842818 w 1447286"/>
              <a:gd name="connsiteY11" fmla="*/ 30228 h 1581333"/>
              <a:gd name="connsiteX12" fmla="*/ 1073228 w 1447286"/>
              <a:gd name="connsiteY12" fmla="*/ 160340 h 1581333"/>
              <a:gd name="connsiteX13" fmla="*/ 1282778 w 1447286"/>
              <a:gd name="connsiteY13" fmla="*/ 281117 h 1581333"/>
              <a:gd name="connsiteX14" fmla="*/ 1446703 w 1447286"/>
              <a:gd name="connsiteY14" fmla="*/ 558770 h 1581333"/>
              <a:gd name="connsiteX15" fmla="*/ 1446513 w 1447286"/>
              <a:gd name="connsiteY15" fmla="*/ 797086 h 158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47286" h="1581333">
                <a:moveTo>
                  <a:pt x="1446513" y="797086"/>
                </a:moveTo>
                <a:cubicBezTo>
                  <a:pt x="1446513" y="879382"/>
                  <a:pt x="1447275" y="961678"/>
                  <a:pt x="1446513" y="1043974"/>
                </a:cubicBezTo>
                <a:cubicBezTo>
                  <a:pt x="1445274" y="1153321"/>
                  <a:pt x="1396411" y="1236474"/>
                  <a:pt x="1302780" y="1291624"/>
                </a:cubicBezTo>
                <a:cubicBezTo>
                  <a:pt x="1167526" y="1371348"/>
                  <a:pt x="1031318" y="1449358"/>
                  <a:pt x="895015" y="1527368"/>
                </a:cubicBezTo>
                <a:cubicBezTo>
                  <a:pt x="842818" y="1557276"/>
                  <a:pt x="789192" y="1581851"/>
                  <a:pt x="726137" y="1581089"/>
                </a:cubicBezTo>
                <a:cubicBezTo>
                  <a:pt x="678055" y="1581203"/>
                  <a:pt x="630754" y="1568935"/>
                  <a:pt x="588787" y="1545465"/>
                </a:cubicBezTo>
                <a:cubicBezTo>
                  <a:pt x="444673" y="1463074"/>
                  <a:pt x="302370" y="1377540"/>
                  <a:pt x="157494" y="1296577"/>
                </a:cubicBezTo>
                <a:cubicBezTo>
                  <a:pt x="52719" y="1237903"/>
                  <a:pt x="4142" y="1147320"/>
                  <a:pt x="1856" y="1031972"/>
                </a:cubicBezTo>
                <a:cubicBezTo>
                  <a:pt x="-1192" y="873219"/>
                  <a:pt x="-1192" y="714476"/>
                  <a:pt x="1856" y="555722"/>
                </a:cubicBezTo>
                <a:cubicBezTo>
                  <a:pt x="4142" y="437041"/>
                  <a:pt x="52910" y="344553"/>
                  <a:pt x="162161" y="284641"/>
                </a:cubicBezTo>
                <a:cubicBezTo>
                  <a:pt x="307608" y="204822"/>
                  <a:pt x="449150" y="117954"/>
                  <a:pt x="593549" y="36038"/>
                </a:cubicBezTo>
                <a:cubicBezTo>
                  <a:pt x="674607" y="-10062"/>
                  <a:pt x="760046" y="-12444"/>
                  <a:pt x="842818" y="30228"/>
                </a:cubicBezTo>
                <a:cubicBezTo>
                  <a:pt x="921114" y="70709"/>
                  <a:pt x="996647" y="116525"/>
                  <a:pt x="1073228" y="160340"/>
                </a:cubicBezTo>
                <a:cubicBezTo>
                  <a:pt x="1143332" y="200344"/>
                  <a:pt x="1213246" y="240826"/>
                  <a:pt x="1282778" y="281117"/>
                </a:cubicBezTo>
                <a:cubicBezTo>
                  <a:pt x="1389649" y="342839"/>
                  <a:pt x="1450323" y="431040"/>
                  <a:pt x="1446703" y="558770"/>
                </a:cubicBezTo>
                <a:cubicBezTo>
                  <a:pt x="1444703" y="638114"/>
                  <a:pt x="1446513" y="717743"/>
                  <a:pt x="1446513" y="797086"/>
                </a:cubicBezTo>
                <a:close/>
              </a:path>
            </a:pathLst>
          </a:custGeom>
          <a:gradFill flip="none" rotWithShape="1">
            <a:gsLst>
              <a:gs pos="0">
                <a:srgbClr val="008795"/>
              </a:gs>
              <a:gs pos="100000">
                <a:srgbClr val="00C7D6"/>
              </a:gs>
            </a:gsLst>
            <a:lin ang="18900000" scaled="1"/>
            <a:tileRect/>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p>
        </p:txBody>
      </p:sp>
      <p:grpSp>
        <p:nvGrpSpPr>
          <p:cNvPr id="51" name="Gruppieren 50">
            <a:extLst>
              <a:ext uri="{FF2B5EF4-FFF2-40B4-BE49-F238E27FC236}">
                <a16:creationId xmlns:a16="http://schemas.microsoft.com/office/drawing/2014/main" id="{2138EDDC-D66E-462F-8490-DF837F8B19F6}"/>
              </a:ext>
            </a:extLst>
          </p:cNvPr>
          <p:cNvGrpSpPr/>
          <p:nvPr userDrawn="1"/>
        </p:nvGrpSpPr>
        <p:grpSpPr bwMode="gray">
          <a:xfrm>
            <a:off x="11309760" y="188640"/>
            <a:ext cx="1158591" cy="951756"/>
            <a:chOff x="9542706" y="466232"/>
            <a:chExt cx="1158591" cy="951756"/>
          </a:xfrm>
        </p:grpSpPr>
        <p:sp>
          <p:nvSpPr>
            <p:cNvPr id="52" name="Grafik 2">
              <a:extLst>
                <a:ext uri="{FF2B5EF4-FFF2-40B4-BE49-F238E27FC236}">
                  <a16:creationId xmlns:a16="http://schemas.microsoft.com/office/drawing/2014/main" id="{1DE7EEC5-FDE4-4174-8E13-F7ADECF019BD}"/>
                </a:ext>
              </a:extLst>
            </p:cNvPr>
            <p:cNvSpPr/>
            <p:nvPr/>
          </p:nvSpPr>
          <p:spPr bwMode="gray">
            <a:xfrm>
              <a:off x="10575216" y="672982"/>
              <a:ext cx="125652" cy="125498"/>
            </a:xfrm>
            <a:custGeom>
              <a:avLst/>
              <a:gdLst>
                <a:gd name="connsiteX0" fmla="*/ 125119 w 125652"/>
                <a:gd name="connsiteY0" fmla="*/ 60406 h 125498"/>
                <a:gd name="connsiteX1" fmla="*/ 66254 w 125652"/>
                <a:gd name="connsiteY1" fmla="*/ 125271 h 125498"/>
                <a:gd name="connsiteX2" fmla="*/ -421 w 125652"/>
                <a:gd name="connsiteY2" fmla="*/ 60406 h 125498"/>
                <a:gd name="connsiteX3" fmla="*/ 62825 w 125652"/>
                <a:gd name="connsiteY3" fmla="*/ 17 h 125498"/>
                <a:gd name="connsiteX4" fmla="*/ 125024 w 125652"/>
                <a:gd name="connsiteY4" fmla="*/ 51681 h 125498"/>
                <a:gd name="connsiteX5" fmla="*/ 125119 w 125652"/>
                <a:gd name="connsiteY5" fmla="*/ 60406 h 12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52" h="125498">
                  <a:moveTo>
                    <a:pt x="125119" y="60406"/>
                  </a:moveTo>
                  <a:cubicBezTo>
                    <a:pt x="125119" y="97744"/>
                    <a:pt x="100449" y="124985"/>
                    <a:pt x="66254" y="125271"/>
                  </a:cubicBezTo>
                  <a:cubicBezTo>
                    <a:pt x="30345" y="124652"/>
                    <a:pt x="1199" y="96249"/>
                    <a:pt x="-421" y="60406"/>
                  </a:cubicBezTo>
                  <a:cubicBezTo>
                    <a:pt x="-992" y="25925"/>
                    <a:pt x="25391" y="779"/>
                    <a:pt x="62825" y="17"/>
                  </a:cubicBezTo>
                  <a:cubicBezTo>
                    <a:pt x="94258" y="-2878"/>
                    <a:pt x="122070" y="20248"/>
                    <a:pt x="125024" y="51681"/>
                  </a:cubicBezTo>
                  <a:cubicBezTo>
                    <a:pt x="125214" y="54577"/>
                    <a:pt x="125309" y="57501"/>
                    <a:pt x="125119" y="60406"/>
                  </a:cubicBezTo>
                  <a:close/>
                </a:path>
              </a:pathLst>
            </a:custGeom>
            <a:solidFill>
              <a:srgbClr val="000000"/>
            </a:solidFill>
            <a:ln w="9525" cap="flat">
              <a:noFill/>
              <a:prstDash val="solid"/>
              <a:miter/>
            </a:ln>
          </p:spPr>
          <p:txBody>
            <a:bodyPr rtlCol="0" anchor="ctr"/>
            <a:lstStyle/>
            <a:p>
              <a:endParaRPr lang="de-DE"/>
            </a:p>
          </p:txBody>
        </p:sp>
        <p:sp>
          <p:nvSpPr>
            <p:cNvPr id="53" name="Grafik 2">
              <a:extLst>
                <a:ext uri="{FF2B5EF4-FFF2-40B4-BE49-F238E27FC236}">
                  <a16:creationId xmlns:a16="http://schemas.microsoft.com/office/drawing/2014/main" id="{A5DC9467-B940-4DB0-9774-C7E65546861B}"/>
                </a:ext>
              </a:extLst>
            </p:cNvPr>
            <p:cNvSpPr/>
            <p:nvPr/>
          </p:nvSpPr>
          <p:spPr bwMode="gray">
            <a:xfrm>
              <a:off x="9542906" y="879329"/>
              <a:ext cx="125577" cy="125659"/>
            </a:xfrm>
            <a:custGeom>
              <a:avLst/>
              <a:gdLst>
                <a:gd name="connsiteX0" fmla="*/ 124919 w 125577"/>
                <a:gd name="connsiteY0" fmla="*/ 62084 h 125659"/>
                <a:gd name="connsiteX1" fmla="*/ 64531 w 125577"/>
                <a:gd name="connsiteY1" fmla="*/ 125426 h 125659"/>
                <a:gd name="connsiteX2" fmla="*/ -430 w 125577"/>
                <a:gd name="connsiteY2" fmla="*/ 58751 h 125659"/>
                <a:gd name="connsiteX3" fmla="*/ 64436 w 125577"/>
                <a:gd name="connsiteY3" fmla="*/ -114 h 125659"/>
                <a:gd name="connsiteX4" fmla="*/ 125015 w 125577"/>
                <a:gd name="connsiteY4" fmla="*/ 53359 h 125659"/>
                <a:gd name="connsiteX5" fmla="*/ 124919 w 125577"/>
                <a:gd name="connsiteY5" fmla="*/ 62084 h 12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77" h="125659">
                  <a:moveTo>
                    <a:pt x="124919" y="62084"/>
                  </a:moveTo>
                  <a:cubicBezTo>
                    <a:pt x="124157" y="99518"/>
                    <a:pt x="99012" y="125902"/>
                    <a:pt x="64531" y="125426"/>
                  </a:cubicBezTo>
                  <a:cubicBezTo>
                    <a:pt x="28717" y="123778"/>
                    <a:pt x="332" y="94612"/>
                    <a:pt x="-430" y="58751"/>
                  </a:cubicBezTo>
                  <a:cubicBezTo>
                    <a:pt x="-430" y="24556"/>
                    <a:pt x="27002" y="-114"/>
                    <a:pt x="64436" y="-114"/>
                  </a:cubicBezTo>
                  <a:cubicBezTo>
                    <a:pt x="95963" y="-2086"/>
                    <a:pt x="123109" y="21860"/>
                    <a:pt x="125015" y="53359"/>
                  </a:cubicBezTo>
                  <a:cubicBezTo>
                    <a:pt x="125205" y="56265"/>
                    <a:pt x="125205" y="59179"/>
                    <a:pt x="124919" y="62084"/>
                  </a:cubicBezTo>
                  <a:close/>
                </a:path>
              </a:pathLst>
            </a:custGeom>
            <a:solidFill>
              <a:srgbClr val="000000"/>
            </a:solidFill>
            <a:ln w="9525" cap="flat">
              <a:noFill/>
              <a:prstDash val="solid"/>
              <a:miter/>
            </a:ln>
          </p:spPr>
          <p:txBody>
            <a:bodyPr rtlCol="0" anchor="ctr"/>
            <a:lstStyle/>
            <a:p>
              <a:endParaRPr lang="de-DE"/>
            </a:p>
          </p:txBody>
        </p:sp>
        <p:sp>
          <p:nvSpPr>
            <p:cNvPr id="54" name="Grafik 2">
              <a:extLst>
                <a:ext uri="{FF2B5EF4-FFF2-40B4-BE49-F238E27FC236}">
                  <a16:creationId xmlns:a16="http://schemas.microsoft.com/office/drawing/2014/main" id="{BCDA366C-0251-49CD-AA33-DE186C829CBE}"/>
                </a:ext>
              </a:extLst>
            </p:cNvPr>
            <p:cNvSpPr/>
            <p:nvPr/>
          </p:nvSpPr>
          <p:spPr bwMode="gray">
            <a:xfrm>
              <a:off x="9749949" y="879440"/>
              <a:ext cx="125246" cy="125541"/>
            </a:xfrm>
            <a:custGeom>
              <a:avLst/>
              <a:gdLst>
                <a:gd name="connsiteX0" fmla="*/ 66276 w 125246"/>
                <a:gd name="connsiteY0" fmla="*/ 125315 h 125541"/>
                <a:gd name="connsiteX1" fmla="*/ -399 w 125246"/>
                <a:gd name="connsiteY1" fmla="*/ 61212 h 125541"/>
                <a:gd name="connsiteX2" fmla="*/ 61990 w 125246"/>
                <a:gd name="connsiteY2" fmla="*/ 61 h 125541"/>
                <a:gd name="connsiteX3" fmla="*/ 124569 w 125246"/>
                <a:gd name="connsiteY3" fmla="*/ 51239 h 125541"/>
                <a:gd name="connsiteX4" fmla="*/ 124759 w 125246"/>
                <a:gd name="connsiteY4" fmla="*/ 59688 h 125541"/>
                <a:gd name="connsiteX5" fmla="*/ 66276 w 125246"/>
                <a:gd name="connsiteY5" fmla="*/ 125315 h 125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246" h="125541">
                  <a:moveTo>
                    <a:pt x="66276" y="125315"/>
                  </a:moveTo>
                  <a:cubicBezTo>
                    <a:pt x="30652" y="124810"/>
                    <a:pt x="1506" y="96787"/>
                    <a:pt x="-399" y="61212"/>
                  </a:cubicBezTo>
                  <a:cubicBezTo>
                    <a:pt x="-1447" y="26636"/>
                    <a:pt x="24461" y="1204"/>
                    <a:pt x="61990" y="61"/>
                  </a:cubicBezTo>
                  <a:cubicBezTo>
                    <a:pt x="93422" y="-3082"/>
                    <a:pt x="121426" y="19835"/>
                    <a:pt x="124569" y="51239"/>
                  </a:cubicBezTo>
                  <a:cubicBezTo>
                    <a:pt x="124855" y="54049"/>
                    <a:pt x="124855" y="56868"/>
                    <a:pt x="124759" y="59688"/>
                  </a:cubicBezTo>
                  <a:cubicBezTo>
                    <a:pt x="124855" y="97025"/>
                    <a:pt x="100470" y="124553"/>
                    <a:pt x="66276" y="125315"/>
                  </a:cubicBezTo>
                  <a:close/>
                </a:path>
              </a:pathLst>
            </a:custGeom>
            <a:solidFill>
              <a:srgbClr val="000000"/>
            </a:solidFill>
            <a:ln w="9525" cap="flat">
              <a:noFill/>
              <a:prstDash val="solid"/>
              <a:miter/>
            </a:ln>
          </p:spPr>
          <p:txBody>
            <a:bodyPr rtlCol="0" anchor="ctr"/>
            <a:lstStyle/>
            <a:p>
              <a:endParaRPr lang="de-DE"/>
            </a:p>
          </p:txBody>
        </p:sp>
        <p:sp>
          <p:nvSpPr>
            <p:cNvPr id="55" name="Grafik 2">
              <a:extLst>
                <a:ext uri="{FF2B5EF4-FFF2-40B4-BE49-F238E27FC236}">
                  <a16:creationId xmlns:a16="http://schemas.microsoft.com/office/drawing/2014/main" id="{26EECD02-C5AE-44D9-BDB9-0FAED6C020C1}"/>
                </a:ext>
              </a:extLst>
            </p:cNvPr>
            <p:cNvSpPr/>
            <p:nvPr/>
          </p:nvSpPr>
          <p:spPr bwMode="gray">
            <a:xfrm>
              <a:off x="9956451" y="879440"/>
              <a:ext cx="125246" cy="125541"/>
            </a:xfrm>
            <a:custGeom>
              <a:avLst/>
              <a:gdLst>
                <a:gd name="connsiteX0" fmla="*/ 66276 w 125246"/>
                <a:gd name="connsiteY0" fmla="*/ 125315 h 125541"/>
                <a:gd name="connsiteX1" fmla="*/ -399 w 125246"/>
                <a:gd name="connsiteY1" fmla="*/ 61212 h 125541"/>
                <a:gd name="connsiteX2" fmla="*/ 61989 w 125246"/>
                <a:gd name="connsiteY2" fmla="*/ 61 h 125541"/>
                <a:gd name="connsiteX3" fmla="*/ 124569 w 125246"/>
                <a:gd name="connsiteY3" fmla="*/ 51239 h 125541"/>
                <a:gd name="connsiteX4" fmla="*/ 124759 w 125246"/>
                <a:gd name="connsiteY4" fmla="*/ 59688 h 125541"/>
                <a:gd name="connsiteX5" fmla="*/ 66276 w 125246"/>
                <a:gd name="connsiteY5" fmla="*/ 125315 h 125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246" h="125541">
                  <a:moveTo>
                    <a:pt x="66276" y="125315"/>
                  </a:moveTo>
                  <a:cubicBezTo>
                    <a:pt x="30652" y="124810"/>
                    <a:pt x="1505" y="96787"/>
                    <a:pt x="-399" y="61212"/>
                  </a:cubicBezTo>
                  <a:cubicBezTo>
                    <a:pt x="-1447" y="26636"/>
                    <a:pt x="24461" y="1204"/>
                    <a:pt x="61989" y="61"/>
                  </a:cubicBezTo>
                  <a:cubicBezTo>
                    <a:pt x="93422" y="-3082"/>
                    <a:pt x="121425" y="19835"/>
                    <a:pt x="124569" y="51239"/>
                  </a:cubicBezTo>
                  <a:cubicBezTo>
                    <a:pt x="124855" y="54049"/>
                    <a:pt x="124855" y="56868"/>
                    <a:pt x="124759" y="59688"/>
                  </a:cubicBezTo>
                  <a:cubicBezTo>
                    <a:pt x="124855" y="97025"/>
                    <a:pt x="100470" y="124553"/>
                    <a:pt x="66276" y="125315"/>
                  </a:cubicBezTo>
                  <a:close/>
                </a:path>
              </a:pathLst>
            </a:custGeom>
            <a:solidFill>
              <a:srgbClr val="000000"/>
            </a:solidFill>
            <a:ln w="9525" cap="flat">
              <a:noFill/>
              <a:prstDash val="solid"/>
              <a:miter/>
            </a:ln>
          </p:spPr>
          <p:txBody>
            <a:bodyPr rtlCol="0" anchor="ctr"/>
            <a:lstStyle/>
            <a:p>
              <a:endParaRPr lang="de-DE"/>
            </a:p>
          </p:txBody>
        </p:sp>
        <p:sp>
          <p:nvSpPr>
            <p:cNvPr id="56" name="Grafik 2">
              <a:extLst>
                <a:ext uri="{FF2B5EF4-FFF2-40B4-BE49-F238E27FC236}">
                  <a16:creationId xmlns:a16="http://schemas.microsoft.com/office/drawing/2014/main" id="{A25FFE05-3D67-4CC0-BBE5-C5524536CEB4}"/>
                </a:ext>
              </a:extLst>
            </p:cNvPr>
            <p:cNvSpPr/>
            <p:nvPr/>
          </p:nvSpPr>
          <p:spPr bwMode="gray">
            <a:xfrm>
              <a:off x="10162508" y="879546"/>
              <a:ext cx="125500" cy="125361"/>
            </a:xfrm>
            <a:custGeom>
              <a:avLst/>
              <a:gdLst>
                <a:gd name="connsiteX0" fmla="*/ 64816 w 125500"/>
                <a:gd name="connsiteY0" fmla="*/ -141 h 125361"/>
                <a:gd name="connsiteX1" fmla="*/ 125014 w 125500"/>
                <a:gd name="connsiteY1" fmla="*/ 53809 h 125361"/>
                <a:gd name="connsiteX2" fmla="*/ 124824 w 125500"/>
                <a:gd name="connsiteY2" fmla="*/ 62343 h 125361"/>
                <a:gd name="connsiteX3" fmla="*/ 63959 w 125500"/>
                <a:gd name="connsiteY3" fmla="*/ 125113 h 125361"/>
                <a:gd name="connsiteX4" fmla="*/ -430 w 125500"/>
                <a:gd name="connsiteY4" fmla="*/ 58438 h 125361"/>
                <a:gd name="connsiteX5" fmla="*/ 64816 w 125500"/>
                <a:gd name="connsiteY5" fmla="*/ -141 h 12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00" h="125361">
                  <a:moveTo>
                    <a:pt x="64816" y="-141"/>
                  </a:moveTo>
                  <a:cubicBezTo>
                    <a:pt x="96343" y="-1865"/>
                    <a:pt x="123300" y="22291"/>
                    <a:pt x="125014" y="53809"/>
                  </a:cubicBezTo>
                  <a:cubicBezTo>
                    <a:pt x="125109" y="56657"/>
                    <a:pt x="125109" y="59505"/>
                    <a:pt x="124824" y="62343"/>
                  </a:cubicBezTo>
                  <a:cubicBezTo>
                    <a:pt x="123775" y="99872"/>
                    <a:pt x="98535" y="125971"/>
                    <a:pt x="63959" y="125113"/>
                  </a:cubicBezTo>
                  <a:cubicBezTo>
                    <a:pt x="28240" y="123313"/>
                    <a:pt x="141" y="94148"/>
                    <a:pt x="-430" y="58438"/>
                  </a:cubicBezTo>
                  <a:cubicBezTo>
                    <a:pt x="141" y="24148"/>
                    <a:pt x="27478" y="-331"/>
                    <a:pt x="64816" y="-141"/>
                  </a:cubicBezTo>
                  <a:close/>
                </a:path>
              </a:pathLst>
            </a:custGeom>
            <a:solidFill>
              <a:srgbClr val="000000"/>
            </a:solidFill>
            <a:ln w="9525" cap="flat">
              <a:noFill/>
              <a:prstDash val="solid"/>
              <a:miter/>
            </a:ln>
          </p:spPr>
          <p:txBody>
            <a:bodyPr rtlCol="0" anchor="ctr"/>
            <a:lstStyle/>
            <a:p>
              <a:endParaRPr lang="de-DE"/>
            </a:p>
          </p:txBody>
        </p:sp>
        <p:sp>
          <p:nvSpPr>
            <p:cNvPr id="57" name="Grafik 2">
              <a:extLst>
                <a:ext uri="{FF2B5EF4-FFF2-40B4-BE49-F238E27FC236}">
                  <a16:creationId xmlns:a16="http://schemas.microsoft.com/office/drawing/2014/main" id="{93F86AEB-B3A2-44C6-A0AA-324FB036A439}"/>
                </a:ext>
              </a:extLst>
            </p:cNvPr>
            <p:cNvSpPr/>
            <p:nvPr/>
          </p:nvSpPr>
          <p:spPr bwMode="gray">
            <a:xfrm>
              <a:off x="9956003" y="466550"/>
              <a:ext cx="125399" cy="125428"/>
            </a:xfrm>
            <a:custGeom>
              <a:avLst/>
              <a:gdLst>
                <a:gd name="connsiteX0" fmla="*/ 63390 w 125399"/>
                <a:gd name="connsiteY0" fmla="*/ -52 h 125428"/>
                <a:gd name="connsiteX1" fmla="*/ 124826 w 125399"/>
                <a:gd name="connsiteY1" fmla="*/ 52497 h 125428"/>
                <a:gd name="connsiteX2" fmla="*/ 124826 w 125399"/>
                <a:gd name="connsiteY2" fmla="*/ 60907 h 125428"/>
                <a:gd name="connsiteX3" fmla="*/ 65390 w 125399"/>
                <a:gd name="connsiteY3" fmla="*/ 125201 h 125428"/>
                <a:gd name="connsiteX4" fmla="*/ -428 w 125399"/>
                <a:gd name="connsiteY4" fmla="*/ 59860 h 125428"/>
                <a:gd name="connsiteX5" fmla="*/ 63390 w 125399"/>
                <a:gd name="connsiteY5" fmla="*/ -52 h 125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99" h="125428">
                  <a:moveTo>
                    <a:pt x="63390" y="-52"/>
                  </a:moveTo>
                  <a:cubicBezTo>
                    <a:pt x="94822" y="-2500"/>
                    <a:pt x="122350" y="21036"/>
                    <a:pt x="124826" y="52497"/>
                  </a:cubicBezTo>
                  <a:cubicBezTo>
                    <a:pt x="125017" y="55297"/>
                    <a:pt x="125017" y="58107"/>
                    <a:pt x="124826" y="60907"/>
                  </a:cubicBezTo>
                  <a:cubicBezTo>
                    <a:pt x="124826" y="98341"/>
                    <a:pt x="99775" y="125201"/>
                    <a:pt x="65390" y="125201"/>
                  </a:cubicBezTo>
                  <a:cubicBezTo>
                    <a:pt x="29672" y="124125"/>
                    <a:pt x="906" y="95560"/>
                    <a:pt x="-428" y="59860"/>
                  </a:cubicBezTo>
                  <a:cubicBezTo>
                    <a:pt x="-714" y="25094"/>
                    <a:pt x="25957" y="424"/>
                    <a:pt x="63390" y="-52"/>
                  </a:cubicBezTo>
                  <a:close/>
                </a:path>
              </a:pathLst>
            </a:custGeom>
            <a:solidFill>
              <a:srgbClr val="000000"/>
            </a:solidFill>
            <a:ln w="9525" cap="flat">
              <a:noFill/>
              <a:prstDash val="solid"/>
              <a:miter/>
            </a:ln>
          </p:spPr>
          <p:txBody>
            <a:bodyPr rtlCol="0" anchor="ctr"/>
            <a:lstStyle/>
            <a:p>
              <a:endParaRPr lang="de-DE"/>
            </a:p>
          </p:txBody>
        </p:sp>
        <p:sp>
          <p:nvSpPr>
            <p:cNvPr id="58" name="Grafik 2">
              <a:extLst>
                <a:ext uri="{FF2B5EF4-FFF2-40B4-BE49-F238E27FC236}">
                  <a16:creationId xmlns:a16="http://schemas.microsoft.com/office/drawing/2014/main" id="{AFAF2B78-F593-4FF4-BCAD-2DCDBEF5B2AD}"/>
                </a:ext>
              </a:extLst>
            </p:cNvPr>
            <p:cNvSpPr/>
            <p:nvPr/>
          </p:nvSpPr>
          <p:spPr bwMode="gray">
            <a:xfrm>
              <a:off x="10575956" y="879431"/>
              <a:ext cx="125341" cy="125550"/>
            </a:xfrm>
            <a:custGeom>
              <a:avLst/>
              <a:gdLst>
                <a:gd name="connsiteX0" fmla="*/ 66276 w 125341"/>
                <a:gd name="connsiteY0" fmla="*/ 125324 h 125550"/>
                <a:gd name="connsiteX1" fmla="*/ -399 w 125341"/>
                <a:gd name="connsiteY1" fmla="*/ 61221 h 125550"/>
                <a:gd name="connsiteX2" fmla="*/ 61990 w 125341"/>
                <a:gd name="connsiteY2" fmla="*/ 70 h 125550"/>
                <a:gd name="connsiteX3" fmla="*/ 124664 w 125341"/>
                <a:gd name="connsiteY3" fmla="*/ 51143 h 125550"/>
                <a:gd name="connsiteX4" fmla="*/ 124855 w 125341"/>
                <a:gd name="connsiteY4" fmla="*/ 59697 h 125550"/>
                <a:gd name="connsiteX5" fmla="*/ 66276 w 125341"/>
                <a:gd name="connsiteY5" fmla="*/ 125324 h 12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41" h="125550">
                  <a:moveTo>
                    <a:pt x="66276" y="125324"/>
                  </a:moveTo>
                  <a:cubicBezTo>
                    <a:pt x="30652" y="124781"/>
                    <a:pt x="1506" y="96777"/>
                    <a:pt x="-399" y="61221"/>
                  </a:cubicBezTo>
                  <a:cubicBezTo>
                    <a:pt x="-1447" y="26645"/>
                    <a:pt x="24462" y="1213"/>
                    <a:pt x="61990" y="70"/>
                  </a:cubicBezTo>
                  <a:cubicBezTo>
                    <a:pt x="93423" y="-3121"/>
                    <a:pt x="121426" y="19739"/>
                    <a:pt x="124664" y="51143"/>
                  </a:cubicBezTo>
                  <a:cubicBezTo>
                    <a:pt x="124950" y="53981"/>
                    <a:pt x="124950" y="56848"/>
                    <a:pt x="124855" y="59697"/>
                  </a:cubicBezTo>
                  <a:cubicBezTo>
                    <a:pt x="125141" y="97034"/>
                    <a:pt x="100471" y="124562"/>
                    <a:pt x="66276" y="125324"/>
                  </a:cubicBezTo>
                  <a:close/>
                </a:path>
              </a:pathLst>
            </a:custGeom>
            <a:solidFill>
              <a:srgbClr val="000000"/>
            </a:solidFill>
            <a:ln w="9525" cap="flat">
              <a:noFill/>
              <a:prstDash val="solid"/>
              <a:miter/>
            </a:ln>
          </p:spPr>
          <p:txBody>
            <a:bodyPr rtlCol="0" anchor="ctr"/>
            <a:lstStyle/>
            <a:p>
              <a:endParaRPr lang="de-DE"/>
            </a:p>
          </p:txBody>
        </p:sp>
        <p:sp>
          <p:nvSpPr>
            <p:cNvPr id="59" name="Grafik 2">
              <a:extLst>
                <a:ext uri="{FF2B5EF4-FFF2-40B4-BE49-F238E27FC236}">
                  <a16:creationId xmlns:a16="http://schemas.microsoft.com/office/drawing/2014/main" id="{0EB8AF64-D9A7-4743-8555-A12B189CAADF}"/>
                </a:ext>
              </a:extLst>
            </p:cNvPr>
            <p:cNvSpPr/>
            <p:nvPr/>
          </p:nvSpPr>
          <p:spPr bwMode="gray">
            <a:xfrm>
              <a:off x="9543001" y="1086080"/>
              <a:ext cx="125480" cy="125345"/>
            </a:xfrm>
            <a:custGeom>
              <a:avLst/>
              <a:gdLst>
                <a:gd name="connsiteX0" fmla="*/ 65388 w 125480"/>
                <a:gd name="connsiteY0" fmla="*/ -172 h 125345"/>
                <a:gd name="connsiteX1" fmla="*/ 125015 w 125480"/>
                <a:gd name="connsiteY1" fmla="*/ 54426 h 125345"/>
                <a:gd name="connsiteX2" fmla="*/ 124729 w 125480"/>
                <a:gd name="connsiteY2" fmla="*/ 62884 h 125345"/>
                <a:gd name="connsiteX3" fmla="*/ 63387 w 125480"/>
                <a:gd name="connsiteY3" fmla="*/ 125082 h 125345"/>
                <a:gd name="connsiteX4" fmla="*/ -430 w 125480"/>
                <a:gd name="connsiteY4" fmla="*/ 57740 h 125345"/>
                <a:gd name="connsiteX5" fmla="*/ 65388 w 125480"/>
                <a:gd name="connsiteY5" fmla="*/ -172 h 12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480" h="125345">
                  <a:moveTo>
                    <a:pt x="65388" y="-172"/>
                  </a:moveTo>
                  <a:cubicBezTo>
                    <a:pt x="96915" y="-1553"/>
                    <a:pt x="123586" y="22888"/>
                    <a:pt x="125015" y="54426"/>
                  </a:cubicBezTo>
                  <a:cubicBezTo>
                    <a:pt x="125110" y="57245"/>
                    <a:pt x="125015" y="60074"/>
                    <a:pt x="124729" y="62884"/>
                  </a:cubicBezTo>
                  <a:cubicBezTo>
                    <a:pt x="123490" y="100317"/>
                    <a:pt x="97963" y="126225"/>
                    <a:pt x="63387" y="125082"/>
                  </a:cubicBezTo>
                  <a:cubicBezTo>
                    <a:pt x="27668" y="123015"/>
                    <a:pt x="-335" y="93526"/>
                    <a:pt x="-430" y="57740"/>
                  </a:cubicBezTo>
                  <a:cubicBezTo>
                    <a:pt x="427" y="23641"/>
                    <a:pt x="28145" y="-648"/>
                    <a:pt x="65388" y="-172"/>
                  </a:cubicBezTo>
                  <a:close/>
                </a:path>
              </a:pathLst>
            </a:custGeom>
            <a:solidFill>
              <a:srgbClr val="000000"/>
            </a:solidFill>
            <a:ln w="9525" cap="flat">
              <a:noFill/>
              <a:prstDash val="solid"/>
              <a:miter/>
            </a:ln>
          </p:spPr>
          <p:txBody>
            <a:bodyPr rtlCol="0" anchor="ctr"/>
            <a:lstStyle/>
            <a:p>
              <a:endParaRPr lang="de-DE"/>
            </a:p>
          </p:txBody>
        </p:sp>
        <p:sp>
          <p:nvSpPr>
            <p:cNvPr id="60" name="Grafik 2">
              <a:extLst>
                <a:ext uri="{FF2B5EF4-FFF2-40B4-BE49-F238E27FC236}">
                  <a16:creationId xmlns:a16="http://schemas.microsoft.com/office/drawing/2014/main" id="{CAC6BAB2-AE42-47BD-921C-BB86B226C9C7}"/>
                </a:ext>
              </a:extLst>
            </p:cNvPr>
            <p:cNvSpPr/>
            <p:nvPr/>
          </p:nvSpPr>
          <p:spPr bwMode="gray">
            <a:xfrm>
              <a:off x="9749673" y="1085987"/>
              <a:ext cx="125183" cy="125496"/>
            </a:xfrm>
            <a:custGeom>
              <a:avLst/>
              <a:gdLst>
                <a:gd name="connsiteX0" fmla="*/ 124654 w 125183"/>
                <a:gd name="connsiteY0" fmla="*/ 59928 h 125496"/>
                <a:gd name="connsiteX1" fmla="*/ 66266 w 125183"/>
                <a:gd name="connsiteY1" fmla="*/ 125269 h 125496"/>
                <a:gd name="connsiteX2" fmla="*/ -409 w 125183"/>
                <a:gd name="connsiteY2" fmla="*/ 60881 h 125496"/>
                <a:gd name="connsiteX3" fmla="*/ 62361 w 125183"/>
                <a:gd name="connsiteY3" fmla="*/ 16 h 125496"/>
                <a:gd name="connsiteX4" fmla="*/ 124464 w 125183"/>
                <a:gd name="connsiteY4" fmla="*/ 51708 h 125496"/>
                <a:gd name="connsiteX5" fmla="*/ 124654 w 125183"/>
                <a:gd name="connsiteY5" fmla="*/ 59928 h 125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183" h="125496">
                  <a:moveTo>
                    <a:pt x="124654" y="59928"/>
                  </a:moveTo>
                  <a:cubicBezTo>
                    <a:pt x="124654" y="97266"/>
                    <a:pt x="100461" y="124698"/>
                    <a:pt x="66266" y="125269"/>
                  </a:cubicBezTo>
                  <a:cubicBezTo>
                    <a:pt x="30547" y="124622"/>
                    <a:pt x="1496" y="96514"/>
                    <a:pt x="-409" y="60881"/>
                  </a:cubicBezTo>
                  <a:cubicBezTo>
                    <a:pt x="-1266" y="26305"/>
                    <a:pt x="24832" y="1064"/>
                    <a:pt x="62361" y="16"/>
                  </a:cubicBezTo>
                  <a:cubicBezTo>
                    <a:pt x="93793" y="-2870"/>
                    <a:pt x="121606" y="20276"/>
                    <a:pt x="124464" y="51708"/>
                  </a:cubicBezTo>
                  <a:cubicBezTo>
                    <a:pt x="124749" y="54442"/>
                    <a:pt x="124845" y="57185"/>
                    <a:pt x="124654" y="59928"/>
                  </a:cubicBezTo>
                  <a:close/>
                </a:path>
              </a:pathLst>
            </a:custGeom>
            <a:solidFill>
              <a:srgbClr val="000000"/>
            </a:solidFill>
            <a:ln w="9525" cap="flat">
              <a:noFill/>
              <a:prstDash val="solid"/>
              <a:miter/>
            </a:ln>
          </p:spPr>
          <p:txBody>
            <a:bodyPr rtlCol="0" anchor="ctr"/>
            <a:lstStyle/>
            <a:p>
              <a:endParaRPr lang="de-DE"/>
            </a:p>
          </p:txBody>
        </p:sp>
        <p:sp>
          <p:nvSpPr>
            <p:cNvPr id="61" name="Grafik 2">
              <a:extLst>
                <a:ext uri="{FF2B5EF4-FFF2-40B4-BE49-F238E27FC236}">
                  <a16:creationId xmlns:a16="http://schemas.microsoft.com/office/drawing/2014/main" id="{94546105-A8CF-41DD-A5EA-C8632EA6B2AF}"/>
                </a:ext>
              </a:extLst>
            </p:cNvPr>
            <p:cNvSpPr/>
            <p:nvPr/>
          </p:nvSpPr>
          <p:spPr bwMode="gray">
            <a:xfrm>
              <a:off x="9956064" y="1086009"/>
              <a:ext cx="125326" cy="125475"/>
            </a:xfrm>
            <a:custGeom>
              <a:avLst/>
              <a:gdLst>
                <a:gd name="connsiteX0" fmla="*/ 124861 w 125326"/>
                <a:gd name="connsiteY0" fmla="*/ 59430 h 125475"/>
                <a:gd name="connsiteX1" fmla="*/ 66854 w 125326"/>
                <a:gd name="connsiteY1" fmla="*/ 125248 h 125475"/>
                <a:gd name="connsiteX2" fmla="*/ -393 w 125326"/>
                <a:gd name="connsiteY2" fmla="*/ 61431 h 125475"/>
                <a:gd name="connsiteX3" fmla="*/ 61805 w 125326"/>
                <a:gd name="connsiteY3" fmla="*/ 90 h 125475"/>
                <a:gd name="connsiteX4" fmla="*/ 124574 w 125326"/>
                <a:gd name="connsiteY4" fmla="*/ 50972 h 125475"/>
                <a:gd name="connsiteX5" fmla="*/ 124861 w 125326"/>
                <a:gd name="connsiteY5" fmla="*/ 59430 h 125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26" h="125475">
                  <a:moveTo>
                    <a:pt x="124861" y="59430"/>
                  </a:moveTo>
                  <a:cubicBezTo>
                    <a:pt x="124861" y="96673"/>
                    <a:pt x="100953" y="124296"/>
                    <a:pt x="66854" y="125248"/>
                  </a:cubicBezTo>
                  <a:cubicBezTo>
                    <a:pt x="31135" y="125010"/>
                    <a:pt x="1702" y="97092"/>
                    <a:pt x="-393" y="61431"/>
                  </a:cubicBezTo>
                  <a:cubicBezTo>
                    <a:pt x="-1536" y="26855"/>
                    <a:pt x="24276" y="1328"/>
                    <a:pt x="61805" y="90"/>
                  </a:cubicBezTo>
                  <a:cubicBezTo>
                    <a:pt x="93237" y="-3206"/>
                    <a:pt x="121336" y="19578"/>
                    <a:pt x="124574" y="50972"/>
                  </a:cubicBezTo>
                  <a:cubicBezTo>
                    <a:pt x="124861" y="53782"/>
                    <a:pt x="124956" y="56611"/>
                    <a:pt x="124861" y="59430"/>
                  </a:cubicBezTo>
                  <a:close/>
                </a:path>
              </a:pathLst>
            </a:custGeom>
            <a:solidFill>
              <a:srgbClr val="000000"/>
            </a:solidFill>
            <a:ln w="9525" cap="flat">
              <a:noFill/>
              <a:prstDash val="solid"/>
              <a:miter/>
            </a:ln>
          </p:spPr>
          <p:txBody>
            <a:bodyPr rtlCol="0" anchor="ctr"/>
            <a:lstStyle/>
            <a:p>
              <a:endParaRPr lang="de-DE"/>
            </a:p>
          </p:txBody>
        </p:sp>
        <p:sp>
          <p:nvSpPr>
            <p:cNvPr id="62" name="Grafik 2">
              <a:extLst>
                <a:ext uri="{FF2B5EF4-FFF2-40B4-BE49-F238E27FC236}">
                  <a16:creationId xmlns:a16="http://schemas.microsoft.com/office/drawing/2014/main" id="{7E0E2A27-A654-4BD2-86C8-8483DFF4767B}"/>
                </a:ext>
              </a:extLst>
            </p:cNvPr>
            <p:cNvSpPr/>
            <p:nvPr/>
          </p:nvSpPr>
          <p:spPr bwMode="gray">
            <a:xfrm>
              <a:off x="10162508" y="1086077"/>
              <a:ext cx="125396" cy="125408"/>
            </a:xfrm>
            <a:custGeom>
              <a:avLst/>
              <a:gdLst>
                <a:gd name="connsiteX0" fmla="*/ 65102 w 125396"/>
                <a:gd name="connsiteY0" fmla="*/ 125180 h 125408"/>
                <a:gd name="connsiteX1" fmla="*/ -430 w 125396"/>
                <a:gd name="connsiteY1" fmla="*/ 59458 h 125408"/>
                <a:gd name="connsiteX2" fmla="*/ 63673 w 125396"/>
                <a:gd name="connsiteY2" fmla="*/ -73 h 125408"/>
                <a:gd name="connsiteX3" fmla="*/ 124824 w 125396"/>
                <a:gd name="connsiteY3" fmla="*/ 52771 h 125408"/>
                <a:gd name="connsiteX4" fmla="*/ 124824 w 125396"/>
                <a:gd name="connsiteY4" fmla="*/ 61172 h 125408"/>
                <a:gd name="connsiteX5" fmla="*/ 65102 w 125396"/>
                <a:gd name="connsiteY5" fmla="*/ 125180 h 12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96" h="125408">
                  <a:moveTo>
                    <a:pt x="65102" y="125180"/>
                  </a:moveTo>
                  <a:cubicBezTo>
                    <a:pt x="29383" y="123895"/>
                    <a:pt x="713" y="95186"/>
                    <a:pt x="-430" y="59458"/>
                  </a:cubicBezTo>
                  <a:cubicBezTo>
                    <a:pt x="-430" y="25073"/>
                    <a:pt x="26239" y="212"/>
                    <a:pt x="63673" y="-73"/>
                  </a:cubicBezTo>
                  <a:cubicBezTo>
                    <a:pt x="95105" y="-2369"/>
                    <a:pt x="122537" y="21291"/>
                    <a:pt x="124824" y="52771"/>
                  </a:cubicBezTo>
                  <a:cubicBezTo>
                    <a:pt x="125014" y="55562"/>
                    <a:pt x="125014" y="58372"/>
                    <a:pt x="124824" y="61172"/>
                  </a:cubicBezTo>
                  <a:cubicBezTo>
                    <a:pt x="124443" y="98701"/>
                    <a:pt x="99487" y="125371"/>
                    <a:pt x="65102" y="125180"/>
                  </a:cubicBezTo>
                  <a:close/>
                </a:path>
              </a:pathLst>
            </a:custGeom>
            <a:solidFill>
              <a:srgbClr val="000000"/>
            </a:solidFill>
            <a:ln w="9525" cap="flat">
              <a:noFill/>
              <a:prstDash val="solid"/>
              <a:miter/>
            </a:ln>
          </p:spPr>
          <p:txBody>
            <a:bodyPr rtlCol="0" anchor="ctr"/>
            <a:lstStyle/>
            <a:p>
              <a:endParaRPr lang="de-DE"/>
            </a:p>
          </p:txBody>
        </p:sp>
        <p:sp>
          <p:nvSpPr>
            <p:cNvPr id="63" name="Grafik 2">
              <a:extLst>
                <a:ext uri="{FF2B5EF4-FFF2-40B4-BE49-F238E27FC236}">
                  <a16:creationId xmlns:a16="http://schemas.microsoft.com/office/drawing/2014/main" id="{40897CB7-83B5-4EC6-88EC-857D2E4347EB}"/>
                </a:ext>
              </a:extLst>
            </p:cNvPr>
            <p:cNvSpPr/>
            <p:nvPr/>
          </p:nvSpPr>
          <p:spPr bwMode="gray">
            <a:xfrm>
              <a:off x="10368633" y="1086048"/>
              <a:ext cx="125663" cy="125155"/>
            </a:xfrm>
            <a:custGeom>
              <a:avLst/>
              <a:gdLst>
                <a:gd name="connsiteX0" fmla="*/ 125200 w 125663"/>
                <a:gd name="connsiteY0" fmla="*/ 58248 h 125155"/>
                <a:gd name="connsiteX1" fmla="*/ 68050 w 125663"/>
                <a:gd name="connsiteY1" fmla="*/ 124923 h 125155"/>
                <a:gd name="connsiteX2" fmla="*/ -339 w 125663"/>
                <a:gd name="connsiteY2" fmla="*/ 62249 h 125155"/>
                <a:gd name="connsiteX3" fmla="*/ 60715 w 125663"/>
                <a:gd name="connsiteY3" fmla="*/ -140 h 125155"/>
                <a:gd name="connsiteX4" fmla="*/ 125200 w 125663"/>
                <a:gd name="connsiteY4" fmla="*/ 58248 h 125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63" h="125155">
                  <a:moveTo>
                    <a:pt x="125200" y="58248"/>
                  </a:moveTo>
                  <a:cubicBezTo>
                    <a:pt x="126247" y="95682"/>
                    <a:pt x="102530" y="123590"/>
                    <a:pt x="68050" y="124923"/>
                  </a:cubicBezTo>
                  <a:cubicBezTo>
                    <a:pt x="32236" y="125371"/>
                    <a:pt x="2327" y="97920"/>
                    <a:pt x="-339" y="62249"/>
                  </a:cubicBezTo>
                  <a:cubicBezTo>
                    <a:pt x="-2150" y="27578"/>
                    <a:pt x="23283" y="1575"/>
                    <a:pt x="60715" y="-140"/>
                  </a:cubicBezTo>
                  <a:cubicBezTo>
                    <a:pt x="98149" y="-1855"/>
                    <a:pt x="124152" y="21768"/>
                    <a:pt x="125200" y="58248"/>
                  </a:cubicBezTo>
                  <a:close/>
                </a:path>
              </a:pathLst>
            </a:custGeom>
            <a:solidFill>
              <a:srgbClr val="000000"/>
            </a:solidFill>
            <a:ln w="9525" cap="flat">
              <a:noFill/>
              <a:prstDash val="solid"/>
              <a:miter/>
            </a:ln>
          </p:spPr>
          <p:txBody>
            <a:bodyPr rtlCol="0" anchor="ctr"/>
            <a:lstStyle/>
            <a:p>
              <a:endParaRPr lang="de-DE"/>
            </a:p>
          </p:txBody>
        </p:sp>
        <p:sp>
          <p:nvSpPr>
            <p:cNvPr id="64" name="Grafik 2">
              <a:extLst>
                <a:ext uri="{FF2B5EF4-FFF2-40B4-BE49-F238E27FC236}">
                  <a16:creationId xmlns:a16="http://schemas.microsoft.com/office/drawing/2014/main" id="{7D1C246D-2CEB-4067-BBDE-46EB225395A6}"/>
                </a:ext>
              </a:extLst>
            </p:cNvPr>
            <p:cNvSpPr/>
            <p:nvPr/>
          </p:nvSpPr>
          <p:spPr bwMode="gray">
            <a:xfrm>
              <a:off x="10575862" y="1085971"/>
              <a:ext cx="125054" cy="125513"/>
            </a:xfrm>
            <a:custGeom>
              <a:avLst/>
              <a:gdLst>
                <a:gd name="connsiteX0" fmla="*/ 124568 w 125054"/>
                <a:gd name="connsiteY0" fmla="*/ 59754 h 125513"/>
                <a:gd name="connsiteX1" fmla="*/ 66276 w 125054"/>
                <a:gd name="connsiteY1" fmla="*/ 125286 h 125513"/>
                <a:gd name="connsiteX2" fmla="*/ -399 w 125054"/>
                <a:gd name="connsiteY2" fmla="*/ 61087 h 125513"/>
                <a:gd name="connsiteX3" fmla="*/ 62084 w 125054"/>
                <a:gd name="connsiteY3" fmla="*/ 32 h 125513"/>
                <a:gd name="connsiteX4" fmla="*/ 124378 w 125054"/>
                <a:gd name="connsiteY4" fmla="*/ 51524 h 125513"/>
                <a:gd name="connsiteX5" fmla="*/ 124568 w 125054"/>
                <a:gd name="connsiteY5" fmla="*/ 59754 h 12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054" h="125513">
                  <a:moveTo>
                    <a:pt x="124568" y="59754"/>
                  </a:moveTo>
                  <a:cubicBezTo>
                    <a:pt x="124568" y="97187"/>
                    <a:pt x="100470" y="124619"/>
                    <a:pt x="66276" y="125286"/>
                  </a:cubicBezTo>
                  <a:cubicBezTo>
                    <a:pt x="30651" y="124686"/>
                    <a:pt x="1505" y="96663"/>
                    <a:pt x="-399" y="61087"/>
                  </a:cubicBezTo>
                  <a:cubicBezTo>
                    <a:pt x="-1448" y="26512"/>
                    <a:pt x="24650" y="1080"/>
                    <a:pt x="62084" y="32"/>
                  </a:cubicBezTo>
                  <a:cubicBezTo>
                    <a:pt x="93517" y="-2949"/>
                    <a:pt x="121424" y="20101"/>
                    <a:pt x="124378" y="51524"/>
                  </a:cubicBezTo>
                  <a:cubicBezTo>
                    <a:pt x="124663" y="54258"/>
                    <a:pt x="124663" y="57011"/>
                    <a:pt x="124568" y="59754"/>
                  </a:cubicBezTo>
                  <a:close/>
                </a:path>
              </a:pathLst>
            </a:custGeom>
            <a:solidFill>
              <a:srgbClr val="000000"/>
            </a:solidFill>
            <a:ln w="9525" cap="flat">
              <a:noFill/>
              <a:prstDash val="solid"/>
              <a:miter/>
            </a:ln>
          </p:spPr>
          <p:txBody>
            <a:bodyPr rtlCol="0" anchor="ctr"/>
            <a:lstStyle/>
            <a:p>
              <a:endParaRPr lang="de-DE"/>
            </a:p>
          </p:txBody>
        </p:sp>
        <p:sp>
          <p:nvSpPr>
            <p:cNvPr id="65" name="Grafik 2">
              <a:extLst>
                <a:ext uri="{FF2B5EF4-FFF2-40B4-BE49-F238E27FC236}">
                  <a16:creationId xmlns:a16="http://schemas.microsoft.com/office/drawing/2014/main" id="{126C29B6-61C1-4294-A354-ED3441866DBA}"/>
                </a:ext>
              </a:extLst>
            </p:cNvPr>
            <p:cNvSpPr/>
            <p:nvPr/>
          </p:nvSpPr>
          <p:spPr bwMode="gray">
            <a:xfrm>
              <a:off x="9543001" y="1292597"/>
              <a:ext cx="125396" cy="125391"/>
            </a:xfrm>
            <a:custGeom>
              <a:avLst/>
              <a:gdLst>
                <a:gd name="connsiteX0" fmla="*/ 63959 w 125396"/>
                <a:gd name="connsiteY0" fmla="*/ -92 h 125391"/>
                <a:gd name="connsiteX1" fmla="*/ 124824 w 125396"/>
                <a:gd name="connsiteY1" fmla="*/ 53029 h 125391"/>
                <a:gd name="connsiteX2" fmla="*/ 124824 w 125396"/>
                <a:gd name="connsiteY2" fmla="*/ 61440 h 125391"/>
                <a:gd name="connsiteX3" fmla="*/ 64816 w 125396"/>
                <a:gd name="connsiteY3" fmla="*/ 125162 h 125391"/>
                <a:gd name="connsiteX4" fmla="*/ -430 w 125396"/>
                <a:gd name="connsiteY4" fmla="*/ 59153 h 125391"/>
                <a:gd name="connsiteX5" fmla="*/ 63959 w 125396"/>
                <a:gd name="connsiteY5" fmla="*/ -92 h 1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96" h="125391">
                  <a:moveTo>
                    <a:pt x="63959" y="-92"/>
                  </a:moveTo>
                  <a:cubicBezTo>
                    <a:pt x="95486" y="-2245"/>
                    <a:pt x="122729" y="21539"/>
                    <a:pt x="124824" y="53029"/>
                  </a:cubicBezTo>
                  <a:cubicBezTo>
                    <a:pt x="125015" y="55829"/>
                    <a:pt x="125015" y="58639"/>
                    <a:pt x="124824" y="61440"/>
                  </a:cubicBezTo>
                  <a:cubicBezTo>
                    <a:pt x="124252" y="98873"/>
                    <a:pt x="99201" y="125448"/>
                    <a:pt x="64816" y="125162"/>
                  </a:cubicBezTo>
                  <a:cubicBezTo>
                    <a:pt x="29097" y="123771"/>
                    <a:pt x="522" y="94901"/>
                    <a:pt x="-430" y="59153"/>
                  </a:cubicBezTo>
                  <a:cubicBezTo>
                    <a:pt x="-430" y="24864"/>
                    <a:pt x="26430" y="99"/>
                    <a:pt x="63959" y="-92"/>
                  </a:cubicBezTo>
                  <a:close/>
                </a:path>
              </a:pathLst>
            </a:custGeom>
            <a:solidFill>
              <a:srgbClr val="000000"/>
            </a:solidFill>
            <a:ln w="9525" cap="flat">
              <a:noFill/>
              <a:prstDash val="solid"/>
              <a:miter/>
            </a:ln>
          </p:spPr>
          <p:txBody>
            <a:bodyPr rtlCol="0" anchor="ctr"/>
            <a:lstStyle/>
            <a:p>
              <a:endParaRPr lang="de-DE"/>
            </a:p>
          </p:txBody>
        </p:sp>
        <p:sp>
          <p:nvSpPr>
            <p:cNvPr id="66" name="Grafik 2">
              <a:extLst>
                <a:ext uri="{FF2B5EF4-FFF2-40B4-BE49-F238E27FC236}">
                  <a16:creationId xmlns:a16="http://schemas.microsoft.com/office/drawing/2014/main" id="{16F54C97-FE92-44A4-9B5F-A8C18DAA2AED}"/>
                </a:ext>
              </a:extLst>
            </p:cNvPr>
            <p:cNvSpPr/>
            <p:nvPr/>
          </p:nvSpPr>
          <p:spPr bwMode="gray">
            <a:xfrm>
              <a:off x="9749673" y="1292481"/>
              <a:ext cx="125183" cy="125505"/>
            </a:xfrm>
            <a:custGeom>
              <a:avLst/>
              <a:gdLst>
                <a:gd name="connsiteX0" fmla="*/ 124654 w 125183"/>
                <a:gd name="connsiteY0" fmla="*/ 59936 h 125505"/>
                <a:gd name="connsiteX1" fmla="*/ 66266 w 125183"/>
                <a:gd name="connsiteY1" fmla="*/ 125278 h 125505"/>
                <a:gd name="connsiteX2" fmla="*/ -409 w 125183"/>
                <a:gd name="connsiteY2" fmla="*/ 60984 h 125505"/>
                <a:gd name="connsiteX3" fmla="*/ 62266 w 125183"/>
                <a:gd name="connsiteY3" fmla="*/ 24 h 125505"/>
                <a:gd name="connsiteX4" fmla="*/ 124464 w 125183"/>
                <a:gd name="connsiteY4" fmla="*/ 51611 h 125505"/>
                <a:gd name="connsiteX5" fmla="*/ 124654 w 125183"/>
                <a:gd name="connsiteY5" fmla="*/ 59936 h 125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183" h="125505">
                  <a:moveTo>
                    <a:pt x="124654" y="59936"/>
                  </a:moveTo>
                  <a:cubicBezTo>
                    <a:pt x="124654" y="97179"/>
                    <a:pt x="100461" y="124706"/>
                    <a:pt x="66266" y="125278"/>
                  </a:cubicBezTo>
                  <a:cubicBezTo>
                    <a:pt x="30642" y="124678"/>
                    <a:pt x="1496" y="96598"/>
                    <a:pt x="-409" y="60984"/>
                  </a:cubicBezTo>
                  <a:cubicBezTo>
                    <a:pt x="-1266" y="26408"/>
                    <a:pt x="24737" y="1072"/>
                    <a:pt x="62266" y="24"/>
                  </a:cubicBezTo>
                  <a:cubicBezTo>
                    <a:pt x="93698" y="-2910"/>
                    <a:pt x="121511" y="20179"/>
                    <a:pt x="124464" y="51611"/>
                  </a:cubicBezTo>
                  <a:cubicBezTo>
                    <a:pt x="124749" y="54374"/>
                    <a:pt x="124845" y="57155"/>
                    <a:pt x="124654" y="59936"/>
                  </a:cubicBezTo>
                  <a:close/>
                </a:path>
              </a:pathLst>
            </a:custGeom>
            <a:solidFill>
              <a:srgbClr val="000000"/>
            </a:solidFill>
            <a:ln w="9525" cap="flat">
              <a:noFill/>
              <a:prstDash val="solid"/>
              <a:miter/>
            </a:ln>
          </p:spPr>
          <p:txBody>
            <a:bodyPr rtlCol="0" anchor="ctr"/>
            <a:lstStyle/>
            <a:p>
              <a:endParaRPr lang="de-DE"/>
            </a:p>
          </p:txBody>
        </p:sp>
        <p:sp>
          <p:nvSpPr>
            <p:cNvPr id="67" name="Grafik 2">
              <a:extLst>
                <a:ext uri="{FF2B5EF4-FFF2-40B4-BE49-F238E27FC236}">
                  <a16:creationId xmlns:a16="http://schemas.microsoft.com/office/drawing/2014/main" id="{2050049A-AE93-4486-AFA0-7558795C22C5}"/>
                </a:ext>
              </a:extLst>
            </p:cNvPr>
            <p:cNvSpPr/>
            <p:nvPr/>
          </p:nvSpPr>
          <p:spPr bwMode="gray">
            <a:xfrm>
              <a:off x="9956165" y="1292471"/>
              <a:ext cx="125192" cy="125515"/>
            </a:xfrm>
            <a:custGeom>
              <a:avLst/>
              <a:gdLst>
                <a:gd name="connsiteX0" fmla="*/ 62179 w 125192"/>
                <a:gd name="connsiteY0" fmla="*/ 34 h 125515"/>
                <a:gd name="connsiteX1" fmla="*/ 124473 w 125192"/>
                <a:gd name="connsiteY1" fmla="*/ 51507 h 125515"/>
                <a:gd name="connsiteX2" fmla="*/ 124664 w 125192"/>
                <a:gd name="connsiteY2" fmla="*/ 60041 h 125515"/>
                <a:gd name="connsiteX3" fmla="*/ 66275 w 125192"/>
                <a:gd name="connsiteY3" fmla="*/ 125288 h 125515"/>
                <a:gd name="connsiteX4" fmla="*/ -400 w 125192"/>
                <a:gd name="connsiteY4" fmla="*/ 60899 h 125515"/>
                <a:gd name="connsiteX5" fmla="*/ 62179 w 125192"/>
                <a:gd name="connsiteY5" fmla="*/ 34 h 12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192" h="125515">
                  <a:moveTo>
                    <a:pt x="62179" y="34"/>
                  </a:moveTo>
                  <a:cubicBezTo>
                    <a:pt x="93612" y="-2957"/>
                    <a:pt x="121521" y="20084"/>
                    <a:pt x="124473" y="51507"/>
                  </a:cubicBezTo>
                  <a:cubicBezTo>
                    <a:pt x="124759" y="54346"/>
                    <a:pt x="124854" y="57193"/>
                    <a:pt x="124664" y="60041"/>
                  </a:cubicBezTo>
                  <a:cubicBezTo>
                    <a:pt x="124664" y="97379"/>
                    <a:pt x="100375" y="124716"/>
                    <a:pt x="66275" y="125288"/>
                  </a:cubicBezTo>
                  <a:cubicBezTo>
                    <a:pt x="30557" y="124640"/>
                    <a:pt x="1505" y="96532"/>
                    <a:pt x="-400" y="60899"/>
                  </a:cubicBezTo>
                  <a:cubicBezTo>
                    <a:pt x="-1447" y="26323"/>
                    <a:pt x="24651" y="1082"/>
                    <a:pt x="62179" y="34"/>
                  </a:cubicBezTo>
                  <a:close/>
                </a:path>
              </a:pathLst>
            </a:custGeom>
            <a:solidFill>
              <a:srgbClr val="000000"/>
            </a:solidFill>
            <a:ln w="9525" cap="flat">
              <a:noFill/>
              <a:prstDash val="solid"/>
              <a:miter/>
            </a:ln>
          </p:spPr>
          <p:txBody>
            <a:bodyPr rtlCol="0" anchor="ctr"/>
            <a:lstStyle/>
            <a:p>
              <a:endParaRPr lang="de-DE"/>
            </a:p>
          </p:txBody>
        </p:sp>
        <p:sp>
          <p:nvSpPr>
            <p:cNvPr id="68" name="Grafik 2">
              <a:extLst>
                <a:ext uri="{FF2B5EF4-FFF2-40B4-BE49-F238E27FC236}">
                  <a16:creationId xmlns:a16="http://schemas.microsoft.com/office/drawing/2014/main" id="{FC2480A4-219D-462A-A661-837E4E8662DD}"/>
                </a:ext>
              </a:extLst>
            </p:cNvPr>
            <p:cNvSpPr/>
            <p:nvPr/>
          </p:nvSpPr>
          <p:spPr bwMode="gray">
            <a:xfrm>
              <a:off x="10162508" y="1292852"/>
              <a:ext cx="125500" cy="125069"/>
            </a:xfrm>
            <a:custGeom>
              <a:avLst/>
              <a:gdLst>
                <a:gd name="connsiteX0" fmla="*/ 124824 w 125500"/>
                <a:gd name="connsiteY0" fmla="*/ 62328 h 125069"/>
                <a:gd name="connsiteX1" fmla="*/ 63768 w 125500"/>
                <a:gd name="connsiteY1" fmla="*/ 124812 h 125069"/>
                <a:gd name="connsiteX2" fmla="*/ -430 w 125500"/>
                <a:gd name="connsiteY2" fmla="*/ 58137 h 125069"/>
                <a:gd name="connsiteX3" fmla="*/ 65102 w 125500"/>
                <a:gd name="connsiteY3" fmla="*/ -156 h 125069"/>
                <a:gd name="connsiteX4" fmla="*/ 125014 w 125500"/>
                <a:gd name="connsiteY4" fmla="*/ 54098 h 125069"/>
                <a:gd name="connsiteX5" fmla="*/ 124824 w 125500"/>
                <a:gd name="connsiteY5" fmla="*/ 62328 h 12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00" h="125069">
                  <a:moveTo>
                    <a:pt x="124824" y="62328"/>
                  </a:moveTo>
                  <a:cubicBezTo>
                    <a:pt x="123680" y="99856"/>
                    <a:pt x="98344" y="125860"/>
                    <a:pt x="63768" y="124812"/>
                  </a:cubicBezTo>
                  <a:cubicBezTo>
                    <a:pt x="28145" y="122964"/>
                    <a:pt x="46" y="93798"/>
                    <a:pt x="-430" y="58137"/>
                  </a:cubicBezTo>
                  <a:cubicBezTo>
                    <a:pt x="236" y="23942"/>
                    <a:pt x="27668" y="-442"/>
                    <a:pt x="65102" y="-156"/>
                  </a:cubicBezTo>
                  <a:cubicBezTo>
                    <a:pt x="96629" y="-1718"/>
                    <a:pt x="123490" y="22570"/>
                    <a:pt x="125014" y="54098"/>
                  </a:cubicBezTo>
                  <a:cubicBezTo>
                    <a:pt x="125109" y="56842"/>
                    <a:pt x="125109" y="59594"/>
                    <a:pt x="124824" y="62328"/>
                  </a:cubicBezTo>
                  <a:close/>
                </a:path>
              </a:pathLst>
            </a:custGeom>
            <a:solidFill>
              <a:srgbClr val="000000"/>
            </a:solidFill>
            <a:ln w="9525" cap="flat">
              <a:noFill/>
              <a:prstDash val="solid"/>
              <a:miter/>
            </a:ln>
          </p:spPr>
          <p:txBody>
            <a:bodyPr rtlCol="0" anchor="ctr"/>
            <a:lstStyle/>
            <a:p>
              <a:endParaRPr lang="de-DE"/>
            </a:p>
          </p:txBody>
        </p:sp>
        <p:sp>
          <p:nvSpPr>
            <p:cNvPr id="69" name="Grafik 2">
              <a:extLst>
                <a:ext uri="{FF2B5EF4-FFF2-40B4-BE49-F238E27FC236}">
                  <a16:creationId xmlns:a16="http://schemas.microsoft.com/office/drawing/2014/main" id="{2B1F4A48-D03B-4B5F-BC4B-D6672D4D55EB}"/>
                </a:ext>
              </a:extLst>
            </p:cNvPr>
            <p:cNvSpPr/>
            <p:nvPr/>
          </p:nvSpPr>
          <p:spPr bwMode="gray">
            <a:xfrm>
              <a:off x="9542706" y="466480"/>
              <a:ext cx="125653" cy="125498"/>
            </a:xfrm>
            <a:custGeom>
              <a:avLst/>
              <a:gdLst>
                <a:gd name="connsiteX0" fmla="*/ 125119 w 125653"/>
                <a:gd name="connsiteY0" fmla="*/ 60406 h 125498"/>
                <a:gd name="connsiteX1" fmla="*/ 66254 w 125653"/>
                <a:gd name="connsiteY1" fmla="*/ 125271 h 125498"/>
                <a:gd name="connsiteX2" fmla="*/ -421 w 125653"/>
                <a:gd name="connsiteY2" fmla="*/ 60406 h 125498"/>
                <a:gd name="connsiteX3" fmla="*/ 62825 w 125653"/>
                <a:gd name="connsiteY3" fmla="*/ 17 h 125498"/>
                <a:gd name="connsiteX4" fmla="*/ 125024 w 125653"/>
                <a:gd name="connsiteY4" fmla="*/ 51672 h 125498"/>
                <a:gd name="connsiteX5" fmla="*/ 125119 w 125653"/>
                <a:gd name="connsiteY5" fmla="*/ 60406 h 12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53" h="125498">
                  <a:moveTo>
                    <a:pt x="125119" y="60406"/>
                  </a:moveTo>
                  <a:cubicBezTo>
                    <a:pt x="125119" y="97744"/>
                    <a:pt x="100450" y="124986"/>
                    <a:pt x="66254" y="125271"/>
                  </a:cubicBezTo>
                  <a:cubicBezTo>
                    <a:pt x="30345" y="124652"/>
                    <a:pt x="1199" y="96249"/>
                    <a:pt x="-421" y="60406"/>
                  </a:cubicBezTo>
                  <a:cubicBezTo>
                    <a:pt x="-992" y="25925"/>
                    <a:pt x="25393" y="779"/>
                    <a:pt x="62825" y="17"/>
                  </a:cubicBezTo>
                  <a:cubicBezTo>
                    <a:pt x="94258" y="-2878"/>
                    <a:pt x="122070" y="20248"/>
                    <a:pt x="125024" y="51672"/>
                  </a:cubicBezTo>
                  <a:cubicBezTo>
                    <a:pt x="125214" y="54577"/>
                    <a:pt x="125310" y="57501"/>
                    <a:pt x="125119" y="60406"/>
                  </a:cubicBezTo>
                  <a:close/>
                </a:path>
              </a:pathLst>
            </a:custGeom>
            <a:solidFill>
              <a:srgbClr val="000000"/>
            </a:solidFill>
            <a:ln w="9525" cap="flat">
              <a:noFill/>
              <a:prstDash val="solid"/>
              <a:miter/>
            </a:ln>
          </p:spPr>
          <p:txBody>
            <a:bodyPr rtlCol="0" anchor="ctr"/>
            <a:lstStyle/>
            <a:p>
              <a:endParaRPr lang="de-DE"/>
            </a:p>
          </p:txBody>
        </p:sp>
        <p:sp>
          <p:nvSpPr>
            <p:cNvPr id="70" name="Grafik 2">
              <a:extLst>
                <a:ext uri="{FF2B5EF4-FFF2-40B4-BE49-F238E27FC236}">
                  <a16:creationId xmlns:a16="http://schemas.microsoft.com/office/drawing/2014/main" id="{DB3A081C-F5CB-45FD-9CC5-6D42EF49CBB1}"/>
                </a:ext>
              </a:extLst>
            </p:cNvPr>
            <p:cNvSpPr/>
            <p:nvPr/>
          </p:nvSpPr>
          <p:spPr bwMode="gray">
            <a:xfrm>
              <a:off x="10575511" y="1292751"/>
              <a:ext cx="125500" cy="125165"/>
            </a:xfrm>
            <a:custGeom>
              <a:avLst/>
              <a:gdLst>
                <a:gd name="connsiteX0" fmla="*/ 124824 w 125500"/>
                <a:gd name="connsiteY0" fmla="*/ 62333 h 125165"/>
                <a:gd name="connsiteX1" fmla="*/ 63864 w 125500"/>
                <a:gd name="connsiteY1" fmla="*/ 124913 h 125165"/>
                <a:gd name="connsiteX2" fmla="*/ -430 w 125500"/>
                <a:gd name="connsiteY2" fmla="*/ 58238 h 125165"/>
                <a:gd name="connsiteX3" fmla="*/ 65007 w 125500"/>
                <a:gd name="connsiteY3" fmla="*/ -151 h 125165"/>
                <a:gd name="connsiteX4" fmla="*/ 125014 w 125500"/>
                <a:gd name="connsiteY4" fmla="*/ 53999 h 125165"/>
                <a:gd name="connsiteX5" fmla="*/ 124824 w 125500"/>
                <a:gd name="connsiteY5" fmla="*/ 62333 h 125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00" h="125165">
                  <a:moveTo>
                    <a:pt x="124824" y="62333"/>
                  </a:moveTo>
                  <a:cubicBezTo>
                    <a:pt x="123776" y="99862"/>
                    <a:pt x="98440" y="125865"/>
                    <a:pt x="63864" y="124913"/>
                  </a:cubicBezTo>
                  <a:cubicBezTo>
                    <a:pt x="28240" y="123112"/>
                    <a:pt x="46" y="93937"/>
                    <a:pt x="-430" y="58238"/>
                  </a:cubicBezTo>
                  <a:cubicBezTo>
                    <a:pt x="236" y="24043"/>
                    <a:pt x="28145" y="-437"/>
                    <a:pt x="65007" y="-151"/>
                  </a:cubicBezTo>
                  <a:cubicBezTo>
                    <a:pt x="96534" y="-1770"/>
                    <a:pt x="123395" y="22481"/>
                    <a:pt x="125014" y="53999"/>
                  </a:cubicBezTo>
                  <a:cubicBezTo>
                    <a:pt x="125109" y="56780"/>
                    <a:pt x="125109" y="59562"/>
                    <a:pt x="124824" y="62333"/>
                  </a:cubicBezTo>
                  <a:close/>
                </a:path>
              </a:pathLst>
            </a:custGeom>
            <a:solidFill>
              <a:srgbClr val="000000"/>
            </a:solidFill>
            <a:ln w="9525" cap="flat">
              <a:noFill/>
              <a:prstDash val="solid"/>
              <a:miter/>
            </a:ln>
          </p:spPr>
          <p:txBody>
            <a:bodyPr rtlCol="0" anchor="ctr"/>
            <a:lstStyle/>
            <a:p>
              <a:endParaRPr lang="de-DE"/>
            </a:p>
          </p:txBody>
        </p:sp>
        <p:sp>
          <p:nvSpPr>
            <p:cNvPr id="71" name="Grafik 2">
              <a:extLst>
                <a:ext uri="{FF2B5EF4-FFF2-40B4-BE49-F238E27FC236}">
                  <a16:creationId xmlns:a16="http://schemas.microsoft.com/office/drawing/2014/main" id="{CBA0C17E-D6C2-4991-939E-2544C0B830FA}"/>
                </a:ext>
              </a:extLst>
            </p:cNvPr>
            <p:cNvSpPr/>
            <p:nvPr/>
          </p:nvSpPr>
          <p:spPr bwMode="gray">
            <a:xfrm>
              <a:off x="9749408" y="466232"/>
              <a:ext cx="125576" cy="125752"/>
            </a:xfrm>
            <a:custGeom>
              <a:avLst/>
              <a:gdLst>
                <a:gd name="connsiteX0" fmla="*/ 64530 w 125576"/>
                <a:gd name="connsiteY0" fmla="*/ 125519 h 125752"/>
                <a:gd name="connsiteX1" fmla="*/ -430 w 125576"/>
                <a:gd name="connsiteY1" fmla="*/ 58844 h 125752"/>
                <a:gd name="connsiteX2" fmla="*/ 64435 w 125576"/>
                <a:gd name="connsiteY2" fmla="*/ -116 h 125752"/>
                <a:gd name="connsiteX3" fmla="*/ 125014 w 125576"/>
                <a:gd name="connsiteY3" fmla="*/ 53386 h 125752"/>
                <a:gd name="connsiteX4" fmla="*/ 124918 w 125576"/>
                <a:gd name="connsiteY4" fmla="*/ 61797 h 125752"/>
                <a:gd name="connsiteX5" fmla="*/ 64530 w 125576"/>
                <a:gd name="connsiteY5" fmla="*/ 125519 h 125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76" h="125752">
                  <a:moveTo>
                    <a:pt x="64530" y="125519"/>
                  </a:moveTo>
                  <a:cubicBezTo>
                    <a:pt x="28716" y="123871"/>
                    <a:pt x="236" y="94705"/>
                    <a:pt x="-430" y="58844"/>
                  </a:cubicBezTo>
                  <a:cubicBezTo>
                    <a:pt x="-430" y="24554"/>
                    <a:pt x="27002" y="-116"/>
                    <a:pt x="64435" y="-116"/>
                  </a:cubicBezTo>
                  <a:cubicBezTo>
                    <a:pt x="95963" y="-2069"/>
                    <a:pt x="123014" y="21877"/>
                    <a:pt x="125014" y="53386"/>
                  </a:cubicBezTo>
                  <a:cubicBezTo>
                    <a:pt x="125204" y="56186"/>
                    <a:pt x="125204" y="58996"/>
                    <a:pt x="124918" y="61797"/>
                  </a:cubicBezTo>
                  <a:cubicBezTo>
                    <a:pt x="124157" y="99611"/>
                    <a:pt x="99010" y="125995"/>
                    <a:pt x="64530" y="125519"/>
                  </a:cubicBezTo>
                  <a:close/>
                </a:path>
              </a:pathLst>
            </a:custGeom>
            <a:solidFill>
              <a:srgbClr val="000000"/>
            </a:solidFill>
            <a:ln w="9525" cap="flat">
              <a:noFill/>
              <a:prstDash val="solid"/>
              <a:miter/>
            </a:ln>
          </p:spPr>
          <p:txBody>
            <a:bodyPr rtlCol="0" anchor="ctr"/>
            <a:lstStyle/>
            <a:p>
              <a:endParaRPr lang="de-DE"/>
            </a:p>
          </p:txBody>
        </p:sp>
        <p:sp>
          <p:nvSpPr>
            <p:cNvPr id="72" name="Grafik 2">
              <a:extLst>
                <a:ext uri="{FF2B5EF4-FFF2-40B4-BE49-F238E27FC236}">
                  <a16:creationId xmlns:a16="http://schemas.microsoft.com/office/drawing/2014/main" id="{5D1DCEBF-85FF-4E6F-BB7E-1E1924FB7E91}"/>
                </a:ext>
              </a:extLst>
            </p:cNvPr>
            <p:cNvSpPr/>
            <p:nvPr/>
          </p:nvSpPr>
          <p:spPr bwMode="gray">
            <a:xfrm>
              <a:off x="10162505" y="466550"/>
              <a:ext cx="125398" cy="125428"/>
            </a:xfrm>
            <a:custGeom>
              <a:avLst/>
              <a:gdLst>
                <a:gd name="connsiteX0" fmla="*/ 63389 w 125398"/>
                <a:gd name="connsiteY0" fmla="*/ -52 h 125428"/>
                <a:gd name="connsiteX1" fmla="*/ 124826 w 125398"/>
                <a:gd name="connsiteY1" fmla="*/ 52497 h 125428"/>
                <a:gd name="connsiteX2" fmla="*/ 124826 w 125398"/>
                <a:gd name="connsiteY2" fmla="*/ 60907 h 125428"/>
                <a:gd name="connsiteX3" fmla="*/ 65389 w 125398"/>
                <a:gd name="connsiteY3" fmla="*/ 125201 h 125428"/>
                <a:gd name="connsiteX4" fmla="*/ -428 w 125398"/>
                <a:gd name="connsiteY4" fmla="*/ 59860 h 125428"/>
                <a:gd name="connsiteX5" fmla="*/ 63389 w 125398"/>
                <a:gd name="connsiteY5" fmla="*/ -52 h 125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98" h="125428">
                  <a:moveTo>
                    <a:pt x="63389" y="-52"/>
                  </a:moveTo>
                  <a:cubicBezTo>
                    <a:pt x="94822" y="-2500"/>
                    <a:pt x="122350" y="21036"/>
                    <a:pt x="124826" y="52497"/>
                  </a:cubicBezTo>
                  <a:cubicBezTo>
                    <a:pt x="125016" y="55297"/>
                    <a:pt x="125016" y="58107"/>
                    <a:pt x="124826" y="60907"/>
                  </a:cubicBezTo>
                  <a:cubicBezTo>
                    <a:pt x="124826" y="98341"/>
                    <a:pt x="99775" y="125201"/>
                    <a:pt x="65389" y="125201"/>
                  </a:cubicBezTo>
                  <a:cubicBezTo>
                    <a:pt x="29670" y="124125"/>
                    <a:pt x="906" y="95560"/>
                    <a:pt x="-428" y="59860"/>
                  </a:cubicBezTo>
                  <a:cubicBezTo>
                    <a:pt x="-714" y="25094"/>
                    <a:pt x="25957" y="424"/>
                    <a:pt x="63389" y="-52"/>
                  </a:cubicBezTo>
                  <a:close/>
                </a:path>
              </a:pathLst>
            </a:custGeom>
            <a:solidFill>
              <a:srgbClr val="000000"/>
            </a:solidFill>
            <a:ln w="9525" cap="flat">
              <a:noFill/>
              <a:prstDash val="solid"/>
              <a:miter/>
            </a:ln>
          </p:spPr>
          <p:txBody>
            <a:bodyPr rtlCol="0" anchor="ctr"/>
            <a:lstStyle/>
            <a:p>
              <a:endParaRPr lang="de-DE"/>
            </a:p>
          </p:txBody>
        </p:sp>
        <p:sp>
          <p:nvSpPr>
            <p:cNvPr id="73" name="Grafik 2">
              <a:extLst>
                <a:ext uri="{FF2B5EF4-FFF2-40B4-BE49-F238E27FC236}">
                  <a16:creationId xmlns:a16="http://schemas.microsoft.com/office/drawing/2014/main" id="{4AA46B2D-D9DF-4CA6-8333-2A32242CAC43}"/>
                </a:ext>
              </a:extLst>
            </p:cNvPr>
            <p:cNvSpPr/>
            <p:nvPr/>
          </p:nvSpPr>
          <p:spPr bwMode="gray">
            <a:xfrm>
              <a:off x="10368715" y="466480"/>
              <a:ext cx="125651" cy="125498"/>
            </a:xfrm>
            <a:custGeom>
              <a:avLst/>
              <a:gdLst>
                <a:gd name="connsiteX0" fmla="*/ 125118 w 125651"/>
                <a:gd name="connsiteY0" fmla="*/ 60406 h 125498"/>
                <a:gd name="connsiteX1" fmla="*/ 66254 w 125651"/>
                <a:gd name="connsiteY1" fmla="*/ 125271 h 125498"/>
                <a:gd name="connsiteX2" fmla="*/ -421 w 125651"/>
                <a:gd name="connsiteY2" fmla="*/ 60501 h 125498"/>
                <a:gd name="connsiteX3" fmla="*/ 62824 w 125651"/>
                <a:gd name="connsiteY3" fmla="*/ 17 h 125498"/>
                <a:gd name="connsiteX4" fmla="*/ 125023 w 125651"/>
                <a:gd name="connsiteY4" fmla="*/ 51672 h 125498"/>
                <a:gd name="connsiteX5" fmla="*/ 125118 w 125651"/>
                <a:gd name="connsiteY5" fmla="*/ 60406 h 12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51" h="125498">
                  <a:moveTo>
                    <a:pt x="125118" y="60406"/>
                  </a:moveTo>
                  <a:cubicBezTo>
                    <a:pt x="125118" y="97744"/>
                    <a:pt x="100544" y="124986"/>
                    <a:pt x="66254" y="125271"/>
                  </a:cubicBezTo>
                  <a:cubicBezTo>
                    <a:pt x="30440" y="124652"/>
                    <a:pt x="1198" y="96306"/>
                    <a:pt x="-421" y="60501"/>
                  </a:cubicBezTo>
                  <a:cubicBezTo>
                    <a:pt x="-993" y="26021"/>
                    <a:pt x="25296" y="779"/>
                    <a:pt x="62824" y="17"/>
                  </a:cubicBezTo>
                  <a:cubicBezTo>
                    <a:pt x="94257" y="-2878"/>
                    <a:pt x="122071" y="20248"/>
                    <a:pt x="125023" y="51672"/>
                  </a:cubicBezTo>
                  <a:cubicBezTo>
                    <a:pt x="125213" y="54577"/>
                    <a:pt x="125309" y="57501"/>
                    <a:pt x="125118" y="60406"/>
                  </a:cubicBezTo>
                  <a:close/>
                </a:path>
              </a:pathLst>
            </a:custGeom>
            <a:solidFill>
              <a:srgbClr val="000000"/>
            </a:solidFill>
            <a:ln w="9525" cap="flat">
              <a:noFill/>
              <a:prstDash val="solid"/>
              <a:miter/>
            </a:ln>
          </p:spPr>
          <p:txBody>
            <a:bodyPr rtlCol="0" anchor="ctr"/>
            <a:lstStyle/>
            <a:p>
              <a:endParaRPr lang="de-DE"/>
            </a:p>
          </p:txBody>
        </p:sp>
        <p:sp>
          <p:nvSpPr>
            <p:cNvPr id="74" name="Grafik 2">
              <a:extLst>
                <a:ext uri="{FF2B5EF4-FFF2-40B4-BE49-F238E27FC236}">
                  <a16:creationId xmlns:a16="http://schemas.microsoft.com/office/drawing/2014/main" id="{866B8682-3DDB-4B64-A41B-24FA925445B0}"/>
                </a:ext>
              </a:extLst>
            </p:cNvPr>
            <p:cNvSpPr/>
            <p:nvPr/>
          </p:nvSpPr>
          <p:spPr bwMode="gray">
            <a:xfrm>
              <a:off x="10575511" y="466543"/>
              <a:ext cx="125396" cy="125435"/>
            </a:xfrm>
            <a:custGeom>
              <a:avLst/>
              <a:gdLst>
                <a:gd name="connsiteX0" fmla="*/ 124824 w 125396"/>
                <a:gd name="connsiteY0" fmla="*/ 60819 h 125435"/>
                <a:gd name="connsiteX1" fmla="*/ 65482 w 125396"/>
                <a:gd name="connsiteY1" fmla="*/ 125208 h 125435"/>
                <a:gd name="connsiteX2" fmla="*/ -430 w 125396"/>
                <a:gd name="connsiteY2" fmla="*/ 59867 h 125435"/>
                <a:gd name="connsiteX3" fmla="*/ 63292 w 125396"/>
                <a:gd name="connsiteY3" fmla="*/ -46 h 125435"/>
                <a:gd name="connsiteX4" fmla="*/ 124824 w 125396"/>
                <a:gd name="connsiteY4" fmla="*/ 52409 h 125435"/>
                <a:gd name="connsiteX5" fmla="*/ 124824 w 125396"/>
                <a:gd name="connsiteY5" fmla="*/ 60819 h 125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96" h="125435">
                  <a:moveTo>
                    <a:pt x="124824" y="60819"/>
                  </a:moveTo>
                  <a:cubicBezTo>
                    <a:pt x="124824" y="98348"/>
                    <a:pt x="99869" y="125208"/>
                    <a:pt x="65482" y="125208"/>
                  </a:cubicBezTo>
                  <a:cubicBezTo>
                    <a:pt x="29764" y="124180"/>
                    <a:pt x="904" y="95605"/>
                    <a:pt x="-430" y="59867"/>
                  </a:cubicBezTo>
                  <a:cubicBezTo>
                    <a:pt x="-430" y="25481"/>
                    <a:pt x="25859" y="431"/>
                    <a:pt x="63292" y="-46"/>
                  </a:cubicBezTo>
                  <a:cubicBezTo>
                    <a:pt x="94725" y="-2541"/>
                    <a:pt x="122252" y="20947"/>
                    <a:pt x="124824" y="52409"/>
                  </a:cubicBezTo>
                  <a:cubicBezTo>
                    <a:pt x="125014" y="55209"/>
                    <a:pt x="125014" y="58019"/>
                    <a:pt x="124824" y="60819"/>
                  </a:cubicBezTo>
                  <a:close/>
                </a:path>
              </a:pathLst>
            </a:custGeom>
            <a:solidFill>
              <a:srgbClr val="000000"/>
            </a:solidFill>
            <a:ln w="9525" cap="flat">
              <a:noFill/>
              <a:prstDash val="solid"/>
              <a:miter/>
            </a:ln>
          </p:spPr>
          <p:txBody>
            <a:bodyPr rtlCol="0" anchor="ctr"/>
            <a:lstStyle/>
            <a:p>
              <a:endParaRPr lang="de-DE"/>
            </a:p>
          </p:txBody>
        </p:sp>
        <p:sp>
          <p:nvSpPr>
            <p:cNvPr id="75" name="Grafik 2">
              <a:extLst>
                <a:ext uri="{FF2B5EF4-FFF2-40B4-BE49-F238E27FC236}">
                  <a16:creationId xmlns:a16="http://schemas.microsoft.com/office/drawing/2014/main" id="{2C6A2170-C2D1-4BD8-9CE3-DEB153B4D30B}"/>
                </a:ext>
              </a:extLst>
            </p:cNvPr>
            <p:cNvSpPr/>
            <p:nvPr/>
          </p:nvSpPr>
          <p:spPr bwMode="gray">
            <a:xfrm>
              <a:off x="10369360" y="879564"/>
              <a:ext cx="125055" cy="125513"/>
            </a:xfrm>
            <a:custGeom>
              <a:avLst/>
              <a:gdLst>
                <a:gd name="connsiteX0" fmla="*/ 124569 w 125055"/>
                <a:gd name="connsiteY0" fmla="*/ 59754 h 125513"/>
                <a:gd name="connsiteX1" fmla="*/ 66276 w 125055"/>
                <a:gd name="connsiteY1" fmla="*/ 125286 h 125513"/>
                <a:gd name="connsiteX2" fmla="*/ -399 w 125055"/>
                <a:gd name="connsiteY2" fmla="*/ 61087 h 125513"/>
                <a:gd name="connsiteX3" fmla="*/ 62084 w 125055"/>
                <a:gd name="connsiteY3" fmla="*/ 32 h 125513"/>
                <a:gd name="connsiteX4" fmla="*/ 124378 w 125055"/>
                <a:gd name="connsiteY4" fmla="*/ 51524 h 125513"/>
                <a:gd name="connsiteX5" fmla="*/ 124569 w 125055"/>
                <a:gd name="connsiteY5" fmla="*/ 59754 h 12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055" h="125513">
                  <a:moveTo>
                    <a:pt x="124569" y="59754"/>
                  </a:moveTo>
                  <a:cubicBezTo>
                    <a:pt x="124569" y="97092"/>
                    <a:pt x="100470" y="124619"/>
                    <a:pt x="66276" y="125286"/>
                  </a:cubicBezTo>
                  <a:cubicBezTo>
                    <a:pt x="30652" y="124686"/>
                    <a:pt x="1505" y="96663"/>
                    <a:pt x="-399" y="61087"/>
                  </a:cubicBezTo>
                  <a:cubicBezTo>
                    <a:pt x="-1447" y="26512"/>
                    <a:pt x="24556" y="1080"/>
                    <a:pt x="62084" y="32"/>
                  </a:cubicBezTo>
                  <a:cubicBezTo>
                    <a:pt x="93517" y="-2949"/>
                    <a:pt x="121426" y="20101"/>
                    <a:pt x="124378" y="51524"/>
                  </a:cubicBezTo>
                  <a:cubicBezTo>
                    <a:pt x="124664" y="54258"/>
                    <a:pt x="124664" y="57011"/>
                    <a:pt x="124569" y="59754"/>
                  </a:cubicBezTo>
                  <a:close/>
                </a:path>
              </a:pathLst>
            </a:custGeom>
            <a:solidFill>
              <a:srgbClr val="000000"/>
            </a:solidFill>
            <a:ln w="9525" cap="flat">
              <a:noFill/>
              <a:prstDash val="solid"/>
              <a:miter/>
            </a:ln>
          </p:spPr>
          <p:txBody>
            <a:bodyPr rtlCol="0" anchor="ctr"/>
            <a:lstStyle/>
            <a:p>
              <a:endParaRPr lang="de-DE"/>
            </a:p>
          </p:txBody>
        </p:sp>
        <p:sp>
          <p:nvSpPr>
            <p:cNvPr id="76" name="Grafik 2">
              <a:extLst>
                <a:ext uri="{FF2B5EF4-FFF2-40B4-BE49-F238E27FC236}">
                  <a16:creationId xmlns:a16="http://schemas.microsoft.com/office/drawing/2014/main" id="{417D9B84-F7C5-4444-9C33-1DAD8BE45273}"/>
                </a:ext>
              </a:extLst>
            </p:cNvPr>
            <p:cNvSpPr/>
            <p:nvPr/>
          </p:nvSpPr>
          <p:spPr bwMode="gray">
            <a:xfrm>
              <a:off x="9542906" y="672734"/>
              <a:ext cx="125577" cy="125752"/>
            </a:xfrm>
            <a:custGeom>
              <a:avLst/>
              <a:gdLst>
                <a:gd name="connsiteX0" fmla="*/ 64531 w 125577"/>
                <a:gd name="connsiteY0" fmla="*/ 125519 h 125752"/>
                <a:gd name="connsiteX1" fmla="*/ -430 w 125577"/>
                <a:gd name="connsiteY1" fmla="*/ 58844 h 125752"/>
                <a:gd name="connsiteX2" fmla="*/ 64436 w 125577"/>
                <a:gd name="connsiteY2" fmla="*/ -116 h 125752"/>
                <a:gd name="connsiteX3" fmla="*/ 125015 w 125577"/>
                <a:gd name="connsiteY3" fmla="*/ 53386 h 125752"/>
                <a:gd name="connsiteX4" fmla="*/ 124919 w 125577"/>
                <a:gd name="connsiteY4" fmla="*/ 61797 h 125752"/>
                <a:gd name="connsiteX5" fmla="*/ 64531 w 125577"/>
                <a:gd name="connsiteY5" fmla="*/ 125519 h 125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77" h="125752">
                  <a:moveTo>
                    <a:pt x="64531" y="125519"/>
                  </a:moveTo>
                  <a:cubicBezTo>
                    <a:pt x="28717" y="123919"/>
                    <a:pt x="237" y="94724"/>
                    <a:pt x="-430" y="58844"/>
                  </a:cubicBezTo>
                  <a:cubicBezTo>
                    <a:pt x="-430" y="24554"/>
                    <a:pt x="27002" y="-116"/>
                    <a:pt x="64436" y="-116"/>
                  </a:cubicBezTo>
                  <a:cubicBezTo>
                    <a:pt x="95963" y="-2068"/>
                    <a:pt x="123014" y="21877"/>
                    <a:pt x="125015" y="53386"/>
                  </a:cubicBezTo>
                  <a:cubicBezTo>
                    <a:pt x="125205" y="56186"/>
                    <a:pt x="125205" y="58996"/>
                    <a:pt x="124919" y="61797"/>
                  </a:cubicBezTo>
                  <a:cubicBezTo>
                    <a:pt x="124157" y="99611"/>
                    <a:pt x="99012" y="125995"/>
                    <a:pt x="64531" y="125519"/>
                  </a:cubicBezTo>
                  <a:close/>
                </a:path>
              </a:pathLst>
            </a:custGeom>
            <a:solidFill>
              <a:srgbClr val="000000"/>
            </a:solidFill>
            <a:ln w="9525" cap="flat">
              <a:noFill/>
              <a:prstDash val="solid"/>
              <a:miter/>
            </a:ln>
          </p:spPr>
          <p:txBody>
            <a:bodyPr rtlCol="0" anchor="ctr"/>
            <a:lstStyle/>
            <a:p>
              <a:endParaRPr lang="de-DE"/>
            </a:p>
          </p:txBody>
        </p:sp>
        <p:sp>
          <p:nvSpPr>
            <p:cNvPr id="77" name="Grafik 2">
              <a:extLst>
                <a:ext uri="{FF2B5EF4-FFF2-40B4-BE49-F238E27FC236}">
                  <a16:creationId xmlns:a16="http://schemas.microsoft.com/office/drawing/2014/main" id="{3E8DB20D-3EFB-43B8-A028-1106261BBA25}"/>
                </a:ext>
              </a:extLst>
            </p:cNvPr>
            <p:cNvSpPr/>
            <p:nvPr/>
          </p:nvSpPr>
          <p:spPr bwMode="gray">
            <a:xfrm>
              <a:off x="9749597" y="673199"/>
              <a:ext cx="125148" cy="125250"/>
            </a:xfrm>
            <a:custGeom>
              <a:avLst/>
              <a:gdLst>
                <a:gd name="connsiteX0" fmla="*/ 124634 w 125148"/>
                <a:gd name="connsiteY0" fmla="*/ 63522 h 125250"/>
                <a:gd name="connsiteX1" fmla="*/ 62628 w 125148"/>
                <a:gd name="connsiteY1" fmla="*/ 124958 h 125250"/>
                <a:gd name="connsiteX2" fmla="*/ -428 w 125148"/>
                <a:gd name="connsiteY2" fmla="*/ 56950 h 125250"/>
                <a:gd name="connsiteX3" fmla="*/ 66247 w 125148"/>
                <a:gd name="connsiteY3" fmla="*/ -200 h 125250"/>
                <a:gd name="connsiteX4" fmla="*/ 124634 w 125148"/>
                <a:gd name="connsiteY4" fmla="*/ 63522 h 12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148" h="125250">
                  <a:moveTo>
                    <a:pt x="124634" y="63522"/>
                  </a:moveTo>
                  <a:cubicBezTo>
                    <a:pt x="123111" y="100860"/>
                    <a:pt x="97203" y="126483"/>
                    <a:pt x="62628" y="124958"/>
                  </a:cubicBezTo>
                  <a:cubicBezTo>
                    <a:pt x="26909" y="122539"/>
                    <a:pt x="-714" y="92735"/>
                    <a:pt x="-428" y="56950"/>
                  </a:cubicBezTo>
                  <a:cubicBezTo>
                    <a:pt x="905" y="22755"/>
                    <a:pt x="28147" y="-1152"/>
                    <a:pt x="66247" y="-200"/>
                  </a:cubicBezTo>
                  <a:cubicBezTo>
                    <a:pt x="104347" y="753"/>
                    <a:pt x="126254" y="26280"/>
                    <a:pt x="124634" y="63522"/>
                  </a:cubicBezTo>
                  <a:close/>
                </a:path>
              </a:pathLst>
            </a:custGeom>
            <a:solidFill>
              <a:srgbClr val="000000"/>
            </a:solidFill>
            <a:ln w="9525" cap="flat">
              <a:noFill/>
              <a:prstDash val="solid"/>
              <a:miter/>
            </a:ln>
          </p:spPr>
          <p:txBody>
            <a:bodyPr rtlCol="0" anchor="ctr"/>
            <a:lstStyle/>
            <a:p>
              <a:endParaRPr lang="de-DE"/>
            </a:p>
          </p:txBody>
        </p:sp>
        <p:sp>
          <p:nvSpPr>
            <p:cNvPr id="78" name="Grafik 2">
              <a:extLst>
                <a:ext uri="{FF2B5EF4-FFF2-40B4-BE49-F238E27FC236}">
                  <a16:creationId xmlns:a16="http://schemas.microsoft.com/office/drawing/2014/main" id="{7927F4BD-E8CC-4145-B3E2-4077F2E0B9C7}"/>
                </a:ext>
              </a:extLst>
            </p:cNvPr>
            <p:cNvSpPr/>
            <p:nvPr/>
          </p:nvSpPr>
          <p:spPr bwMode="gray">
            <a:xfrm>
              <a:off x="9956005" y="673075"/>
              <a:ext cx="125480" cy="125345"/>
            </a:xfrm>
            <a:custGeom>
              <a:avLst/>
              <a:gdLst>
                <a:gd name="connsiteX0" fmla="*/ 63388 w 125480"/>
                <a:gd name="connsiteY0" fmla="*/ 125082 h 125345"/>
                <a:gd name="connsiteX1" fmla="*/ -430 w 125480"/>
                <a:gd name="connsiteY1" fmla="*/ 57740 h 125345"/>
                <a:gd name="connsiteX2" fmla="*/ 65388 w 125480"/>
                <a:gd name="connsiteY2" fmla="*/ -172 h 125345"/>
                <a:gd name="connsiteX3" fmla="*/ 125015 w 125480"/>
                <a:gd name="connsiteY3" fmla="*/ 54426 h 125345"/>
                <a:gd name="connsiteX4" fmla="*/ 124729 w 125480"/>
                <a:gd name="connsiteY4" fmla="*/ 62884 h 125345"/>
                <a:gd name="connsiteX5" fmla="*/ 63388 w 125480"/>
                <a:gd name="connsiteY5" fmla="*/ 125082 h 12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480" h="125345">
                  <a:moveTo>
                    <a:pt x="63388" y="125082"/>
                  </a:moveTo>
                  <a:cubicBezTo>
                    <a:pt x="27669" y="123015"/>
                    <a:pt x="-335" y="93526"/>
                    <a:pt x="-430" y="57740"/>
                  </a:cubicBezTo>
                  <a:cubicBezTo>
                    <a:pt x="522" y="23641"/>
                    <a:pt x="28145" y="-648"/>
                    <a:pt x="65388" y="-172"/>
                  </a:cubicBezTo>
                  <a:cubicBezTo>
                    <a:pt x="96915" y="-1553"/>
                    <a:pt x="123586" y="22888"/>
                    <a:pt x="125015" y="54426"/>
                  </a:cubicBezTo>
                  <a:cubicBezTo>
                    <a:pt x="125110" y="57245"/>
                    <a:pt x="125015" y="60074"/>
                    <a:pt x="124729" y="62884"/>
                  </a:cubicBezTo>
                  <a:cubicBezTo>
                    <a:pt x="123490" y="100317"/>
                    <a:pt x="97869" y="126225"/>
                    <a:pt x="63388" y="125082"/>
                  </a:cubicBezTo>
                  <a:close/>
                </a:path>
              </a:pathLst>
            </a:custGeom>
            <a:solidFill>
              <a:srgbClr val="000000"/>
            </a:solidFill>
            <a:ln w="9525" cap="flat">
              <a:noFill/>
              <a:prstDash val="solid"/>
              <a:miter/>
            </a:ln>
          </p:spPr>
          <p:txBody>
            <a:bodyPr rtlCol="0" anchor="ctr"/>
            <a:lstStyle/>
            <a:p>
              <a:endParaRPr lang="de-DE"/>
            </a:p>
          </p:txBody>
        </p:sp>
        <p:sp>
          <p:nvSpPr>
            <p:cNvPr id="79" name="Grafik 2">
              <a:extLst>
                <a:ext uri="{FF2B5EF4-FFF2-40B4-BE49-F238E27FC236}">
                  <a16:creationId xmlns:a16="http://schemas.microsoft.com/office/drawing/2014/main" id="{07A05B8A-1CDC-4F74-BD44-A8A38C3BC5EE}"/>
                </a:ext>
              </a:extLst>
            </p:cNvPr>
            <p:cNvSpPr/>
            <p:nvPr/>
          </p:nvSpPr>
          <p:spPr bwMode="gray">
            <a:xfrm>
              <a:off x="10162495" y="672983"/>
              <a:ext cx="125364" cy="125496"/>
            </a:xfrm>
            <a:custGeom>
              <a:avLst/>
              <a:gdLst>
                <a:gd name="connsiteX0" fmla="*/ 124836 w 125364"/>
                <a:gd name="connsiteY0" fmla="*/ 60119 h 125496"/>
                <a:gd name="connsiteX1" fmla="*/ 66257 w 125364"/>
                <a:gd name="connsiteY1" fmla="*/ 125270 h 125496"/>
                <a:gd name="connsiteX2" fmla="*/ -418 w 125364"/>
                <a:gd name="connsiteY2" fmla="*/ 60690 h 125496"/>
                <a:gd name="connsiteX3" fmla="*/ 62543 w 125364"/>
                <a:gd name="connsiteY3" fmla="*/ 16 h 125496"/>
                <a:gd name="connsiteX4" fmla="*/ 124646 w 125364"/>
                <a:gd name="connsiteY4" fmla="*/ 51689 h 125496"/>
                <a:gd name="connsiteX5" fmla="*/ 124836 w 125364"/>
                <a:gd name="connsiteY5" fmla="*/ 60119 h 125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64" h="125496">
                  <a:moveTo>
                    <a:pt x="124836" y="60119"/>
                  </a:moveTo>
                  <a:cubicBezTo>
                    <a:pt x="124836" y="97456"/>
                    <a:pt x="100452" y="124793"/>
                    <a:pt x="66257" y="125270"/>
                  </a:cubicBezTo>
                  <a:cubicBezTo>
                    <a:pt x="30539" y="124612"/>
                    <a:pt x="1392" y="96399"/>
                    <a:pt x="-418" y="60690"/>
                  </a:cubicBezTo>
                  <a:cubicBezTo>
                    <a:pt x="-1085" y="26210"/>
                    <a:pt x="25109" y="873"/>
                    <a:pt x="62543" y="16"/>
                  </a:cubicBezTo>
                  <a:cubicBezTo>
                    <a:pt x="93974" y="-2870"/>
                    <a:pt x="121788" y="20266"/>
                    <a:pt x="124646" y="51689"/>
                  </a:cubicBezTo>
                  <a:cubicBezTo>
                    <a:pt x="124931" y="54489"/>
                    <a:pt x="125026" y="57309"/>
                    <a:pt x="124836" y="60119"/>
                  </a:cubicBezTo>
                  <a:close/>
                </a:path>
              </a:pathLst>
            </a:custGeom>
            <a:solidFill>
              <a:srgbClr val="000000"/>
            </a:solidFill>
            <a:ln w="9525" cap="flat">
              <a:noFill/>
              <a:prstDash val="solid"/>
              <a:miter/>
            </a:ln>
          </p:spPr>
          <p:txBody>
            <a:bodyPr rtlCol="0" anchor="ctr"/>
            <a:lstStyle/>
            <a:p>
              <a:endParaRPr lang="de-DE"/>
            </a:p>
          </p:txBody>
        </p:sp>
        <p:sp>
          <p:nvSpPr>
            <p:cNvPr id="80" name="Grafik 2">
              <a:extLst>
                <a:ext uri="{FF2B5EF4-FFF2-40B4-BE49-F238E27FC236}">
                  <a16:creationId xmlns:a16="http://schemas.microsoft.com/office/drawing/2014/main" id="{8FBC337F-CB0A-4807-9E2B-3F931FBA25E8}"/>
                </a:ext>
              </a:extLst>
            </p:cNvPr>
            <p:cNvSpPr/>
            <p:nvPr/>
          </p:nvSpPr>
          <p:spPr bwMode="gray">
            <a:xfrm>
              <a:off x="10368715" y="672982"/>
              <a:ext cx="125651" cy="125498"/>
            </a:xfrm>
            <a:custGeom>
              <a:avLst/>
              <a:gdLst>
                <a:gd name="connsiteX0" fmla="*/ 125118 w 125651"/>
                <a:gd name="connsiteY0" fmla="*/ 60406 h 125498"/>
                <a:gd name="connsiteX1" fmla="*/ 66254 w 125651"/>
                <a:gd name="connsiteY1" fmla="*/ 125271 h 125498"/>
                <a:gd name="connsiteX2" fmla="*/ -421 w 125651"/>
                <a:gd name="connsiteY2" fmla="*/ 60406 h 125498"/>
                <a:gd name="connsiteX3" fmla="*/ 62824 w 125651"/>
                <a:gd name="connsiteY3" fmla="*/ 17 h 125498"/>
                <a:gd name="connsiteX4" fmla="*/ 125023 w 125651"/>
                <a:gd name="connsiteY4" fmla="*/ 51681 h 125498"/>
                <a:gd name="connsiteX5" fmla="*/ 125118 w 125651"/>
                <a:gd name="connsiteY5" fmla="*/ 60406 h 12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51" h="125498">
                  <a:moveTo>
                    <a:pt x="125118" y="60406"/>
                  </a:moveTo>
                  <a:cubicBezTo>
                    <a:pt x="125118" y="97744"/>
                    <a:pt x="100449" y="124985"/>
                    <a:pt x="66254" y="125271"/>
                  </a:cubicBezTo>
                  <a:cubicBezTo>
                    <a:pt x="30345" y="124652"/>
                    <a:pt x="1198" y="96249"/>
                    <a:pt x="-421" y="60406"/>
                  </a:cubicBezTo>
                  <a:cubicBezTo>
                    <a:pt x="-993" y="25925"/>
                    <a:pt x="25392" y="779"/>
                    <a:pt x="62824" y="17"/>
                  </a:cubicBezTo>
                  <a:cubicBezTo>
                    <a:pt x="94257" y="-2878"/>
                    <a:pt x="122071" y="20248"/>
                    <a:pt x="125023" y="51681"/>
                  </a:cubicBezTo>
                  <a:cubicBezTo>
                    <a:pt x="125213" y="54577"/>
                    <a:pt x="125309" y="57501"/>
                    <a:pt x="125118" y="60406"/>
                  </a:cubicBezTo>
                  <a:close/>
                </a:path>
              </a:pathLst>
            </a:custGeom>
            <a:solidFill>
              <a:srgbClr val="000000"/>
            </a:solidFill>
            <a:ln w="9525" cap="flat">
              <a:noFill/>
              <a:prstDash val="solid"/>
              <a:miter/>
            </a:ln>
          </p:spPr>
          <p:txBody>
            <a:bodyPr rtlCol="0" anchor="ctr"/>
            <a:lstStyle/>
            <a:p>
              <a:endParaRPr lang="de-DE"/>
            </a:p>
          </p:txBody>
        </p:sp>
        <p:sp>
          <p:nvSpPr>
            <p:cNvPr id="81" name="Grafik 2">
              <a:extLst>
                <a:ext uri="{FF2B5EF4-FFF2-40B4-BE49-F238E27FC236}">
                  <a16:creationId xmlns:a16="http://schemas.microsoft.com/office/drawing/2014/main" id="{A3C4C27D-28A5-46A7-9F16-FE409A184C23}"/>
                </a:ext>
              </a:extLst>
            </p:cNvPr>
            <p:cNvSpPr/>
            <p:nvPr/>
          </p:nvSpPr>
          <p:spPr bwMode="gray">
            <a:xfrm>
              <a:off x="10368997" y="1292489"/>
              <a:ext cx="125365" cy="125497"/>
            </a:xfrm>
            <a:custGeom>
              <a:avLst/>
              <a:gdLst>
                <a:gd name="connsiteX0" fmla="*/ 124836 w 125365"/>
                <a:gd name="connsiteY0" fmla="*/ 60119 h 125497"/>
                <a:gd name="connsiteX1" fmla="*/ 66257 w 125365"/>
                <a:gd name="connsiteY1" fmla="*/ 125270 h 125497"/>
                <a:gd name="connsiteX2" fmla="*/ -418 w 125365"/>
                <a:gd name="connsiteY2" fmla="*/ 60690 h 125497"/>
                <a:gd name="connsiteX3" fmla="*/ 62543 w 125365"/>
                <a:gd name="connsiteY3" fmla="*/ 16 h 125497"/>
                <a:gd name="connsiteX4" fmla="*/ 124646 w 125365"/>
                <a:gd name="connsiteY4" fmla="*/ 51689 h 125497"/>
                <a:gd name="connsiteX5" fmla="*/ 124836 w 125365"/>
                <a:gd name="connsiteY5" fmla="*/ 60119 h 12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65" h="125497">
                  <a:moveTo>
                    <a:pt x="124836" y="60119"/>
                  </a:moveTo>
                  <a:cubicBezTo>
                    <a:pt x="124836" y="97457"/>
                    <a:pt x="100453" y="124793"/>
                    <a:pt x="66257" y="125270"/>
                  </a:cubicBezTo>
                  <a:cubicBezTo>
                    <a:pt x="30539" y="124613"/>
                    <a:pt x="1393" y="96399"/>
                    <a:pt x="-418" y="60690"/>
                  </a:cubicBezTo>
                  <a:cubicBezTo>
                    <a:pt x="-1084" y="26210"/>
                    <a:pt x="25110" y="968"/>
                    <a:pt x="62543" y="16"/>
                  </a:cubicBezTo>
                  <a:cubicBezTo>
                    <a:pt x="93976" y="-2870"/>
                    <a:pt x="121789" y="20266"/>
                    <a:pt x="124646" y="51689"/>
                  </a:cubicBezTo>
                  <a:cubicBezTo>
                    <a:pt x="124932" y="54489"/>
                    <a:pt x="125027" y="57309"/>
                    <a:pt x="124836" y="60119"/>
                  </a:cubicBezTo>
                  <a:close/>
                </a:path>
              </a:pathLst>
            </a:custGeom>
            <a:solidFill>
              <a:srgbClr val="000000"/>
            </a:solidFill>
            <a:ln w="9525" cap="flat">
              <a:noFill/>
              <a:prstDash val="solid"/>
              <a:miter/>
            </a:ln>
          </p:spPr>
          <p:txBody>
            <a:bodyPr rtlCol="0" anchor="ctr"/>
            <a:lstStyle/>
            <a:p>
              <a:endParaRPr lang="de-DE"/>
            </a:p>
          </p:txBody>
        </p:sp>
      </p:grpSp>
      <p:sp>
        <p:nvSpPr>
          <p:cNvPr id="82" name="Titel 1">
            <a:extLst>
              <a:ext uri="{FF2B5EF4-FFF2-40B4-BE49-F238E27FC236}">
                <a16:creationId xmlns:a16="http://schemas.microsoft.com/office/drawing/2014/main" id="{74A0353C-8AE3-462C-9DA7-DDA4ACD683A6}"/>
              </a:ext>
            </a:extLst>
          </p:cNvPr>
          <p:cNvSpPr>
            <a:spLocks noGrp="1"/>
          </p:cNvSpPr>
          <p:nvPr>
            <p:ph type="title" hasCustomPrompt="1"/>
          </p:nvPr>
        </p:nvSpPr>
        <p:spPr bwMode="gray">
          <a:xfrm>
            <a:off x="551384" y="1341438"/>
            <a:ext cx="3312000" cy="3888000"/>
          </a:xfrm>
        </p:spPr>
        <p:txBody>
          <a:bodyPr anchor="b"/>
          <a:lstStyle>
            <a:lvl1pPr>
              <a:defRPr sz="2600"/>
            </a:lvl1pPr>
          </a:lstStyle>
          <a:p>
            <a:pPr lvl="0"/>
            <a:r>
              <a:rPr lang="de-DE"/>
              <a:t>Kapitel-zusammenfassung</a:t>
            </a:r>
          </a:p>
        </p:txBody>
      </p:sp>
      <p:sp>
        <p:nvSpPr>
          <p:cNvPr id="83" name="Grafik 2">
            <a:extLst>
              <a:ext uri="{FF2B5EF4-FFF2-40B4-BE49-F238E27FC236}">
                <a16:creationId xmlns:a16="http://schemas.microsoft.com/office/drawing/2014/main" id="{C2B1D3A7-7C26-44CF-AA99-5F0868A310BC}"/>
              </a:ext>
            </a:extLst>
          </p:cNvPr>
          <p:cNvSpPr/>
          <p:nvPr userDrawn="1"/>
        </p:nvSpPr>
        <p:spPr bwMode="gray">
          <a:xfrm>
            <a:off x="1559496" y="5562054"/>
            <a:ext cx="674245" cy="675258"/>
          </a:xfrm>
          <a:custGeom>
            <a:avLst/>
            <a:gdLst>
              <a:gd name="connsiteX0" fmla="*/ 673200 w 674245"/>
              <a:gd name="connsiteY0" fmla="*/ 338487 h 675258"/>
              <a:gd name="connsiteX1" fmla="*/ 334205 w 674245"/>
              <a:gd name="connsiteY1" fmla="*/ 675006 h 675258"/>
              <a:gd name="connsiteX2" fmla="*/ -408 w 674245"/>
              <a:gd name="connsiteY2" fmla="*/ 340392 h 675258"/>
              <a:gd name="connsiteX3" fmla="*/ 340682 w 674245"/>
              <a:gd name="connsiteY3" fmla="*/ -222 h 675258"/>
              <a:gd name="connsiteX4" fmla="*/ 673200 w 674245"/>
              <a:gd name="connsiteY4" fmla="*/ 338487 h 675258"/>
              <a:gd name="connsiteX5" fmla="*/ 536707 w 674245"/>
              <a:gd name="connsiteY5" fmla="*/ 335535 h 675258"/>
              <a:gd name="connsiteX6" fmla="*/ 339349 w 674245"/>
              <a:gd name="connsiteY6" fmla="*/ 137224 h 675258"/>
              <a:gd name="connsiteX7" fmla="*/ 137800 w 674245"/>
              <a:gd name="connsiteY7" fmla="*/ 340392 h 675258"/>
              <a:gd name="connsiteX8" fmla="*/ 333729 w 674245"/>
              <a:gd name="connsiteY8" fmla="*/ 536703 h 675258"/>
              <a:gd name="connsiteX9" fmla="*/ 536707 w 674245"/>
              <a:gd name="connsiteY9" fmla="*/ 335535 h 675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4245" h="675258">
                <a:moveTo>
                  <a:pt x="673200" y="338487"/>
                </a:moveTo>
                <a:cubicBezTo>
                  <a:pt x="679677" y="523749"/>
                  <a:pt x="525753" y="677292"/>
                  <a:pt x="334205" y="675006"/>
                </a:cubicBezTo>
                <a:cubicBezTo>
                  <a:pt x="145801" y="672720"/>
                  <a:pt x="1688" y="528892"/>
                  <a:pt x="-408" y="340392"/>
                </a:cubicBezTo>
                <a:cubicBezTo>
                  <a:pt x="-2503" y="151893"/>
                  <a:pt x="144658" y="1112"/>
                  <a:pt x="340682" y="-222"/>
                </a:cubicBezTo>
                <a:cubicBezTo>
                  <a:pt x="524896" y="-1365"/>
                  <a:pt x="685011" y="168085"/>
                  <a:pt x="673200" y="338487"/>
                </a:cubicBezTo>
                <a:close/>
                <a:moveTo>
                  <a:pt x="536707" y="335535"/>
                </a:moveTo>
                <a:cubicBezTo>
                  <a:pt x="542136" y="235236"/>
                  <a:pt x="439361" y="134557"/>
                  <a:pt x="339349" y="137224"/>
                </a:cubicBezTo>
                <a:cubicBezTo>
                  <a:pt x="246480" y="139701"/>
                  <a:pt x="139324" y="201613"/>
                  <a:pt x="137800" y="340392"/>
                </a:cubicBezTo>
                <a:cubicBezTo>
                  <a:pt x="136657" y="443072"/>
                  <a:pt x="230764" y="537465"/>
                  <a:pt x="333729" y="536703"/>
                </a:cubicBezTo>
                <a:cubicBezTo>
                  <a:pt x="471746" y="535655"/>
                  <a:pt x="536707" y="429356"/>
                  <a:pt x="536707" y="335535"/>
                </a:cubicBezTo>
                <a:close/>
              </a:path>
            </a:pathLst>
          </a:custGeom>
          <a:solidFill>
            <a:srgbClr val="000000"/>
          </a:solidFill>
          <a:ln w="9525" cap="flat">
            <a:noFill/>
            <a:prstDash val="solid"/>
            <a:miter/>
          </a:ln>
        </p:spPr>
        <p:txBody>
          <a:bodyPr rtlCol="0" anchor="ctr"/>
          <a:lstStyle/>
          <a:p>
            <a:endParaRPr lang="de-DE"/>
          </a:p>
        </p:txBody>
      </p:sp>
      <p:sp>
        <p:nvSpPr>
          <p:cNvPr id="39" name="Textplatzhalter 38">
            <a:extLst>
              <a:ext uri="{FF2B5EF4-FFF2-40B4-BE49-F238E27FC236}">
                <a16:creationId xmlns:a16="http://schemas.microsoft.com/office/drawing/2014/main" id="{C50B2D48-FC39-40E6-9978-25C705F4ECB2}"/>
              </a:ext>
            </a:extLst>
          </p:cNvPr>
          <p:cNvSpPr>
            <a:spLocks noGrp="1"/>
          </p:cNvSpPr>
          <p:nvPr>
            <p:ph type="body" sz="quarter" idx="13"/>
          </p:nvPr>
        </p:nvSpPr>
        <p:spPr bwMode="gray">
          <a:xfrm>
            <a:off x="4656640" y="1340768"/>
            <a:ext cx="7200000" cy="792000"/>
          </a:xfrm>
        </p:spPr>
        <p:txBody>
          <a:bodyPr tIns="36000"/>
          <a:lstStyle>
            <a:lvl1pPr>
              <a:spcAft>
                <a:spcPts val="0"/>
              </a:spcAft>
              <a:defRPr/>
            </a:lvl1pPr>
            <a:lvl2pPr marL="0">
              <a:spcAft>
                <a:spcPts val="0"/>
              </a:spcAft>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spcAft>
                <a:spcPts val="0"/>
              </a:spcAft>
              <a:buFont typeface="Arial" panose="020B0604020202020204" pitchFamily="34" charset="0"/>
              <a:buNone/>
              <a:defRPr/>
            </a:lvl5pPr>
            <a:lvl6pPr marL="0" indent="0">
              <a:spcAft>
                <a:spcPts val="0"/>
              </a:spcAft>
              <a:buFont typeface="Arial" panose="020B0604020202020204" pitchFamily="34" charset="0"/>
              <a:buNone/>
              <a:defRPr/>
            </a:lvl6pPr>
            <a:lvl7pPr marL="0" indent="0">
              <a:spcAft>
                <a:spcPts val="0"/>
              </a:spcAft>
              <a:buFont typeface="Arial" panose="020B0604020202020204" pitchFamily="34" charset="0"/>
              <a:buNone/>
              <a:defRPr/>
            </a:lvl7pPr>
            <a:lvl8pPr marL="0" indent="0">
              <a:spcAft>
                <a:spcPts val="0"/>
              </a:spcAft>
              <a:buFont typeface="Arial" panose="020B0604020202020204" pitchFamily="34" charset="0"/>
              <a:buNone/>
              <a:defRPr/>
            </a:lvl8pPr>
            <a:lvl9pPr marL="0" indent="0">
              <a:spcAft>
                <a:spcPts val="0"/>
              </a:spcAft>
              <a:buFont typeface="Arial" panose="020B0604020202020204" pitchFamily="34" charset="0"/>
              <a:buNone/>
              <a:defRPr/>
            </a:lvl9pPr>
          </a:lstStyle>
          <a:p>
            <a:pPr lvl="0"/>
            <a:r>
              <a:rPr lang="de-DE"/>
              <a:t>Mastertextformat bearbeiten</a:t>
            </a:r>
          </a:p>
          <a:p>
            <a:pPr lvl="1"/>
            <a:r>
              <a:rPr lang="de-DE"/>
              <a:t>Zweite Ebene</a:t>
            </a:r>
          </a:p>
          <a:p>
            <a:pPr lvl="2"/>
            <a:r>
              <a:rPr lang="de-DE"/>
              <a:t>Dritte Ebene</a:t>
            </a:r>
          </a:p>
        </p:txBody>
      </p:sp>
      <p:sp>
        <p:nvSpPr>
          <p:cNvPr id="4" name="Textplatzhalter 3">
            <a:extLst>
              <a:ext uri="{FF2B5EF4-FFF2-40B4-BE49-F238E27FC236}">
                <a16:creationId xmlns:a16="http://schemas.microsoft.com/office/drawing/2014/main" id="{94CA479F-9C0F-4E2D-A44B-F17D815D2467}"/>
              </a:ext>
            </a:extLst>
          </p:cNvPr>
          <p:cNvSpPr>
            <a:spLocks noGrp="1"/>
          </p:cNvSpPr>
          <p:nvPr>
            <p:ph type="body" sz="quarter" idx="14" hasCustomPrompt="1"/>
          </p:nvPr>
        </p:nvSpPr>
        <p:spPr bwMode="gray">
          <a:xfrm>
            <a:off x="4295792" y="1340768"/>
            <a:ext cx="287337" cy="25200"/>
          </a:xfrm>
          <a:solidFill>
            <a:schemeClr val="tx1"/>
          </a:solidFill>
        </p:spPr>
        <p:txBody>
          <a:bodyPr tIns="36000"/>
          <a:lstStyle>
            <a:lvl1pPr marL="0" indent="0" algn="l">
              <a:spcAft>
                <a:spcPts val="0"/>
              </a:spcAft>
              <a:buFont typeface="Arial" panose="020B0604020202020204" pitchFamily="34" charset="0"/>
              <a:buNone/>
              <a:defRPr b="1">
                <a:solidFill>
                  <a:schemeClr val="tx1"/>
                </a:solidFill>
              </a:defRPr>
            </a:lvl1pPr>
            <a:lvl2pPr marL="0" indent="0" algn="l">
              <a:spcAft>
                <a:spcPts val="0"/>
              </a:spcAft>
              <a:buFont typeface="Arial" panose="020B0604020202020204" pitchFamily="34" charset="0"/>
              <a:buNone/>
              <a:defRPr b="1">
                <a:solidFill>
                  <a:schemeClr val="tx1"/>
                </a:solidFill>
              </a:defRPr>
            </a:lvl2pPr>
            <a:lvl3pPr marL="0" indent="0" algn="l">
              <a:spcAft>
                <a:spcPts val="0"/>
              </a:spcAft>
              <a:buNone/>
              <a:defRPr b="1">
                <a:solidFill>
                  <a:schemeClr val="tx1"/>
                </a:solidFill>
              </a:defRPr>
            </a:lvl3pPr>
            <a:lvl4pPr marL="0" indent="0" algn="l">
              <a:spcAft>
                <a:spcPts val="0"/>
              </a:spcAft>
              <a:buNone/>
              <a:defRPr b="1">
                <a:solidFill>
                  <a:schemeClr val="tx1"/>
                </a:solidFill>
              </a:defRPr>
            </a:lvl4pPr>
            <a:lvl5pPr marL="0" indent="0" algn="l">
              <a:spcAft>
                <a:spcPts val="0"/>
              </a:spcAft>
              <a:buNone/>
              <a:defRPr b="1">
                <a:solidFill>
                  <a:schemeClr val="tx1"/>
                </a:solidFill>
              </a:defRPr>
            </a:lvl5pPr>
            <a:lvl6pPr marL="0" indent="0" algn="l">
              <a:spcAft>
                <a:spcPts val="0"/>
              </a:spcAft>
              <a:buNone/>
              <a:defRPr b="1">
                <a:solidFill>
                  <a:schemeClr val="tx1"/>
                </a:solidFill>
              </a:defRPr>
            </a:lvl6pPr>
            <a:lvl7pPr marL="0" indent="0" algn="l">
              <a:spcAft>
                <a:spcPts val="0"/>
              </a:spcAft>
              <a:buNone/>
              <a:defRPr b="1">
                <a:solidFill>
                  <a:schemeClr val="tx1"/>
                </a:solidFill>
              </a:defRPr>
            </a:lvl7pPr>
            <a:lvl8pPr marL="0" indent="0" algn="l">
              <a:spcAft>
                <a:spcPts val="0"/>
              </a:spcAft>
              <a:buNone/>
              <a:defRPr b="1">
                <a:solidFill>
                  <a:schemeClr val="tx1"/>
                </a:solidFill>
              </a:defRPr>
            </a:lvl8pPr>
            <a:lvl9pPr marL="0" indent="0" algn="l">
              <a:spcAft>
                <a:spcPts val="0"/>
              </a:spcAft>
              <a:buNone/>
              <a:defRPr b="1">
                <a:solidFill>
                  <a:schemeClr val="tx1"/>
                </a:solidFill>
              </a:defRPr>
            </a:lvl9pPr>
          </a:lstStyle>
          <a:p>
            <a:pPr lvl="0"/>
            <a:r>
              <a:rPr lang="de-DE"/>
              <a:t>00</a:t>
            </a:r>
          </a:p>
        </p:txBody>
      </p:sp>
      <p:sp>
        <p:nvSpPr>
          <p:cNvPr id="40" name="Textplatzhalter 38">
            <a:extLst>
              <a:ext uri="{FF2B5EF4-FFF2-40B4-BE49-F238E27FC236}">
                <a16:creationId xmlns:a16="http://schemas.microsoft.com/office/drawing/2014/main" id="{E0FE17A0-1B88-4FE8-BC5E-530841ADEEBC}"/>
              </a:ext>
            </a:extLst>
          </p:cNvPr>
          <p:cNvSpPr>
            <a:spLocks noGrp="1"/>
          </p:cNvSpPr>
          <p:nvPr>
            <p:ph type="body" sz="quarter" idx="15"/>
          </p:nvPr>
        </p:nvSpPr>
        <p:spPr bwMode="gray">
          <a:xfrm>
            <a:off x="4656640" y="2366882"/>
            <a:ext cx="7200000" cy="792000"/>
          </a:xfrm>
        </p:spPr>
        <p:txBody>
          <a:bodyPr tIns="36000"/>
          <a:lstStyle>
            <a:lvl1pPr>
              <a:spcAft>
                <a:spcPts val="0"/>
              </a:spcAft>
              <a:defRPr/>
            </a:lvl1pPr>
            <a:lvl2pPr marL="0">
              <a:spcAft>
                <a:spcPts val="0"/>
              </a:spcAft>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spcAft>
                <a:spcPts val="0"/>
              </a:spcAft>
              <a:buFont typeface="Arial" panose="020B0604020202020204" pitchFamily="34" charset="0"/>
              <a:buNone/>
              <a:defRPr/>
            </a:lvl5pPr>
            <a:lvl6pPr marL="0" indent="0">
              <a:spcAft>
                <a:spcPts val="0"/>
              </a:spcAft>
              <a:buFont typeface="Arial" panose="020B0604020202020204" pitchFamily="34" charset="0"/>
              <a:buNone/>
              <a:defRPr/>
            </a:lvl6pPr>
            <a:lvl7pPr marL="0" indent="0">
              <a:spcAft>
                <a:spcPts val="0"/>
              </a:spcAft>
              <a:buFont typeface="Arial" panose="020B0604020202020204" pitchFamily="34" charset="0"/>
              <a:buNone/>
              <a:defRPr/>
            </a:lvl7pPr>
            <a:lvl8pPr marL="0" indent="0">
              <a:spcAft>
                <a:spcPts val="0"/>
              </a:spcAft>
              <a:buFont typeface="Arial" panose="020B0604020202020204" pitchFamily="34" charset="0"/>
              <a:buNone/>
              <a:defRPr/>
            </a:lvl8pPr>
            <a:lvl9pPr marL="0" indent="0">
              <a:spcAft>
                <a:spcPts val="0"/>
              </a:spcAft>
              <a:buFont typeface="Arial" panose="020B0604020202020204" pitchFamily="34" charset="0"/>
              <a:buNone/>
              <a:defRPr/>
            </a:lvl9pPr>
          </a:lstStyle>
          <a:p>
            <a:pPr lvl="0"/>
            <a:r>
              <a:rPr lang="de-DE"/>
              <a:t>Mastertextformat bearbeiten</a:t>
            </a:r>
          </a:p>
          <a:p>
            <a:pPr lvl="1"/>
            <a:r>
              <a:rPr lang="de-DE"/>
              <a:t>Zweite Ebene</a:t>
            </a:r>
          </a:p>
          <a:p>
            <a:pPr lvl="2"/>
            <a:r>
              <a:rPr lang="de-DE"/>
              <a:t>Dritte Ebene</a:t>
            </a:r>
          </a:p>
        </p:txBody>
      </p:sp>
      <p:sp>
        <p:nvSpPr>
          <p:cNvPr id="41" name="Textplatzhalter 3">
            <a:extLst>
              <a:ext uri="{FF2B5EF4-FFF2-40B4-BE49-F238E27FC236}">
                <a16:creationId xmlns:a16="http://schemas.microsoft.com/office/drawing/2014/main" id="{645548A1-3BE8-4679-861C-0A42F5EAE0E9}"/>
              </a:ext>
            </a:extLst>
          </p:cNvPr>
          <p:cNvSpPr>
            <a:spLocks noGrp="1"/>
          </p:cNvSpPr>
          <p:nvPr>
            <p:ph type="body" sz="quarter" idx="16" hasCustomPrompt="1"/>
          </p:nvPr>
        </p:nvSpPr>
        <p:spPr bwMode="gray">
          <a:xfrm>
            <a:off x="4295792" y="2366882"/>
            <a:ext cx="287337" cy="25200"/>
          </a:xfrm>
          <a:solidFill>
            <a:schemeClr val="tx1"/>
          </a:solidFill>
        </p:spPr>
        <p:txBody>
          <a:bodyPr tIns="36000"/>
          <a:lstStyle>
            <a:lvl1pPr marL="0" indent="0" algn="l">
              <a:spcAft>
                <a:spcPts val="0"/>
              </a:spcAft>
              <a:buFont typeface="Arial" panose="020B0604020202020204" pitchFamily="34" charset="0"/>
              <a:buNone/>
              <a:defRPr b="1">
                <a:solidFill>
                  <a:schemeClr val="tx1"/>
                </a:solidFill>
              </a:defRPr>
            </a:lvl1pPr>
            <a:lvl2pPr marL="0" indent="0" algn="l">
              <a:spcAft>
                <a:spcPts val="0"/>
              </a:spcAft>
              <a:buFont typeface="Arial" panose="020B0604020202020204" pitchFamily="34" charset="0"/>
              <a:buNone/>
              <a:defRPr b="1">
                <a:solidFill>
                  <a:schemeClr val="tx1"/>
                </a:solidFill>
              </a:defRPr>
            </a:lvl2pPr>
            <a:lvl3pPr marL="0" indent="0" algn="l">
              <a:spcAft>
                <a:spcPts val="0"/>
              </a:spcAft>
              <a:buNone/>
              <a:defRPr b="1">
                <a:solidFill>
                  <a:schemeClr val="tx1"/>
                </a:solidFill>
              </a:defRPr>
            </a:lvl3pPr>
            <a:lvl4pPr marL="0" indent="0" algn="l">
              <a:spcAft>
                <a:spcPts val="0"/>
              </a:spcAft>
              <a:buNone/>
              <a:defRPr b="1">
                <a:solidFill>
                  <a:schemeClr val="tx1"/>
                </a:solidFill>
              </a:defRPr>
            </a:lvl4pPr>
            <a:lvl5pPr marL="0" indent="0" algn="l">
              <a:spcAft>
                <a:spcPts val="0"/>
              </a:spcAft>
              <a:buNone/>
              <a:defRPr b="1">
                <a:solidFill>
                  <a:schemeClr val="tx1"/>
                </a:solidFill>
              </a:defRPr>
            </a:lvl5pPr>
            <a:lvl6pPr marL="0" indent="0" algn="l">
              <a:spcAft>
                <a:spcPts val="0"/>
              </a:spcAft>
              <a:buNone/>
              <a:defRPr b="1">
                <a:solidFill>
                  <a:schemeClr val="tx1"/>
                </a:solidFill>
              </a:defRPr>
            </a:lvl6pPr>
            <a:lvl7pPr marL="0" indent="0" algn="l">
              <a:spcAft>
                <a:spcPts val="0"/>
              </a:spcAft>
              <a:buNone/>
              <a:defRPr b="1">
                <a:solidFill>
                  <a:schemeClr val="tx1"/>
                </a:solidFill>
              </a:defRPr>
            </a:lvl7pPr>
            <a:lvl8pPr marL="0" indent="0" algn="l">
              <a:spcAft>
                <a:spcPts val="0"/>
              </a:spcAft>
              <a:buNone/>
              <a:defRPr b="1">
                <a:solidFill>
                  <a:schemeClr val="tx1"/>
                </a:solidFill>
              </a:defRPr>
            </a:lvl8pPr>
            <a:lvl9pPr marL="0" indent="0" algn="l">
              <a:spcAft>
                <a:spcPts val="0"/>
              </a:spcAft>
              <a:buNone/>
              <a:defRPr b="1">
                <a:solidFill>
                  <a:schemeClr val="tx1"/>
                </a:solidFill>
              </a:defRPr>
            </a:lvl9pPr>
          </a:lstStyle>
          <a:p>
            <a:pPr lvl="0"/>
            <a:r>
              <a:rPr lang="de-DE"/>
              <a:t>00</a:t>
            </a:r>
          </a:p>
        </p:txBody>
      </p:sp>
      <p:sp>
        <p:nvSpPr>
          <p:cNvPr id="42" name="Textplatzhalter 38">
            <a:extLst>
              <a:ext uri="{FF2B5EF4-FFF2-40B4-BE49-F238E27FC236}">
                <a16:creationId xmlns:a16="http://schemas.microsoft.com/office/drawing/2014/main" id="{156860BD-3668-45B9-8585-898D9C0B9BB4}"/>
              </a:ext>
            </a:extLst>
          </p:cNvPr>
          <p:cNvSpPr>
            <a:spLocks noGrp="1"/>
          </p:cNvSpPr>
          <p:nvPr>
            <p:ph type="body" sz="quarter" idx="17"/>
          </p:nvPr>
        </p:nvSpPr>
        <p:spPr bwMode="gray">
          <a:xfrm>
            <a:off x="4656640" y="3392996"/>
            <a:ext cx="7200000" cy="792000"/>
          </a:xfrm>
        </p:spPr>
        <p:txBody>
          <a:bodyPr tIns="36000"/>
          <a:lstStyle>
            <a:lvl1pPr>
              <a:spcAft>
                <a:spcPts val="0"/>
              </a:spcAft>
              <a:defRPr/>
            </a:lvl1pPr>
            <a:lvl2pPr marL="0">
              <a:spcAft>
                <a:spcPts val="0"/>
              </a:spcAft>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spcAft>
                <a:spcPts val="0"/>
              </a:spcAft>
              <a:buFont typeface="Arial" panose="020B0604020202020204" pitchFamily="34" charset="0"/>
              <a:buNone/>
              <a:defRPr/>
            </a:lvl5pPr>
            <a:lvl6pPr marL="0" indent="0">
              <a:spcAft>
                <a:spcPts val="0"/>
              </a:spcAft>
              <a:buFont typeface="Arial" panose="020B0604020202020204" pitchFamily="34" charset="0"/>
              <a:buNone/>
              <a:defRPr/>
            </a:lvl6pPr>
            <a:lvl7pPr marL="0" indent="0">
              <a:spcAft>
                <a:spcPts val="0"/>
              </a:spcAft>
              <a:buFont typeface="Arial" panose="020B0604020202020204" pitchFamily="34" charset="0"/>
              <a:buNone/>
              <a:defRPr/>
            </a:lvl7pPr>
            <a:lvl8pPr marL="0" indent="0">
              <a:spcAft>
                <a:spcPts val="0"/>
              </a:spcAft>
              <a:buFont typeface="Arial" panose="020B0604020202020204" pitchFamily="34" charset="0"/>
              <a:buNone/>
              <a:defRPr/>
            </a:lvl8pPr>
            <a:lvl9pPr marL="0" indent="0">
              <a:spcAft>
                <a:spcPts val="0"/>
              </a:spcAft>
              <a:buFont typeface="Arial" panose="020B0604020202020204" pitchFamily="34" charset="0"/>
              <a:buNone/>
              <a:defRPr/>
            </a:lvl9pPr>
          </a:lstStyle>
          <a:p>
            <a:pPr lvl="0"/>
            <a:r>
              <a:rPr lang="de-DE"/>
              <a:t>Mastertextformat bearbeiten</a:t>
            </a:r>
          </a:p>
          <a:p>
            <a:pPr lvl="1"/>
            <a:r>
              <a:rPr lang="de-DE"/>
              <a:t>Zweite Ebene</a:t>
            </a:r>
          </a:p>
          <a:p>
            <a:pPr lvl="2"/>
            <a:r>
              <a:rPr lang="de-DE"/>
              <a:t>Dritte Ebene</a:t>
            </a:r>
          </a:p>
        </p:txBody>
      </p:sp>
      <p:sp>
        <p:nvSpPr>
          <p:cNvPr id="43" name="Textplatzhalter 3">
            <a:extLst>
              <a:ext uri="{FF2B5EF4-FFF2-40B4-BE49-F238E27FC236}">
                <a16:creationId xmlns:a16="http://schemas.microsoft.com/office/drawing/2014/main" id="{1A94152D-41C8-474A-BD0A-61F5F4ECEE9A}"/>
              </a:ext>
            </a:extLst>
          </p:cNvPr>
          <p:cNvSpPr>
            <a:spLocks noGrp="1"/>
          </p:cNvSpPr>
          <p:nvPr>
            <p:ph type="body" sz="quarter" idx="18" hasCustomPrompt="1"/>
          </p:nvPr>
        </p:nvSpPr>
        <p:spPr bwMode="gray">
          <a:xfrm>
            <a:off x="4295792" y="3392996"/>
            <a:ext cx="287337" cy="25200"/>
          </a:xfrm>
          <a:solidFill>
            <a:schemeClr val="tx1"/>
          </a:solidFill>
        </p:spPr>
        <p:txBody>
          <a:bodyPr tIns="36000"/>
          <a:lstStyle>
            <a:lvl1pPr marL="0" indent="0" algn="l">
              <a:spcAft>
                <a:spcPts val="0"/>
              </a:spcAft>
              <a:buFont typeface="Arial" panose="020B0604020202020204" pitchFamily="34" charset="0"/>
              <a:buNone/>
              <a:defRPr b="1">
                <a:solidFill>
                  <a:schemeClr val="tx1"/>
                </a:solidFill>
              </a:defRPr>
            </a:lvl1pPr>
            <a:lvl2pPr marL="0" indent="0" algn="l">
              <a:spcAft>
                <a:spcPts val="0"/>
              </a:spcAft>
              <a:buFont typeface="Arial" panose="020B0604020202020204" pitchFamily="34" charset="0"/>
              <a:buNone/>
              <a:defRPr b="1">
                <a:solidFill>
                  <a:schemeClr val="tx1"/>
                </a:solidFill>
              </a:defRPr>
            </a:lvl2pPr>
            <a:lvl3pPr marL="0" indent="0" algn="l">
              <a:spcAft>
                <a:spcPts val="0"/>
              </a:spcAft>
              <a:buNone/>
              <a:defRPr b="1">
                <a:solidFill>
                  <a:schemeClr val="tx1"/>
                </a:solidFill>
              </a:defRPr>
            </a:lvl3pPr>
            <a:lvl4pPr marL="0" indent="0" algn="l">
              <a:spcAft>
                <a:spcPts val="0"/>
              </a:spcAft>
              <a:buNone/>
              <a:defRPr b="1">
                <a:solidFill>
                  <a:schemeClr val="tx1"/>
                </a:solidFill>
              </a:defRPr>
            </a:lvl4pPr>
            <a:lvl5pPr marL="0" indent="0" algn="l">
              <a:spcAft>
                <a:spcPts val="0"/>
              </a:spcAft>
              <a:buNone/>
              <a:defRPr b="1">
                <a:solidFill>
                  <a:schemeClr val="tx1"/>
                </a:solidFill>
              </a:defRPr>
            </a:lvl5pPr>
            <a:lvl6pPr marL="0" indent="0" algn="l">
              <a:spcAft>
                <a:spcPts val="0"/>
              </a:spcAft>
              <a:buNone/>
              <a:defRPr b="1">
                <a:solidFill>
                  <a:schemeClr val="tx1"/>
                </a:solidFill>
              </a:defRPr>
            </a:lvl6pPr>
            <a:lvl7pPr marL="0" indent="0" algn="l">
              <a:spcAft>
                <a:spcPts val="0"/>
              </a:spcAft>
              <a:buNone/>
              <a:defRPr b="1">
                <a:solidFill>
                  <a:schemeClr val="tx1"/>
                </a:solidFill>
              </a:defRPr>
            </a:lvl7pPr>
            <a:lvl8pPr marL="0" indent="0" algn="l">
              <a:spcAft>
                <a:spcPts val="0"/>
              </a:spcAft>
              <a:buNone/>
              <a:defRPr b="1">
                <a:solidFill>
                  <a:schemeClr val="tx1"/>
                </a:solidFill>
              </a:defRPr>
            </a:lvl8pPr>
            <a:lvl9pPr marL="0" indent="0" algn="l">
              <a:spcAft>
                <a:spcPts val="0"/>
              </a:spcAft>
              <a:buNone/>
              <a:defRPr b="1">
                <a:solidFill>
                  <a:schemeClr val="tx1"/>
                </a:solidFill>
              </a:defRPr>
            </a:lvl9pPr>
          </a:lstStyle>
          <a:p>
            <a:pPr lvl="0"/>
            <a:r>
              <a:rPr lang="de-DE"/>
              <a:t>00</a:t>
            </a:r>
          </a:p>
        </p:txBody>
      </p:sp>
      <p:sp>
        <p:nvSpPr>
          <p:cNvPr id="44" name="Textplatzhalter 38">
            <a:extLst>
              <a:ext uri="{FF2B5EF4-FFF2-40B4-BE49-F238E27FC236}">
                <a16:creationId xmlns:a16="http://schemas.microsoft.com/office/drawing/2014/main" id="{E3820BD8-BA98-4321-A614-9AB9D158B1E8}"/>
              </a:ext>
            </a:extLst>
          </p:cNvPr>
          <p:cNvSpPr>
            <a:spLocks noGrp="1"/>
          </p:cNvSpPr>
          <p:nvPr>
            <p:ph type="body" sz="quarter" idx="19"/>
          </p:nvPr>
        </p:nvSpPr>
        <p:spPr bwMode="gray">
          <a:xfrm>
            <a:off x="4656640" y="4419110"/>
            <a:ext cx="7200000" cy="792000"/>
          </a:xfrm>
        </p:spPr>
        <p:txBody>
          <a:bodyPr tIns="36000"/>
          <a:lstStyle>
            <a:lvl1pPr>
              <a:spcAft>
                <a:spcPts val="0"/>
              </a:spcAft>
              <a:defRPr/>
            </a:lvl1pPr>
            <a:lvl2pPr marL="0">
              <a:spcAft>
                <a:spcPts val="0"/>
              </a:spcAft>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spcAft>
                <a:spcPts val="0"/>
              </a:spcAft>
              <a:buFont typeface="Arial" panose="020B0604020202020204" pitchFamily="34" charset="0"/>
              <a:buNone/>
              <a:defRPr/>
            </a:lvl5pPr>
            <a:lvl6pPr marL="0" indent="0">
              <a:spcAft>
                <a:spcPts val="0"/>
              </a:spcAft>
              <a:buFont typeface="Arial" panose="020B0604020202020204" pitchFamily="34" charset="0"/>
              <a:buNone/>
              <a:defRPr/>
            </a:lvl6pPr>
            <a:lvl7pPr marL="0" indent="0">
              <a:spcAft>
                <a:spcPts val="0"/>
              </a:spcAft>
              <a:buFont typeface="Arial" panose="020B0604020202020204" pitchFamily="34" charset="0"/>
              <a:buNone/>
              <a:defRPr/>
            </a:lvl7pPr>
            <a:lvl8pPr marL="0" indent="0">
              <a:spcAft>
                <a:spcPts val="0"/>
              </a:spcAft>
              <a:buFont typeface="Arial" panose="020B0604020202020204" pitchFamily="34" charset="0"/>
              <a:buNone/>
              <a:defRPr/>
            </a:lvl8pPr>
            <a:lvl9pPr marL="0" indent="0">
              <a:spcAft>
                <a:spcPts val="0"/>
              </a:spcAft>
              <a:buFont typeface="Arial" panose="020B0604020202020204" pitchFamily="34" charset="0"/>
              <a:buNone/>
              <a:defRPr/>
            </a:lvl9pPr>
          </a:lstStyle>
          <a:p>
            <a:pPr lvl="0"/>
            <a:r>
              <a:rPr lang="de-DE"/>
              <a:t>Mastertextformat bearbeiten</a:t>
            </a:r>
          </a:p>
          <a:p>
            <a:pPr lvl="1"/>
            <a:r>
              <a:rPr lang="de-DE"/>
              <a:t>Zweite Ebene</a:t>
            </a:r>
          </a:p>
          <a:p>
            <a:pPr lvl="2"/>
            <a:r>
              <a:rPr lang="de-DE"/>
              <a:t>Dritte Ebene</a:t>
            </a:r>
          </a:p>
        </p:txBody>
      </p:sp>
      <p:sp>
        <p:nvSpPr>
          <p:cNvPr id="45" name="Textplatzhalter 3">
            <a:extLst>
              <a:ext uri="{FF2B5EF4-FFF2-40B4-BE49-F238E27FC236}">
                <a16:creationId xmlns:a16="http://schemas.microsoft.com/office/drawing/2014/main" id="{EAA37BED-78BC-417C-BB50-B767DDCF9B31}"/>
              </a:ext>
            </a:extLst>
          </p:cNvPr>
          <p:cNvSpPr>
            <a:spLocks noGrp="1"/>
          </p:cNvSpPr>
          <p:nvPr>
            <p:ph type="body" sz="quarter" idx="20" hasCustomPrompt="1"/>
          </p:nvPr>
        </p:nvSpPr>
        <p:spPr bwMode="gray">
          <a:xfrm>
            <a:off x="4295792" y="4419110"/>
            <a:ext cx="287337" cy="25200"/>
          </a:xfrm>
          <a:solidFill>
            <a:schemeClr val="tx1"/>
          </a:solidFill>
        </p:spPr>
        <p:txBody>
          <a:bodyPr tIns="36000"/>
          <a:lstStyle>
            <a:lvl1pPr marL="0" indent="0" algn="l">
              <a:spcAft>
                <a:spcPts val="0"/>
              </a:spcAft>
              <a:buFont typeface="Arial" panose="020B0604020202020204" pitchFamily="34" charset="0"/>
              <a:buNone/>
              <a:defRPr b="1">
                <a:solidFill>
                  <a:schemeClr val="tx1"/>
                </a:solidFill>
              </a:defRPr>
            </a:lvl1pPr>
            <a:lvl2pPr marL="0" indent="0" algn="l">
              <a:spcAft>
                <a:spcPts val="0"/>
              </a:spcAft>
              <a:buFont typeface="Arial" panose="020B0604020202020204" pitchFamily="34" charset="0"/>
              <a:buNone/>
              <a:defRPr b="1">
                <a:solidFill>
                  <a:schemeClr val="tx1"/>
                </a:solidFill>
              </a:defRPr>
            </a:lvl2pPr>
            <a:lvl3pPr marL="0" indent="0" algn="l">
              <a:spcAft>
                <a:spcPts val="0"/>
              </a:spcAft>
              <a:buNone/>
              <a:defRPr b="1">
                <a:solidFill>
                  <a:schemeClr val="tx1"/>
                </a:solidFill>
              </a:defRPr>
            </a:lvl3pPr>
            <a:lvl4pPr marL="0" indent="0" algn="l">
              <a:spcAft>
                <a:spcPts val="0"/>
              </a:spcAft>
              <a:buNone/>
              <a:defRPr b="1">
                <a:solidFill>
                  <a:schemeClr val="tx1"/>
                </a:solidFill>
              </a:defRPr>
            </a:lvl4pPr>
            <a:lvl5pPr marL="0" indent="0" algn="l">
              <a:spcAft>
                <a:spcPts val="0"/>
              </a:spcAft>
              <a:buNone/>
              <a:defRPr b="1">
                <a:solidFill>
                  <a:schemeClr val="tx1"/>
                </a:solidFill>
              </a:defRPr>
            </a:lvl5pPr>
            <a:lvl6pPr marL="0" indent="0" algn="l">
              <a:spcAft>
                <a:spcPts val="0"/>
              </a:spcAft>
              <a:buNone/>
              <a:defRPr b="1">
                <a:solidFill>
                  <a:schemeClr val="tx1"/>
                </a:solidFill>
              </a:defRPr>
            </a:lvl6pPr>
            <a:lvl7pPr marL="0" indent="0" algn="l">
              <a:spcAft>
                <a:spcPts val="0"/>
              </a:spcAft>
              <a:buNone/>
              <a:defRPr b="1">
                <a:solidFill>
                  <a:schemeClr val="tx1"/>
                </a:solidFill>
              </a:defRPr>
            </a:lvl7pPr>
            <a:lvl8pPr marL="0" indent="0" algn="l">
              <a:spcAft>
                <a:spcPts val="0"/>
              </a:spcAft>
              <a:buNone/>
              <a:defRPr b="1">
                <a:solidFill>
                  <a:schemeClr val="tx1"/>
                </a:solidFill>
              </a:defRPr>
            </a:lvl8pPr>
            <a:lvl9pPr marL="0" indent="0" algn="l">
              <a:spcAft>
                <a:spcPts val="0"/>
              </a:spcAft>
              <a:buNone/>
              <a:defRPr b="1">
                <a:solidFill>
                  <a:schemeClr val="tx1"/>
                </a:solidFill>
              </a:defRPr>
            </a:lvl9pPr>
          </a:lstStyle>
          <a:p>
            <a:pPr lvl="0"/>
            <a:r>
              <a:rPr lang="de-DE"/>
              <a:t>00</a:t>
            </a:r>
          </a:p>
        </p:txBody>
      </p:sp>
      <p:sp>
        <p:nvSpPr>
          <p:cNvPr id="46" name="Textplatzhalter 38">
            <a:extLst>
              <a:ext uri="{FF2B5EF4-FFF2-40B4-BE49-F238E27FC236}">
                <a16:creationId xmlns:a16="http://schemas.microsoft.com/office/drawing/2014/main" id="{A6DDFE8E-6D22-4B13-88CB-AC9F72F5B4BB}"/>
              </a:ext>
            </a:extLst>
          </p:cNvPr>
          <p:cNvSpPr>
            <a:spLocks noGrp="1"/>
          </p:cNvSpPr>
          <p:nvPr>
            <p:ph type="body" sz="quarter" idx="21"/>
          </p:nvPr>
        </p:nvSpPr>
        <p:spPr bwMode="gray">
          <a:xfrm>
            <a:off x="4656640" y="5445224"/>
            <a:ext cx="7200000" cy="792000"/>
          </a:xfrm>
        </p:spPr>
        <p:txBody>
          <a:bodyPr tIns="36000"/>
          <a:lstStyle>
            <a:lvl1pPr>
              <a:spcAft>
                <a:spcPts val="0"/>
              </a:spcAft>
              <a:defRPr/>
            </a:lvl1pPr>
            <a:lvl2pPr marL="0">
              <a:spcAft>
                <a:spcPts val="0"/>
              </a:spcAft>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spcAft>
                <a:spcPts val="0"/>
              </a:spcAft>
              <a:buFont typeface="Arial" panose="020B0604020202020204" pitchFamily="34" charset="0"/>
              <a:buNone/>
              <a:defRPr/>
            </a:lvl5pPr>
            <a:lvl6pPr marL="0" indent="0">
              <a:spcAft>
                <a:spcPts val="0"/>
              </a:spcAft>
              <a:buFont typeface="Arial" panose="020B0604020202020204" pitchFamily="34" charset="0"/>
              <a:buNone/>
              <a:defRPr/>
            </a:lvl6pPr>
            <a:lvl7pPr marL="0" indent="0">
              <a:spcAft>
                <a:spcPts val="0"/>
              </a:spcAft>
              <a:buFont typeface="Arial" panose="020B0604020202020204" pitchFamily="34" charset="0"/>
              <a:buNone/>
              <a:defRPr/>
            </a:lvl7pPr>
            <a:lvl8pPr marL="0" indent="0">
              <a:spcAft>
                <a:spcPts val="0"/>
              </a:spcAft>
              <a:buFont typeface="Arial" panose="020B0604020202020204" pitchFamily="34" charset="0"/>
              <a:buNone/>
              <a:defRPr/>
            </a:lvl8pPr>
            <a:lvl9pPr marL="0" indent="0">
              <a:spcAft>
                <a:spcPts val="0"/>
              </a:spcAft>
              <a:buFont typeface="Arial" panose="020B0604020202020204" pitchFamily="34" charset="0"/>
              <a:buNone/>
              <a:defRPr/>
            </a:lvl9pPr>
          </a:lstStyle>
          <a:p>
            <a:pPr lvl="0"/>
            <a:r>
              <a:rPr lang="de-DE"/>
              <a:t>Mastertextformat bearbeiten</a:t>
            </a:r>
          </a:p>
          <a:p>
            <a:pPr lvl="1"/>
            <a:r>
              <a:rPr lang="de-DE"/>
              <a:t>Zweite Ebene</a:t>
            </a:r>
          </a:p>
          <a:p>
            <a:pPr lvl="2"/>
            <a:r>
              <a:rPr lang="de-DE"/>
              <a:t>Dritte Ebene</a:t>
            </a:r>
          </a:p>
        </p:txBody>
      </p:sp>
      <p:sp>
        <p:nvSpPr>
          <p:cNvPr id="47" name="Textplatzhalter 3">
            <a:extLst>
              <a:ext uri="{FF2B5EF4-FFF2-40B4-BE49-F238E27FC236}">
                <a16:creationId xmlns:a16="http://schemas.microsoft.com/office/drawing/2014/main" id="{01D1289B-6CCC-4E90-959C-4966F168D2F0}"/>
              </a:ext>
            </a:extLst>
          </p:cNvPr>
          <p:cNvSpPr>
            <a:spLocks noGrp="1"/>
          </p:cNvSpPr>
          <p:nvPr>
            <p:ph type="body" sz="quarter" idx="22" hasCustomPrompt="1"/>
          </p:nvPr>
        </p:nvSpPr>
        <p:spPr bwMode="gray">
          <a:xfrm>
            <a:off x="4295792" y="5445224"/>
            <a:ext cx="287337" cy="25200"/>
          </a:xfrm>
          <a:solidFill>
            <a:schemeClr val="tx1"/>
          </a:solidFill>
        </p:spPr>
        <p:txBody>
          <a:bodyPr tIns="36000"/>
          <a:lstStyle>
            <a:lvl1pPr marL="0" indent="0" algn="l">
              <a:spcAft>
                <a:spcPts val="0"/>
              </a:spcAft>
              <a:buFont typeface="Arial" panose="020B0604020202020204" pitchFamily="34" charset="0"/>
              <a:buNone/>
              <a:defRPr b="1">
                <a:solidFill>
                  <a:schemeClr val="tx1"/>
                </a:solidFill>
              </a:defRPr>
            </a:lvl1pPr>
            <a:lvl2pPr marL="0" indent="0" algn="l">
              <a:spcAft>
                <a:spcPts val="0"/>
              </a:spcAft>
              <a:buFont typeface="Arial" panose="020B0604020202020204" pitchFamily="34" charset="0"/>
              <a:buNone/>
              <a:defRPr b="1">
                <a:solidFill>
                  <a:schemeClr val="tx1"/>
                </a:solidFill>
              </a:defRPr>
            </a:lvl2pPr>
            <a:lvl3pPr marL="0" indent="0" algn="l">
              <a:spcAft>
                <a:spcPts val="0"/>
              </a:spcAft>
              <a:buNone/>
              <a:defRPr b="1">
                <a:solidFill>
                  <a:schemeClr val="tx1"/>
                </a:solidFill>
              </a:defRPr>
            </a:lvl3pPr>
            <a:lvl4pPr marL="0" indent="0" algn="l">
              <a:spcAft>
                <a:spcPts val="0"/>
              </a:spcAft>
              <a:buNone/>
              <a:defRPr b="1">
                <a:solidFill>
                  <a:schemeClr val="tx1"/>
                </a:solidFill>
              </a:defRPr>
            </a:lvl4pPr>
            <a:lvl5pPr marL="0" indent="0" algn="l">
              <a:spcAft>
                <a:spcPts val="0"/>
              </a:spcAft>
              <a:buNone/>
              <a:defRPr b="1">
                <a:solidFill>
                  <a:schemeClr val="tx1"/>
                </a:solidFill>
              </a:defRPr>
            </a:lvl5pPr>
            <a:lvl6pPr marL="0" indent="0" algn="l">
              <a:spcAft>
                <a:spcPts val="0"/>
              </a:spcAft>
              <a:buNone/>
              <a:defRPr b="1">
                <a:solidFill>
                  <a:schemeClr val="tx1"/>
                </a:solidFill>
              </a:defRPr>
            </a:lvl6pPr>
            <a:lvl7pPr marL="0" indent="0" algn="l">
              <a:spcAft>
                <a:spcPts val="0"/>
              </a:spcAft>
              <a:buNone/>
              <a:defRPr b="1">
                <a:solidFill>
                  <a:schemeClr val="tx1"/>
                </a:solidFill>
              </a:defRPr>
            </a:lvl7pPr>
            <a:lvl8pPr marL="0" indent="0" algn="l">
              <a:spcAft>
                <a:spcPts val="0"/>
              </a:spcAft>
              <a:buNone/>
              <a:defRPr b="1">
                <a:solidFill>
                  <a:schemeClr val="tx1"/>
                </a:solidFill>
              </a:defRPr>
            </a:lvl8pPr>
            <a:lvl9pPr marL="0" indent="0" algn="l">
              <a:spcAft>
                <a:spcPts val="0"/>
              </a:spcAft>
              <a:buNone/>
              <a:defRPr b="1">
                <a:solidFill>
                  <a:schemeClr val="tx1"/>
                </a:solidFill>
              </a:defRPr>
            </a:lvl9pPr>
          </a:lstStyle>
          <a:p>
            <a:pPr lvl="0"/>
            <a:r>
              <a:rPr lang="de-DE"/>
              <a:t>00</a:t>
            </a:r>
          </a:p>
        </p:txBody>
      </p:sp>
    </p:spTree>
    <p:extLst>
      <p:ext uri="{BB962C8B-B14F-4D97-AF65-F5344CB8AC3E}">
        <p14:creationId xmlns:p14="http://schemas.microsoft.com/office/powerpoint/2010/main" val="187375501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Agenda Geschichte">
    <p:spTree>
      <p:nvGrpSpPr>
        <p:cNvPr id="1" name=""/>
        <p:cNvGrpSpPr/>
        <p:nvPr/>
      </p:nvGrpSpPr>
      <p:grpSpPr>
        <a:xfrm>
          <a:off x="0" y="0"/>
          <a:ext cx="0" cy="0"/>
          <a:chOff x="0" y="0"/>
          <a:chExt cx="0" cy="0"/>
        </a:xfrm>
      </p:grpSpPr>
      <p:sp>
        <p:nvSpPr>
          <p:cNvPr id="49" name="Grafik 2">
            <a:extLst>
              <a:ext uri="{FF2B5EF4-FFF2-40B4-BE49-F238E27FC236}">
                <a16:creationId xmlns:a16="http://schemas.microsoft.com/office/drawing/2014/main" id="{6157B3FE-4A50-4FE4-A5CA-B58A6F40C2B1}"/>
              </a:ext>
            </a:extLst>
          </p:cNvPr>
          <p:cNvSpPr/>
          <p:nvPr userDrawn="1"/>
        </p:nvSpPr>
        <p:spPr bwMode="gray">
          <a:xfrm>
            <a:off x="10974592" y="548680"/>
            <a:ext cx="666024" cy="666800"/>
          </a:xfrm>
          <a:prstGeom prst="ellipse">
            <a:avLst/>
          </a:prstGeom>
          <a:gradFill flip="none" rotWithShape="1">
            <a:gsLst>
              <a:gs pos="0">
                <a:schemeClr val="tx2"/>
              </a:gs>
              <a:gs pos="100000">
                <a:schemeClr val="accent4"/>
              </a:gs>
            </a:gsLst>
            <a:lin ang="5400000" scaled="1"/>
            <a:tileRect/>
          </a:gradFill>
          <a:ln w="9525" cap="flat">
            <a:noFill/>
            <a:prstDash val="solid"/>
            <a:miter/>
          </a:ln>
        </p:spPr>
        <p:txBody>
          <a:bodyPr rtlCol="0" anchor="ctr"/>
          <a:lstStyle/>
          <a:p>
            <a:endParaRPr lang="de-DE"/>
          </a:p>
        </p:txBody>
      </p:sp>
      <p:sp>
        <p:nvSpPr>
          <p:cNvPr id="50" name="Grafik 2">
            <a:extLst>
              <a:ext uri="{FF2B5EF4-FFF2-40B4-BE49-F238E27FC236}">
                <a16:creationId xmlns:a16="http://schemas.microsoft.com/office/drawing/2014/main" id="{6F18B10C-023B-4944-8D13-5CA1C3F3BC20}"/>
              </a:ext>
            </a:extLst>
          </p:cNvPr>
          <p:cNvSpPr/>
          <p:nvPr userDrawn="1"/>
        </p:nvSpPr>
        <p:spPr bwMode="gray">
          <a:xfrm>
            <a:off x="550863" y="4655979"/>
            <a:ext cx="1447286" cy="1581333"/>
          </a:xfrm>
          <a:custGeom>
            <a:avLst/>
            <a:gdLst>
              <a:gd name="connsiteX0" fmla="*/ 1446513 w 1447286"/>
              <a:gd name="connsiteY0" fmla="*/ 797086 h 1581333"/>
              <a:gd name="connsiteX1" fmla="*/ 1446513 w 1447286"/>
              <a:gd name="connsiteY1" fmla="*/ 1043974 h 1581333"/>
              <a:gd name="connsiteX2" fmla="*/ 1302780 w 1447286"/>
              <a:gd name="connsiteY2" fmla="*/ 1291624 h 1581333"/>
              <a:gd name="connsiteX3" fmla="*/ 895015 w 1447286"/>
              <a:gd name="connsiteY3" fmla="*/ 1527368 h 1581333"/>
              <a:gd name="connsiteX4" fmla="*/ 726137 w 1447286"/>
              <a:gd name="connsiteY4" fmla="*/ 1581089 h 1581333"/>
              <a:gd name="connsiteX5" fmla="*/ 588787 w 1447286"/>
              <a:gd name="connsiteY5" fmla="*/ 1545465 h 1581333"/>
              <a:gd name="connsiteX6" fmla="*/ 157494 w 1447286"/>
              <a:gd name="connsiteY6" fmla="*/ 1296577 h 1581333"/>
              <a:gd name="connsiteX7" fmla="*/ 1856 w 1447286"/>
              <a:gd name="connsiteY7" fmla="*/ 1031972 h 1581333"/>
              <a:gd name="connsiteX8" fmla="*/ 1856 w 1447286"/>
              <a:gd name="connsiteY8" fmla="*/ 555722 h 1581333"/>
              <a:gd name="connsiteX9" fmla="*/ 162161 w 1447286"/>
              <a:gd name="connsiteY9" fmla="*/ 284641 h 1581333"/>
              <a:gd name="connsiteX10" fmla="*/ 593549 w 1447286"/>
              <a:gd name="connsiteY10" fmla="*/ 36038 h 1581333"/>
              <a:gd name="connsiteX11" fmla="*/ 842818 w 1447286"/>
              <a:gd name="connsiteY11" fmla="*/ 30228 h 1581333"/>
              <a:gd name="connsiteX12" fmla="*/ 1073228 w 1447286"/>
              <a:gd name="connsiteY12" fmla="*/ 160340 h 1581333"/>
              <a:gd name="connsiteX13" fmla="*/ 1282778 w 1447286"/>
              <a:gd name="connsiteY13" fmla="*/ 281117 h 1581333"/>
              <a:gd name="connsiteX14" fmla="*/ 1446703 w 1447286"/>
              <a:gd name="connsiteY14" fmla="*/ 558770 h 1581333"/>
              <a:gd name="connsiteX15" fmla="*/ 1446513 w 1447286"/>
              <a:gd name="connsiteY15" fmla="*/ 797086 h 158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47286" h="1581333">
                <a:moveTo>
                  <a:pt x="1446513" y="797086"/>
                </a:moveTo>
                <a:cubicBezTo>
                  <a:pt x="1446513" y="879382"/>
                  <a:pt x="1447275" y="961678"/>
                  <a:pt x="1446513" y="1043974"/>
                </a:cubicBezTo>
                <a:cubicBezTo>
                  <a:pt x="1445274" y="1153321"/>
                  <a:pt x="1396411" y="1236474"/>
                  <a:pt x="1302780" y="1291624"/>
                </a:cubicBezTo>
                <a:cubicBezTo>
                  <a:pt x="1167526" y="1371348"/>
                  <a:pt x="1031318" y="1449358"/>
                  <a:pt x="895015" y="1527368"/>
                </a:cubicBezTo>
                <a:cubicBezTo>
                  <a:pt x="842818" y="1557276"/>
                  <a:pt x="789192" y="1581851"/>
                  <a:pt x="726137" y="1581089"/>
                </a:cubicBezTo>
                <a:cubicBezTo>
                  <a:pt x="678055" y="1581203"/>
                  <a:pt x="630754" y="1568935"/>
                  <a:pt x="588787" y="1545465"/>
                </a:cubicBezTo>
                <a:cubicBezTo>
                  <a:pt x="444673" y="1463074"/>
                  <a:pt x="302370" y="1377540"/>
                  <a:pt x="157494" y="1296577"/>
                </a:cubicBezTo>
                <a:cubicBezTo>
                  <a:pt x="52719" y="1237903"/>
                  <a:pt x="4142" y="1147320"/>
                  <a:pt x="1856" y="1031972"/>
                </a:cubicBezTo>
                <a:cubicBezTo>
                  <a:pt x="-1192" y="873219"/>
                  <a:pt x="-1192" y="714476"/>
                  <a:pt x="1856" y="555722"/>
                </a:cubicBezTo>
                <a:cubicBezTo>
                  <a:pt x="4142" y="437041"/>
                  <a:pt x="52910" y="344553"/>
                  <a:pt x="162161" y="284641"/>
                </a:cubicBezTo>
                <a:cubicBezTo>
                  <a:pt x="307608" y="204822"/>
                  <a:pt x="449150" y="117954"/>
                  <a:pt x="593549" y="36038"/>
                </a:cubicBezTo>
                <a:cubicBezTo>
                  <a:pt x="674607" y="-10062"/>
                  <a:pt x="760046" y="-12444"/>
                  <a:pt x="842818" y="30228"/>
                </a:cubicBezTo>
                <a:cubicBezTo>
                  <a:pt x="921114" y="70709"/>
                  <a:pt x="996647" y="116525"/>
                  <a:pt x="1073228" y="160340"/>
                </a:cubicBezTo>
                <a:cubicBezTo>
                  <a:pt x="1143332" y="200344"/>
                  <a:pt x="1213246" y="240826"/>
                  <a:pt x="1282778" y="281117"/>
                </a:cubicBezTo>
                <a:cubicBezTo>
                  <a:pt x="1389649" y="342839"/>
                  <a:pt x="1450323" y="431040"/>
                  <a:pt x="1446703" y="558770"/>
                </a:cubicBezTo>
                <a:cubicBezTo>
                  <a:pt x="1444703" y="638114"/>
                  <a:pt x="1446513" y="717743"/>
                  <a:pt x="1446513" y="797086"/>
                </a:cubicBezTo>
                <a:close/>
              </a:path>
            </a:pathLst>
          </a:custGeom>
          <a:gradFill flip="none" rotWithShape="1">
            <a:gsLst>
              <a:gs pos="0">
                <a:srgbClr val="008795"/>
              </a:gs>
              <a:gs pos="100000">
                <a:srgbClr val="00C7D6"/>
              </a:gs>
            </a:gsLst>
            <a:lin ang="18900000" scaled="1"/>
            <a:tileRect/>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p>
        </p:txBody>
      </p:sp>
      <p:grpSp>
        <p:nvGrpSpPr>
          <p:cNvPr id="51" name="Gruppieren 50">
            <a:extLst>
              <a:ext uri="{FF2B5EF4-FFF2-40B4-BE49-F238E27FC236}">
                <a16:creationId xmlns:a16="http://schemas.microsoft.com/office/drawing/2014/main" id="{2138EDDC-D66E-462F-8490-DF837F8B19F6}"/>
              </a:ext>
            </a:extLst>
          </p:cNvPr>
          <p:cNvGrpSpPr/>
          <p:nvPr userDrawn="1"/>
        </p:nvGrpSpPr>
        <p:grpSpPr bwMode="gray">
          <a:xfrm>
            <a:off x="11309760" y="188640"/>
            <a:ext cx="1158591" cy="951756"/>
            <a:chOff x="9542706" y="466232"/>
            <a:chExt cx="1158591" cy="951756"/>
          </a:xfrm>
        </p:grpSpPr>
        <p:sp>
          <p:nvSpPr>
            <p:cNvPr id="52" name="Grafik 2">
              <a:extLst>
                <a:ext uri="{FF2B5EF4-FFF2-40B4-BE49-F238E27FC236}">
                  <a16:creationId xmlns:a16="http://schemas.microsoft.com/office/drawing/2014/main" id="{1DE7EEC5-FDE4-4174-8E13-F7ADECF019BD}"/>
                </a:ext>
              </a:extLst>
            </p:cNvPr>
            <p:cNvSpPr/>
            <p:nvPr/>
          </p:nvSpPr>
          <p:spPr bwMode="gray">
            <a:xfrm>
              <a:off x="10575216" y="672982"/>
              <a:ext cx="125652" cy="125498"/>
            </a:xfrm>
            <a:custGeom>
              <a:avLst/>
              <a:gdLst>
                <a:gd name="connsiteX0" fmla="*/ 125119 w 125652"/>
                <a:gd name="connsiteY0" fmla="*/ 60406 h 125498"/>
                <a:gd name="connsiteX1" fmla="*/ 66254 w 125652"/>
                <a:gd name="connsiteY1" fmla="*/ 125271 h 125498"/>
                <a:gd name="connsiteX2" fmla="*/ -421 w 125652"/>
                <a:gd name="connsiteY2" fmla="*/ 60406 h 125498"/>
                <a:gd name="connsiteX3" fmla="*/ 62825 w 125652"/>
                <a:gd name="connsiteY3" fmla="*/ 17 h 125498"/>
                <a:gd name="connsiteX4" fmla="*/ 125024 w 125652"/>
                <a:gd name="connsiteY4" fmla="*/ 51681 h 125498"/>
                <a:gd name="connsiteX5" fmla="*/ 125119 w 125652"/>
                <a:gd name="connsiteY5" fmla="*/ 60406 h 12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52" h="125498">
                  <a:moveTo>
                    <a:pt x="125119" y="60406"/>
                  </a:moveTo>
                  <a:cubicBezTo>
                    <a:pt x="125119" y="97744"/>
                    <a:pt x="100449" y="124985"/>
                    <a:pt x="66254" y="125271"/>
                  </a:cubicBezTo>
                  <a:cubicBezTo>
                    <a:pt x="30345" y="124652"/>
                    <a:pt x="1199" y="96249"/>
                    <a:pt x="-421" y="60406"/>
                  </a:cubicBezTo>
                  <a:cubicBezTo>
                    <a:pt x="-992" y="25925"/>
                    <a:pt x="25391" y="779"/>
                    <a:pt x="62825" y="17"/>
                  </a:cubicBezTo>
                  <a:cubicBezTo>
                    <a:pt x="94258" y="-2878"/>
                    <a:pt x="122070" y="20248"/>
                    <a:pt x="125024" y="51681"/>
                  </a:cubicBezTo>
                  <a:cubicBezTo>
                    <a:pt x="125214" y="54577"/>
                    <a:pt x="125309" y="57501"/>
                    <a:pt x="125119" y="60406"/>
                  </a:cubicBezTo>
                  <a:close/>
                </a:path>
              </a:pathLst>
            </a:custGeom>
            <a:solidFill>
              <a:srgbClr val="000000"/>
            </a:solidFill>
            <a:ln w="9525" cap="flat">
              <a:noFill/>
              <a:prstDash val="solid"/>
              <a:miter/>
            </a:ln>
          </p:spPr>
          <p:txBody>
            <a:bodyPr rtlCol="0" anchor="ctr"/>
            <a:lstStyle/>
            <a:p>
              <a:endParaRPr lang="de-DE"/>
            </a:p>
          </p:txBody>
        </p:sp>
        <p:sp>
          <p:nvSpPr>
            <p:cNvPr id="53" name="Grafik 2">
              <a:extLst>
                <a:ext uri="{FF2B5EF4-FFF2-40B4-BE49-F238E27FC236}">
                  <a16:creationId xmlns:a16="http://schemas.microsoft.com/office/drawing/2014/main" id="{A5DC9467-B940-4DB0-9774-C7E65546861B}"/>
                </a:ext>
              </a:extLst>
            </p:cNvPr>
            <p:cNvSpPr/>
            <p:nvPr/>
          </p:nvSpPr>
          <p:spPr bwMode="gray">
            <a:xfrm>
              <a:off x="9542906" y="879329"/>
              <a:ext cx="125577" cy="125659"/>
            </a:xfrm>
            <a:custGeom>
              <a:avLst/>
              <a:gdLst>
                <a:gd name="connsiteX0" fmla="*/ 124919 w 125577"/>
                <a:gd name="connsiteY0" fmla="*/ 62084 h 125659"/>
                <a:gd name="connsiteX1" fmla="*/ 64531 w 125577"/>
                <a:gd name="connsiteY1" fmla="*/ 125426 h 125659"/>
                <a:gd name="connsiteX2" fmla="*/ -430 w 125577"/>
                <a:gd name="connsiteY2" fmla="*/ 58751 h 125659"/>
                <a:gd name="connsiteX3" fmla="*/ 64436 w 125577"/>
                <a:gd name="connsiteY3" fmla="*/ -114 h 125659"/>
                <a:gd name="connsiteX4" fmla="*/ 125015 w 125577"/>
                <a:gd name="connsiteY4" fmla="*/ 53359 h 125659"/>
                <a:gd name="connsiteX5" fmla="*/ 124919 w 125577"/>
                <a:gd name="connsiteY5" fmla="*/ 62084 h 12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77" h="125659">
                  <a:moveTo>
                    <a:pt x="124919" y="62084"/>
                  </a:moveTo>
                  <a:cubicBezTo>
                    <a:pt x="124157" y="99518"/>
                    <a:pt x="99012" y="125902"/>
                    <a:pt x="64531" y="125426"/>
                  </a:cubicBezTo>
                  <a:cubicBezTo>
                    <a:pt x="28717" y="123778"/>
                    <a:pt x="332" y="94612"/>
                    <a:pt x="-430" y="58751"/>
                  </a:cubicBezTo>
                  <a:cubicBezTo>
                    <a:pt x="-430" y="24556"/>
                    <a:pt x="27002" y="-114"/>
                    <a:pt x="64436" y="-114"/>
                  </a:cubicBezTo>
                  <a:cubicBezTo>
                    <a:pt x="95963" y="-2086"/>
                    <a:pt x="123109" y="21860"/>
                    <a:pt x="125015" y="53359"/>
                  </a:cubicBezTo>
                  <a:cubicBezTo>
                    <a:pt x="125205" y="56265"/>
                    <a:pt x="125205" y="59179"/>
                    <a:pt x="124919" y="62084"/>
                  </a:cubicBezTo>
                  <a:close/>
                </a:path>
              </a:pathLst>
            </a:custGeom>
            <a:solidFill>
              <a:srgbClr val="000000"/>
            </a:solidFill>
            <a:ln w="9525" cap="flat">
              <a:noFill/>
              <a:prstDash val="solid"/>
              <a:miter/>
            </a:ln>
          </p:spPr>
          <p:txBody>
            <a:bodyPr rtlCol="0" anchor="ctr"/>
            <a:lstStyle/>
            <a:p>
              <a:endParaRPr lang="de-DE"/>
            </a:p>
          </p:txBody>
        </p:sp>
        <p:sp>
          <p:nvSpPr>
            <p:cNvPr id="54" name="Grafik 2">
              <a:extLst>
                <a:ext uri="{FF2B5EF4-FFF2-40B4-BE49-F238E27FC236}">
                  <a16:creationId xmlns:a16="http://schemas.microsoft.com/office/drawing/2014/main" id="{BCDA366C-0251-49CD-AA33-DE186C829CBE}"/>
                </a:ext>
              </a:extLst>
            </p:cNvPr>
            <p:cNvSpPr/>
            <p:nvPr/>
          </p:nvSpPr>
          <p:spPr bwMode="gray">
            <a:xfrm>
              <a:off x="9749949" y="879440"/>
              <a:ext cx="125246" cy="125541"/>
            </a:xfrm>
            <a:custGeom>
              <a:avLst/>
              <a:gdLst>
                <a:gd name="connsiteX0" fmla="*/ 66276 w 125246"/>
                <a:gd name="connsiteY0" fmla="*/ 125315 h 125541"/>
                <a:gd name="connsiteX1" fmla="*/ -399 w 125246"/>
                <a:gd name="connsiteY1" fmla="*/ 61212 h 125541"/>
                <a:gd name="connsiteX2" fmla="*/ 61990 w 125246"/>
                <a:gd name="connsiteY2" fmla="*/ 61 h 125541"/>
                <a:gd name="connsiteX3" fmla="*/ 124569 w 125246"/>
                <a:gd name="connsiteY3" fmla="*/ 51239 h 125541"/>
                <a:gd name="connsiteX4" fmla="*/ 124759 w 125246"/>
                <a:gd name="connsiteY4" fmla="*/ 59688 h 125541"/>
                <a:gd name="connsiteX5" fmla="*/ 66276 w 125246"/>
                <a:gd name="connsiteY5" fmla="*/ 125315 h 125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246" h="125541">
                  <a:moveTo>
                    <a:pt x="66276" y="125315"/>
                  </a:moveTo>
                  <a:cubicBezTo>
                    <a:pt x="30652" y="124810"/>
                    <a:pt x="1506" y="96787"/>
                    <a:pt x="-399" y="61212"/>
                  </a:cubicBezTo>
                  <a:cubicBezTo>
                    <a:pt x="-1447" y="26636"/>
                    <a:pt x="24461" y="1204"/>
                    <a:pt x="61990" y="61"/>
                  </a:cubicBezTo>
                  <a:cubicBezTo>
                    <a:pt x="93422" y="-3082"/>
                    <a:pt x="121426" y="19835"/>
                    <a:pt x="124569" y="51239"/>
                  </a:cubicBezTo>
                  <a:cubicBezTo>
                    <a:pt x="124855" y="54049"/>
                    <a:pt x="124855" y="56868"/>
                    <a:pt x="124759" y="59688"/>
                  </a:cubicBezTo>
                  <a:cubicBezTo>
                    <a:pt x="124855" y="97025"/>
                    <a:pt x="100470" y="124553"/>
                    <a:pt x="66276" y="125315"/>
                  </a:cubicBezTo>
                  <a:close/>
                </a:path>
              </a:pathLst>
            </a:custGeom>
            <a:solidFill>
              <a:srgbClr val="000000"/>
            </a:solidFill>
            <a:ln w="9525" cap="flat">
              <a:noFill/>
              <a:prstDash val="solid"/>
              <a:miter/>
            </a:ln>
          </p:spPr>
          <p:txBody>
            <a:bodyPr rtlCol="0" anchor="ctr"/>
            <a:lstStyle/>
            <a:p>
              <a:endParaRPr lang="de-DE"/>
            </a:p>
          </p:txBody>
        </p:sp>
        <p:sp>
          <p:nvSpPr>
            <p:cNvPr id="55" name="Grafik 2">
              <a:extLst>
                <a:ext uri="{FF2B5EF4-FFF2-40B4-BE49-F238E27FC236}">
                  <a16:creationId xmlns:a16="http://schemas.microsoft.com/office/drawing/2014/main" id="{26EECD02-C5AE-44D9-BDB9-0FAED6C020C1}"/>
                </a:ext>
              </a:extLst>
            </p:cNvPr>
            <p:cNvSpPr/>
            <p:nvPr/>
          </p:nvSpPr>
          <p:spPr bwMode="gray">
            <a:xfrm>
              <a:off x="9956451" y="879440"/>
              <a:ext cx="125246" cy="125541"/>
            </a:xfrm>
            <a:custGeom>
              <a:avLst/>
              <a:gdLst>
                <a:gd name="connsiteX0" fmla="*/ 66276 w 125246"/>
                <a:gd name="connsiteY0" fmla="*/ 125315 h 125541"/>
                <a:gd name="connsiteX1" fmla="*/ -399 w 125246"/>
                <a:gd name="connsiteY1" fmla="*/ 61212 h 125541"/>
                <a:gd name="connsiteX2" fmla="*/ 61989 w 125246"/>
                <a:gd name="connsiteY2" fmla="*/ 61 h 125541"/>
                <a:gd name="connsiteX3" fmla="*/ 124569 w 125246"/>
                <a:gd name="connsiteY3" fmla="*/ 51239 h 125541"/>
                <a:gd name="connsiteX4" fmla="*/ 124759 w 125246"/>
                <a:gd name="connsiteY4" fmla="*/ 59688 h 125541"/>
                <a:gd name="connsiteX5" fmla="*/ 66276 w 125246"/>
                <a:gd name="connsiteY5" fmla="*/ 125315 h 125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246" h="125541">
                  <a:moveTo>
                    <a:pt x="66276" y="125315"/>
                  </a:moveTo>
                  <a:cubicBezTo>
                    <a:pt x="30652" y="124810"/>
                    <a:pt x="1505" y="96787"/>
                    <a:pt x="-399" y="61212"/>
                  </a:cubicBezTo>
                  <a:cubicBezTo>
                    <a:pt x="-1447" y="26636"/>
                    <a:pt x="24461" y="1204"/>
                    <a:pt x="61989" y="61"/>
                  </a:cubicBezTo>
                  <a:cubicBezTo>
                    <a:pt x="93422" y="-3082"/>
                    <a:pt x="121425" y="19835"/>
                    <a:pt x="124569" y="51239"/>
                  </a:cubicBezTo>
                  <a:cubicBezTo>
                    <a:pt x="124855" y="54049"/>
                    <a:pt x="124855" y="56868"/>
                    <a:pt x="124759" y="59688"/>
                  </a:cubicBezTo>
                  <a:cubicBezTo>
                    <a:pt x="124855" y="97025"/>
                    <a:pt x="100470" y="124553"/>
                    <a:pt x="66276" y="125315"/>
                  </a:cubicBezTo>
                  <a:close/>
                </a:path>
              </a:pathLst>
            </a:custGeom>
            <a:solidFill>
              <a:srgbClr val="000000"/>
            </a:solidFill>
            <a:ln w="9525" cap="flat">
              <a:noFill/>
              <a:prstDash val="solid"/>
              <a:miter/>
            </a:ln>
          </p:spPr>
          <p:txBody>
            <a:bodyPr rtlCol="0" anchor="ctr"/>
            <a:lstStyle/>
            <a:p>
              <a:endParaRPr lang="de-DE"/>
            </a:p>
          </p:txBody>
        </p:sp>
        <p:sp>
          <p:nvSpPr>
            <p:cNvPr id="56" name="Grafik 2">
              <a:extLst>
                <a:ext uri="{FF2B5EF4-FFF2-40B4-BE49-F238E27FC236}">
                  <a16:creationId xmlns:a16="http://schemas.microsoft.com/office/drawing/2014/main" id="{A25FFE05-3D67-4CC0-BBE5-C5524536CEB4}"/>
                </a:ext>
              </a:extLst>
            </p:cNvPr>
            <p:cNvSpPr/>
            <p:nvPr/>
          </p:nvSpPr>
          <p:spPr bwMode="gray">
            <a:xfrm>
              <a:off x="10162508" y="879546"/>
              <a:ext cx="125500" cy="125361"/>
            </a:xfrm>
            <a:custGeom>
              <a:avLst/>
              <a:gdLst>
                <a:gd name="connsiteX0" fmla="*/ 64816 w 125500"/>
                <a:gd name="connsiteY0" fmla="*/ -141 h 125361"/>
                <a:gd name="connsiteX1" fmla="*/ 125014 w 125500"/>
                <a:gd name="connsiteY1" fmla="*/ 53809 h 125361"/>
                <a:gd name="connsiteX2" fmla="*/ 124824 w 125500"/>
                <a:gd name="connsiteY2" fmla="*/ 62343 h 125361"/>
                <a:gd name="connsiteX3" fmla="*/ 63959 w 125500"/>
                <a:gd name="connsiteY3" fmla="*/ 125113 h 125361"/>
                <a:gd name="connsiteX4" fmla="*/ -430 w 125500"/>
                <a:gd name="connsiteY4" fmla="*/ 58438 h 125361"/>
                <a:gd name="connsiteX5" fmla="*/ 64816 w 125500"/>
                <a:gd name="connsiteY5" fmla="*/ -141 h 12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00" h="125361">
                  <a:moveTo>
                    <a:pt x="64816" y="-141"/>
                  </a:moveTo>
                  <a:cubicBezTo>
                    <a:pt x="96343" y="-1865"/>
                    <a:pt x="123300" y="22291"/>
                    <a:pt x="125014" y="53809"/>
                  </a:cubicBezTo>
                  <a:cubicBezTo>
                    <a:pt x="125109" y="56657"/>
                    <a:pt x="125109" y="59505"/>
                    <a:pt x="124824" y="62343"/>
                  </a:cubicBezTo>
                  <a:cubicBezTo>
                    <a:pt x="123775" y="99872"/>
                    <a:pt x="98535" y="125971"/>
                    <a:pt x="63959" y="125113"/>
                  </a:cubicBezTo>
                  <a:cubicBezTo>
                    <a:pt x="28240" y="123313"/>
                    <a:pt x="141" y="94148"/>
                    <a:pt x="-430" y="58438"/>
                  </a:cubicBezTo>
                  <a:cubicBezTo>
                    <a:pt x="141" y="24148"/>
                    <a:pt x="27478" y="-331"/>
                    <a:pt x="64816" y="-141"/>
                  </a:cubicBezTo>
                  <a:close/>
                </a:path>
              </a:pathLst>
            </a:custGeom>
            <a:solidFill>
              <a:srgbClr val="000000"/>
            </a:solidFill>
            <a:ln w="9525" cap="flat">
              <a:noFill/>
              <a:prstDash val="solid"/>
              <a:miter/>
            </a:ln>
          </p:spPr>
          <p:txBody>
            <a:bodyPr rtlCol="0" anchor="ctr"/>
            <a:lstStyle/>
            <a:p>
              <a:endParaRPr lang="de-DE"/>
            </a:p>
          </p:txBody>
        </p:sp>
        <p:sp>
          <p:nvSpPr>
            <p:cNvPr id="57" name="Grafik 2">
              <a:extLst>
                <a:ext uri="{FF2B5EF4-FFF2-40B4-BE49-F238E27FC236}">
                  <a16:creationId xmlns:a16="http://schemas.microsoft.com/office/drawing/2014/main" id="{93F86AEB-B3A2-44C6-A0AA-324FB036A439}"/>
                </a:ext>
              </a:extLst>
            </p:cNvPr>
            <p:cNvSpPr/>
            <p:nvPr/>
          </p:nvSpPr>
          <p:spPr bwMode="gray">
            <a:xfrm>
              <a:off x="9956003" y="466550"/>
              <a:ext cx="125399" cy="125428"/>
            </a:xfrm>
            <a:custGeom>
              <a:avLst/>
              <a:gdLst>
                <a:gd name="connsiteX0" fmla="*/ 63390 w 125399"/>
                <a:gd name="connsiteY0" fmla="*/ -52 h 125428"/>
                <a:gd name="connsiteX1" fmla="*/ 124826 w 125399"/>
                <a:gd name="connsiteY1" fmla="*/ 52497 h 125428"/>
                <a:gd name="connsiteX2" fmla="*/ 124826 w 125399"/>
                <a:gd name="connsiteY2" fmla="*/ 60907 h 125428"/>
                <a:gd name="connsiteX3" fmla="*/ 65390 w 125399"/>
                <a:gd name="connsiteY3" fmla="*/ 125201 h 125428"/>
                <a:gd name="connsiteX4" fmla="*/ -428 w 125399"/>
                <a:gd name="connsiteY4" fmla="*/ 59860 h 125428"/>
                <a:gd name="connsiteX5" fmla="*/ 63390 w 125399"/>
                <a:gd name="connsiteY5" fmla="*/ -52 h 125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99" h="125428">
                  <a:moveTo>
                    <a:pt x="63390" y="-52"/>
                  </a:moveTo>
                  <a:cubicBezTo>
                    <a:pt x="94822" y="-2500"/>
                    <a:pt x="122350" y="21036"/>
                    <a:pt x="124826" y="52497"/>
                  </a:cubicBezTo>
                  <a:cubicBezTo>
                    <a:pt x="125017" y="55297"/>
                    <a:pt x="125017" y="58107"/>
                    <a:pt x="124826" y="60907"/>
                  </a:cubicBezTo>
                  <a:cubicBezTo>
                    <a:pt x="124826" y="98341"/>
                    <a:pt x="99775" y="125201"/>
                    <a:pt x="65390" y="125201"/>
                  </a:cubicBezTo>
                  <a:cubicBezTo>
                    <a:pt x="29672" y="124125"/>
                    <a:pt x="906" y="95560"/>
                    <a:pt x="-428" y="59860"/>
                  </a:cubicBezTo>
                  <a:cubicBezTo>
                    <a:pt x="-714" y="25094"/>
                    <a:pt x="25957" y="424"/>
                    <a:pt x="63390" y="-52"/>
                  </a:cubicBezTo>
                  <a:close/>
                </a:path>
              </a:pathLst>
            </a:custGeom>
            <a:solidFill>
              <a:srgbClr val="000000"/>
            </a:solidFill>
            <a:ln w="9525" cap="flat">
              <a:noFill/>
              <a:prstDash val="solid"/>
              <a:miter/>
            </a:ln>
          </p:spPr>
          <p:txBody>
            <a:bodyPr rtlCol="0" anchor="ctr"/>
            <a:lstStyle/>
            <a:p>
              <a:endParaRPr lang="de-DE"/>
            </a:p>
          </p:txBody>
        </p:sp>
        <p:sp>
          <p:nvSpPr>
            <p:cNvPr id="58" name="Grafik 2">
              <a:extLst>
                <a:ext uri="{FF2B5EF4-FFF2-40B4-BE49-F238E27FC236}">
                  <a16:creationId xmlns:a16="http://schemas.microsoft.com/office/drawing/2014/main" id="{AFAF2B78-F593-4FF4-BCAD-2DCDBEF5B2AD}"/>
                </a:ext>
              </a:extLst>
            </p:cNvPr>
            <p:cNvSpPr/>
            <p:nvPr/>
          </p:nvSpPr>
          <p:spPr bwMode="gray">
            <a:xfrm>
              <a:off x="10575956" y="879431"/>
              <a:ext cx="125341" cy="125550"/>
            </a:xfrm>
            <a:custGeom>
              <a:avLst/>
              <a:gdLst>
                <a:gd name="connsiteX0" fmla="*/ 66276 w 125341"/>
                <a:gd name="connsiteY0" fmla="*/ 125324 h 125550"/>
                <a:gd name="connsiteX1" fmla="*/ -399 w 125341"/>
                <a:gd name="connsiteY1" fmla="*/ 61221 h 125550"/>
                <a:gd name="connsiteX2" fmla="*/ 61990 w 125341"/>
                <a:gd name="connsiteY2" fmla="*/ 70 h 125550"/>
                <a:gd name="connsiteX3" fmla="*/ 124664 w 125341"/>
                <a:gd name="connsiteY3" fmla="*/ 51143 h 125550"/>
                <a:gd name="connsiteX4" fmla="*/ 124855 w 125341"/>
                <a:gd name="connsiteY4" fmla="*/ 59697 h 125550"/>
                <a:gd name="connsiteX5" fmla="*/ 66276 w 125341"/>
                <a:gd name="connsiteY5" fmla="*/ 125324 h 12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41" h="125550">
                  <a:moveTo>
                    <a:pt x="66276" y="125324"/>
                  </a:moveTo>
                  <a:cubicBezTo>
                    <a:pt x="30652" y="124781"/>
                    <a:pt x="1506" y="96777"/>
                    <a:pt x="-399" y="61221"/>
                  </a:cubicBezTo>
                  <a:cubicBezTo>
                    <a:pt x="-1447" y="26645"/>
                    <a:pt x="24462" y="1213"/>
                    <a:pt x="61990" y="70"/>
                  </a:cubicBezTo>
                  <a:cubicBezTo>
                    <a:pt x="93423" y="-3121"/>
                    <a:pt x="121426" y="19739"/>
                    <a:pt x="124664" y="51143"/>
                  </a:cubicBezTo>
                  <a:cubicBezTo>
                    <a:pt x="124950" y="53981"/>
                    <a:pt x="124950" y="56848"/>
                    <a:pt x="124855" y="59697"/>
                  </a:cubicBezTo>
                  <a:cubicBezTo>
                    <a:pt x="125141" y="97034"/>
                    <a:pt x="100471" y="124562"/>
                    <a:pt x="66276" y="125324"/>
                  </a:cubicBezTo>
                  <a:close/>
                </a:path>
              </a:pathLst>
            </a:custGeom>
            <a:solidFill>
              <a:srgbClr val="000000"/>
            </a:solidFill>
            <a:ln w="9525" cap="flat">
              <a:noFill/>
              <a:prstDash val="solid"/>
              <a:miter/>
            </a:ln>
          </p:spPr>
          <p:txBody>
            <a:bodyPr rtlCol="0" anchor="ctr"/>
            <a:lstStyle/>
            <a:p>
              <a:endParaRPr lang="de-DE"/>
            </a:p>
          </p:txBody>
        </p:sp>
        <p:sp>
          <p:nvSpPr>
            <p:cNvPr id="59" name="Grafik 2">
              <a:extLst>
                <a:ext uri="{FF2B5EF4-FFF2-40B4-BE49-F238E27FC236}">
                  <a16:creationId xmlns:a16="http://schemas.microsoft.com/office/drawing/2014/main" id="{0EB8AF64-D9A7-4743-8555-A12B189CAADF}"/>
                </a:ext>
              </a:extLst>
            </p:cNvPr>
            <p:cNvSpPr/>
            <p:nvPr/>
          </p:nvSpPr>
          <p:spPr bwMode="gray">
            <a:xfrm>
              <a:off x="9543001" y="1086080"/>
              <a:ext cx="125480" cy="125345"/>
            </a:xfrm>
            <a:custGeom>
              <a:avLst/>
              <a:gdLst>
                <a:gd name="connsiteX0" fmla="*/ 65388 w 125480"/>
                <a:gd name="connsiteY0" fmla="*/ -172 h 125345"/>
                <a:gd name="connsiteX1" fmla="*/ 125015 w 125480"/>
                <a:gd name="connsiteY1" fmla="*/ 54426 h 125345"/>
                <a:gd name="connsiteX2" fmla="*/ 124729 w 125480"/>
                <a:gd name="connsiteY2" fmla="*/ 62884 h 125345"/>
                <a:gd name="connsiteX3" fmla="*/ 63387 w 125480"/>
                <a:gd name="connsiteY3" fmla="*/ 125082 h 125345"/>
                <a:gd name="connsiteX4" fmla="*/ -430 w 125480"/>
                <a:gd name="connsiteY4" fmla="*/ 57740 h 125345"/>
                <a:gd name="connsiteX5" fmla="*/ 65388 w 125480"/>
                <a:gd name="connsiteY5" fmla="*/ -172 h 12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480" h="125345">
                  <a:moveTo>
                    <a:pt x="65388" y="-172"/>
                  </a:moveTo>
                  <a:cubicBezTo>
                    <a:pt x="96915" y="-1553"/>
                    <a:pt x="123586" y="22888"/>
                    <a:pt x="125015" y="54426"/>
                  </a:cubicBezTo>
                  <a:cubicBezTo>
                    <a:pt x="125110" y="57245"/>
                    <a:pt x="125015" y="60074"/>
                    <a:pt x="124729" y="62884"/>
                  </a:cubicBezTo>
                  <a:cubicBezTo>
                    <a:pt x="123490" y="100317"/>
                    <a:pt x="97963" y="126225"/>
                    <a:pt x="63387" y="125082"/>
                  </a:cubicBezTo>
                  <a:cubicBezTo>
                    <a:pt x="27668" y="123015"/>
                    <a:pt x="-335" y="93526"/>
                    <a:pt x="-430" y="57740"/>
                  </a:cubicBezTo>
                  <a:cubicBezTo>
                    <a:pt x="427" y="23641"/>
                    <a:pt x="28145" y="-648"/>
                    <a:pt x="65388" y="-172"/>
                  </a:cubicBezTo>
                  <a:close/>
                </a:path>
              </a:pathLst>
            </a:custGeom>
            <a:solidFill>
              <a:srgbClr val="000000"/>
            </a:solidFill>
            <a:ln w="9525" cap="flat">
              <a:noFill/>
              <a:prstDash val="solid"/>
              <a:miter/>
            </a:ln>
          </p:spPr>
          <p:txBody>
            <a:bodyPr rtlCol="0" anchor="ctr"/>
            <a:lstStyle/>
            <a:p>
              <a:endParaRPr lang="de-DE"/>
            </a:p>
          </p:txBody>
        </p:sp>
        <p:sp>
          <p:nvSpPr>
            <p:cNvPr id="60" name="Grafik 2">
              <a:extLst>
                <a:ext uri="{FF2B5EF4-FFF2-40B4-BE49-F238E27FC236}">
                  <a16:creationId xmlns:a16="http://schemas.microsoft.com/office/drawing/2014/main" id="{CAC6BAB2-AE42-47BD-921C-BB86B226C9C7}"/>
                </a:ext>
              </a:extLst>
            </p:cNvPr>
            <p:cNvSpPr/>
            <p:nvPr/>
          </p:nvSpPr>
          <p:spPr bwMode="gray">
            <a:xfrm>
              <a:off x="9749673" y="1085987"/>
              <a:ext cx="125183" cy="125496"/>
            </a:xfrm>
            <a:custGeom>
              <a:avLst/>
              <a:gdLst>
                <a:gd name="connsiteX0" fmla="*/ 124654 w 125183"/>
                <a:gd name="connsiteY0" fmla="*/ 59928 h 125496"/>
                <a:gd name="connsiteX1" fmla="*/ 66266 w 125183"/>
                <a:gd name="connsiteY1" fmla="*/ 125269 h 125496"/>
                <a:gd name="connsiteX2" fmla="*/ -409 w 125183"/>
                <a:gd name="connsiteY2" fmla="*/ 60881 h 125496"/>
                <a:gd name="connsiteX3" fmla="*/ 62361 w 125183"/>
                <a:gd name="connsiteY3" fmla="*/ 16 h 125496"/>
                <a:gd name="connsiteX4" fmla="*/ 124464 w 125183"/>
                <a:gd name="connsiteY4" fmla="*/ 51708 h 125496"/>
                <a:gd name="connsiteX5" fmla="*/ 124654 w 125183"/>
                <a:gd name="connsiteY5" fmla="*/ 59928 h 125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183" h="125496">
                  <a:moveTo>
                    <a:pt x="124654" y="59928"/>
                  </a:moveTo>
                  <a:cubicBezTo>
                    <a:pt x="124654" y="97266"/>
                    <a:pt x="100461" y="124698"/>
                    <a:pt x="66266" y="125269"/>
                  </a:cubicBezTo>
                  <a:cubicBezTo>
                    <a:pt x="30547" y="124622"/>
                    <a:pt x="1496" y="96514"/>
                    <a:pt x="-409" y="60881"/>
                  </a:cubicBezTo>
                  <a:cubicBezTo>
                    <a:pt x="-1266" y="26305"/>
                    <a:pt x="24832" y="1064"/>
                    <a:pt x="62361" y="16"/>
                  </a:cubicBezTo>
                  <a:cubicBezTo>
                    <a:pt x="93793" y="-2870"/>
                    <a:pt x="121606" y="20276"/>
                    <a:pt x="124464" y="51708"/>
                  </a:cubicBezTo>
                  <a:cubicBezTo>
                    <a:pt x="124749" y="54442"/>
                    <a:pt x="124845" y="57185"/>
                    <a:pt x="124654" y="59928"/>
                  </a:cubicBezTo>
                  <a:close/>
                </a:path>
              </a:pathLst>
            </a:custGeom>
            <a:solidFill>
              <a:srgbClr val="000000"/>
            </a:solidFill>
            <a:ln w="9525" cap="flat">
              <a:noFill/>
              <a:prstDash val="solid"/>
              <a:miter/>
            </a:ln>
          </p:spPr>
          <p:txBody>
            <a:bodyPr rtlCol="0" anchor="ctr"/>
            <a:lstStyle/>
            <a:p>
              <a:endParaRPr lang="de-DE"/>
            </a:p>
          </p:txBody>
        </p:sp>
        <p:sp>
          <p:nvSpPr>
            <p:cNvPr id="61" name="Grafik 2">
              <a:extLst>
                <a:ext uri="{FF2B5EF4-FFF2-40B4-BE49-F238E27FC236}">
                  <a16:creationId xmlns:a16="http://schemas.microsoft.com/office/drawing/2014/main" id="{94546105-A8CF-41DD-A5EA-C8632EA6B2AF}"/>
                </a:ext>
              </a:extLst>
            </p:cNvPr>
            <p:cNvSpPr/>
            <p:nvPr/>
          </p:nvSpPr>
          <p:spPr bwMode="gray">
            <a:xfrm>
              <a:off x="9956064" y="1086009"/>
              <a:ext cx="125326" cy="125475"/>
            </a:xfrm>
            <a:custGeom>
              <a:avLst/>
              <a:gdLst>
                <a:gd name="connsiteX0" fmla="*/ 124861 w 125326"/>
                <a:gd name="connsiteY0" fmla="*/ 59430 h 125475"/>
                <a:gd name="connsiteX1" fmla="*/ 66854 w 125326"/>
                <a:gd name="connsiteY1" fmla="*/ 125248 h 125475"/>
                <a:gd name="connsiteX2" fmla="*/ -393 w 125326"/>
                <a:gd name="connsiteY2" fmla="*/ 61431 h 125475"/>
                <a:gd name="connsiteX3" fmla="*/ 61805 w 125326"/>
                <a:gd name="connsiteY3" fmla="*/ 90 h 125475"/>
                <a:gd name="connsiteX4" fmla="*/ 124574 w 125326"/>
                <a:gd name="connsiteY4" fmla="*/ 50972 h 125475"/>
                <a:gd name="connsiteX5" fmla="*/ 124861 w 125326"/>
                <a:gd name="connsiteY5" fmla="*/ 59430 h 125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26" h="125475">
                  <a:moveTo>
                    <a:pt x="124861" y="59430"/>
                  </a:moveTo>
                  <a:cubicBezTo>
                    <a:pt x="124861" y="96673"/>
                    <a:pt x="100953" y="124296"/>
                    <a:pt x="66854" y="125248"/>
                  </a:cubicBezTo>
                  <a:cubicBezTo>
                    <a:pt x="31135" y="125010"/>
                    <a:pt x="1702" y="97092"/>
                    <a:pt x="-393" y="61431"/>
                  </a:cubicBezTo>
                  <a:cubicBezTo>
                    <a:pt x="-1536" y="26855"/>
                    <a:pt x="24276" y="1328"/>
                    <a:pt x="61805" y="90"/>
                  </a:cubicBezTo>
                  <a:cubicBezTo>
                    <a:pt x="93237" y="-3206"/>
                    <a:pt x="121336" y="19578"/>
                    <a:pt x="124574" y="50972"/>
                  </a:cubicBezTo>
                  <a:cubicBezTo>
                    <a:pt x="124861" y="53782"/>
                    <a:pt x="124956" y="56611"/>
                    <a:pt x="124861" y="59430"/>
                  </a:cubicBezTo>
                  <a:close/>
                </a:path>
              </a:pathLst>
            </a:custGeom>
            <a:solidFill>
              <a:srgbClr val="000000"/>
            </a:solidFill>
            <a:ln w="9525" cap="flat">
              <a:noFill/>
              <a:prstDash val="solid"/>
              <a:miter/>
            </a:ln>
          </p:spPr>
          <p:txBody>
            <a:bodyPr rtlCol="0" anchor="ctr"/>
            <a:lstStyle/>
            <a:p>
              <a:endParaRPr lang="de-DE"/>
            </a:p>
          </p:txBody>
        </p:sp>
        <p:sp>
          <p:nvSpPr>
            <p:cNvPr id="62" name="Grafik 2">
              <a:extLst>
                <a:ext uri="{FF2B5EF4-FFF2-40B4-BE49-F238E27FC236}">
                  <a16:creationId xmlns:a16="http://schemas.microsoft.com/office/drawing/2014/main" id="{7E0E2A27-A654-4BD2-86C8-8483DFF4767B}"/>
                </a:ext>
              </a:extLst>
            </p:cNvPr>
            <p:cNvSpPr/>
            <p:nvPr/>
          </p:nvSpPr>
          <p:spPr bwMode="gray">
            <a:xfrm>
              <a:off x="10162508" y="1086077"/>
              <a:ext cx="125396" cy="125408"/>
            </a:xfrm>
            <a:custGeom>
              <a:avLst/>
              <a:gdLst>
                <a:gd name="connsiteX0" fmla="*/ 65102 w 125396"/>
                <a:gd name="connsiteY0" fmla="*/ 125180 h 125408"/>
                <a:gd name="connsiteX1" fmla="*/ -430 w 125396"/>
                <a:gd name="connsiteY1" fmla="*/ 59458 h 125408"/>
                <a:gd name="connsiteX2" fmla="*/ 63673 w 125396"/>
                <a:gd name="connsiteY2" fmla="*/ -73 h 125408"/>
                <a:gd name="connsiteX3" fmla="*/ 124824 w 125396"/>
                <a:gd name="connsiteY3" fmla="*/ 52771 h 125408"/>
                <a:gd name="connsiteX4" fmla="*/ 124824 w 125396"/>
                <a:gd name="connsiteY4" fmla="*/ 61172 h 125408"/>
                <a:gd name="connsiteX5" fmla="*/ 65102 w 125396"/>
                <a:gd name="connsiteY5" fmla="*/ 125180 h 12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96" h="125408">
                  <a:moveTo>
                    <a:pt x="65102" y="125180"/>
                  </a:moveTo>
                  <a:cubicBezTo>
                    <a:pt x="29383" y="123895"/>
                    <a:pt x="713" y="95186"/>
                    <a:pt x="-430" y="59458"/>
                  </a:cubicBezTo>
                  <a:cubicBezTo>
                    <a:pt x="-430" y="25073"/>
                    <a:pt x="26239" y="212"/>
                    <a:pt x="63673" y="-73"/>
                  </a:cubicBezTo>
                  <a:cubicBezTo>
                    <a:pt x="95105" y="-2369"/>
                    <a:pt x="122537" y="21291"/>
                    <a:pt x="124824" y="52771"/>
                  </a:cubicBezTo>
                  <a:cubicBezTo>
                    <a:pt x="125014" y="55562"/>
                    <a:pt x="125014" y="58372"/>
                    <a:pt x="124824" y="61172"/>
                  </a:cubicBezTo>
                  <a:cubicBezTo>
                    <a:pt x="124443" y="98701"/>
                    <a:pt x="99487" y="125371"/>
                    <a:pt x="65102" y="125180"/>
                  </a:cubicBezTo>
                  <a:close/>
                </a:path>
              </a:pathLst>
            </a:custGeom>
            <a:solidFill>
              <a:srgbClr val="000000"/>
            </a:solidFill>
            <a:ln w="9525" cap="flat">
              <a:noFill/>
              <a:prstDash val="solid"/>
              <a:miter/>
            </a:ln>
          </p:spPr>
          <p:txBody>
            <a:bodyPr rtlCol="0" anchor="ctr"/>
            <a:lstStyle/>
            <a:p>
              <a:endParaRPr lang="de-DE"/>
            </a:p>
          </p:txBody>
        </p:sp>
        <p:sp>
          <p:nvSpPr>
            <p:cNvPr id="63" name="Grafik 2">
              <a:extLst>
                <a:ext uri="{FF2B5EF4-FFF2-40B4-BE49-F238E27FC236}">
                  <a16:creationId xmlns:a16="http://schemas.microsoft.com/office/drawing/2014/main" id="{40897CB7-83B5-4EC6-88EC-857D2E4347EB}"/>
                </a:ext>
              </a:extLst>
            </p:cNvPr>
            <p:cNvSpPr/>
            <p:nvPr/>
          </p:nvSpPr>
          <p:spPr bwMode="gray">
            <a:xfrm>
              <a:off x="10368633" y="1086048"/>
              <a:ext cx="125663" cy="125155"/>
            </a:xfrm>
            <a:custGeom>
              <a:avLst/>
              <a:gdLst>
                <a:gd name="connsiteX0" fmla="*/ 125200 w 125663"/>
                <a:gd name="connsiteY0" fmla="*/ 58248 h 125155"/>
                <a:gd name="connsiteX1" fmla="*/ 68050 w 125663"/>
                <a:gd name="connsiteY1" fmla="*/ 124923 h 125155"/>
                <a:gd name="connsiteX2" fmla="*/ -339 w 125663"/>
                <a:gd name="connsiteY2" fmla="*/ 62249 h 125155"/>
                <a:gd name="connsiteX3" fmla="*/ 60715 w 125663"/>
                <a:gd name="connsiteY3" fmla="*/ -140 h 125155"/>
                <a:gd name="connsiteX4" fmla="*/ 125200 w 125663"/>
                <a:gd name="connsiteY4" fmla="*/ 58248 h 125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63" h="125155">
                  <a:moveTo>
                    <a:pt x="125200" y="58248"/>
                  </a:moveTo>
                  <a:cubicBezTo>
                    <a:pt x="126247" y="95682"/>
                    <a:pt x="102530" y="123590"/>
                    <a:pt x="68050" y="124923"/>
                  </a:cubicBezTo>
                  <a:cubicBezTo>
                    <a:pt x="32236" y="125371"/>
                    <a:pt x="2327" y="97920"/>
                    <a:pt x="-339" y="62249"/>
                  </a:cubicBezTo>
                  <a:cubicBezTo>
                    <a:pt x="-2150" y="27578"/>
                    <a:pt x="23283" y="1575"/>
                    <a:pt x="60715" y="-140"/>
                  </a:cubicBezTo>
                  <a:cubicBezTo>
                    <a:pt x="98149" y="-1855"/>
                    <a:pt x="124152" y="21768"/>
                    <a:pt x="125200" y="58248"/>
                  </a:cubicBezTo>
                  <a:close/>
                </a:path>
              </a:pathLst>
            </a:custGeom>
            <a:solidFill>
              <a:srgbClr val="000000"/>
            </a:solidFill>
            <a:ln w="9525" cap="flat">
              <a:noFill/>
              <a:prstDash val="solid"/>
              <a:miter/>
            </a:ln>
          </p:spPr>
          <p:txBody>
            <a:bodyPr rtlCol="0" anchor="ctr"/>
            <a:lstStyle/>
            <a:p>
              <a:endParaRPr lang="de-DE"/>
            </a:p>
          </p:txBody>
        </p:sp>
        <p:sp>
          <p:nvSpPr>
            <p:cNvPr id="64" name="Grafik 2">
              <a:extLst>
                <a:ext uri="{FF2B5EF4-FFF2-40B4-BE49-F238E27FC236}">
                  <a16:creationId xmlns:a16="http://schemas.microsoft.com/office/drawing/2014/main" id="{7D1C246D-2CEB-4067-BBDE-46EB225395A6}"/>
                </a:ext>
              </a:extLst>
            </p:cNvPr>
            <p:cNvSpPr/>
            <p:nvPr/>
          </p:nvSpPr>
          <p:spPr bwMode="gray">
            <a:xfrm>
              <a:off x="10575862" y="1085971"/>
              <a:ext cx="125054" cy="125513"/>
            </a:xfrm>
            <a:custGeom>
              <a:avLst/>
              <a:gdLst>
                <a:gd name="connsiteX0" fmla="*/ 124568 w 125054"/>
                <a:gd name="connsiteY0" fmla="*/ 59754 h 125513"/>
                <a:gd name="connsiteX1" fmla="*/ 66276 w 125054"/>
                <a:gd name="connsiteY1" fmla="*/ 125286 h 125513"/>
                <a:gd name="connsiteX2" fmla="*/ -399 w 125054"/>
                <a:gd name="connsiteY2" fmla="*/ 61087 h 125513"/>
                <a:gd name="connsiteX3" fmla="*/ 62084 w 125054"/>
                <a:gd name="connsiteY3" fmla="*/ 32 h 125513"/>
                <a:gd name="connsiteX4" fmla="*/ 124378 w 125054"/>
                <a:gd name="connsiteY4" fmla="*/ 51524 h 125513"/>
                <a:gd name="connsiteX5" fmla="*/ 124568 w 125054"/>
                <a:gd name="connsiteY5" fmla="*/ 59754 h 12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054" h="125513">
                  <a:moveTo>
                    <a:pt x="124568" y="59754"/>
                  </a:moveTo>
                  <a:cubicBezTo>
                    <a:pt x="124568" y="97187"/>
                    <a:pt x="100470" y="124619"/>
                    <a:pt x="66276" y="125286"/>
                  </a:cubicBezTo>
                  <a:cubicBezTo>
                    <a:pt x="30651" y="124686"/>
                    <a:pt x="1505" y="96663"/>
                    <a:pt x="-399" y="61087"/>
                  </a:cubicBezTo>
                  <a:cubicBezTo>
                    <a:pt x="-1448" y="26512"/>
                    <a:pt x="24650" y="1080"/>
                    <a:pt x="62084" y="32"/>
                  </a:cubicBezTo>
                  <a:cubicBezTo>
                    <a:pt x="93517" y="-2949"/>
                    <a:pt x="121424" y="20101"/>
                    <a:pt x="124378" y="51524"/>
                  </a:cubicBezTo>
                  <a:cubicBezTo>
                    <a:pt x="124663" y="54258"/>
                    <a:pt x="124663" y="57011"/>
                    <a:pt x="124568" y="59754"/>
                  </a:cubicBezTo>
                  <a:close/>
                </a:path>
              </a:pathLst>
            </a:custGeom>
            <a:solidFill>
              <a:srgbClr val="000000"/>
            </a:solidFill>
            <a:ln w="9525" cap="flat">
              <a:noFill/>
              <a:prstDash val="solid"/>
              <a:miter/>
            </a:ln>
          </p:spPr>
          <p:txBody>
            <a:bodyPr rtlCol="0" anchor="ctr"/>
            <a:lstStyle/>
            <a:p>
              <a:endParaRPr lang="de-DE"/>
            </a:p>
          </p:txBody>
        </p:sp>
        <p:sp>
          <p:nvSpPr>
            <p:cNvPr id="65" name="Grafik 2">
              <a:extLst>
                <a:ext uri="{FF2B5EF4-FFF2-40B4-BE49-F238E27FC236}">
                  <a16:creationId xmlns:a16="http://schemas.microsoft.com/office/drawing/2014/main" id="{126C29B6-61C1-4294-A354-ED3441866DBA}"/>
                </a:ext>
              </a:extLst>
            </p:cNvPr>
            <p:cNvSpPr/>
            <p:nvPr/>
          </p:nvSpPr>
          <p:spPr bwMode="gray">
            <a:xfrm>
              <a:off x="9543001" y="1292597"/>
              <a:ext cx="125396" cy="125391"/>
            </a:xfrm>
            <a:custGeom>
              <a:avLst/>
              <a:gdLst>
                <a:gd name="connsiteX0" fmla="*/ 63959 w 125396"/>
                <a:gd name="connsiteY0" fmla="*/ -92 h 125391"/>
                <a:gd name="connsiteX1" fmla="*/ 124824 w 125396"/>
                <a:gd name="connsiteY1" fmla="*/ 53029 h 125391"/>
                <a:gd name="connsiteX2" fmla="*/ 124824 w 125396"/>
                <a:gd name="connsiteY2" fmla="*/ 61440 h 125391"/>
                <a:gd name="connsiteX3" fmla="*/ 64816 w 125396"/>
                <a:gd name="connsiteY3" fmla="*/ 125162 h 125391"/>
                <a:gd name="connsiteX4" fmla="*/ -430 w 125396"/>
                <a:gd name="connsiteY4" fmla="*/ 59153 h 125391"/>
                <a:gd name="connsiteX5" fmla="*/ 63959 w 125396"/>
                <a:gd name="connsiteY5" fmla="*/ -92 h 1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96" h="125391">
                  <a:moveTo>
                    <a:pt x="63959" y="-92"/>
                  </a:moveTo>
                  <a:cubicBezTo>
                    <a:pt x="95486" y="-2245"/>
                    <a:pt x="122729" y="21539"/>
                    <a:pt x="124824" y="53029"/>
                  </a:cubicBezTo>
                  <a:cubicBezTo>
                    <a:pt x="125015" y="55829"/>
                    <a:pt x="125015" y="58639"/>
                    <a:pt x="124824" y="61440"/>
                  </a:cubicBezTo>
                  <a:cubicBezTo>
                    <a:pt x="124252" y="98873"/>
                    <a:pt x="99201" y="125448"/>
                    <a:pt x="64816" y="125162"/>
                  </a:cubicBezTo>
                  <a:cubicBezTo>
                    <a:pt x="29097" y="123771"/>
                    <a:pt x="522" y="94901"/>
                    <a:pt x="-430" y="59153"/>
                  </a:cubicBezTo>
                  <a:cubicBezTo>
                    <a:pt x="-430" y="24864"/>
                    <a:pt x="26430" y="99"/>
                    <a:pt x="63959" y="-92"/>
                  </a:cubicBezTo>
                  <a:close/>
                </a:path>
              </a:pathLst>
            </a:custGeom>
            <a:solidFill>
              <a:srgbClr val="000000"/>
            </a:solidFill>
            <a:ln w="9525" cap="flat">
              <a:noFill/>
              <a:prstDash val="solid"/>
              <a:miter/>
            </a:ln>
          </p:spPr>
          <p:txBody>
            <a:bodyPr rtlCol="0" anchor="ctr"/>
            <a:lstStyle/>
            <a:p>
              <a:endParaRPr lang="de-DE"/>
            </a:p>
          </p:txBody>
        </p:sp>
        <p:sp>
          <p:nvSpPr>
            <p:cNvPr id="66" name="Grafik 2">
              <a:extLst>
                <a:ext uri="{FF2B5EF4-FFF2-40B4-BE49-F238E27FC236}">
                  <a16:creationId xmlns:a16="http://schemas.microsoft.com/office/drawing/2014/main" id="{16F54C97-FE92-44A4-9B5F-A8C18DAA2AED}"/>
                </a:ext>
              </a:extLst>
            </p:cNvPr>
            <p:cNvSpPr/>
            <p:nvPr/>
          </p:nvSpPr>
          <p:spPr bwMode="gray">
            <a:xfrm>
              <a:off x="9749673" y="1292481"/>
              <a:ext cx="125183" cy="125505"/>
            </a:xfrm>
            <a:custGeom>
              <a:avLst/>
              <a:gdLst>
                <a:gd name="connsiteX0" fmla="*/ 124654 w 125183"/>
                <a:gd name="connsiteY0" fmla="*/ 59936 h 125505"/>
                <a:gd name="connsiteX1" fmla="*/ 66266 w 125183"/>
                <a:gd name="connsiteY1" fmla="*/ 125278 h 125505"/>
                <a:gd name="connsiteX2" fmla="*/ -409 w 125183"/>
                <a:gd name="connsiteY2" fmla="*/ 60984 h 125505"/>
                <a:gd name="connsiteX3" fmla="*/ 62266 w 125183"/>
                <a:gd name="connsiteY3" fmla="*/ 24 h 125505"/>
                <a:gd name="connsiteX4" fmla="*/ 124464 w 125183"/>
                <a:gd name="connsiteY4" fmla="*/ 51611 h 125505"/>
                <a:gd name="connsiteX5" fmla="*/ 124654 w 125183"/>
                <a:gd name="connsiteY5" fmla="*/ 59936 h 125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183" h="125505">
                  <a:moveTo>
                    <a:pt x="124654" y="59936"/>
                  </a:moveTo>
                  <a:cubicBezTo>
                    <a:pt x="124654" y="97179"/>
                    <a:pt x="100461" y="124706"/>
                    <a:pt x="66266" y="125278"/>
                  </a:cubicBezTo>
                  <a:cubicBezTo>
                    <a:pt x="30642" y="124678"/>
                    <a:pt x="1496" y="96598"/>
                    <a:pt x="-409" y="60984"/>
                  </a:cubicBezTo>
                  <a:cubicBezTo>
                    <a:pt x="-1266" y="26408"/>
                    <a:pt x="24737" y="1072"/>
                    <a:pt x="62266" y="24"/>
                  </a:cubicBezTo>
                  <a:cubicBezTo>
                    <a:pt x="93698" y="-2910"/>
                    <a:pt x="121511" y="20179"/>
                    <a:pt x="124464" y="51611"/>
                  </a:cubicBezTo>
                  <a:cubicBezTo>
                    <a:pt x="124749" y="54374"/>
                    <a:pt x="124845" y="57155"/>
                    <a:pt x="124654" y="59936"/>
                  </a:cubicBezTo>
                  <a:close/>
                </a:path>
              </a:pathLst>
            </a:custGeom>
            <a:solidFill>
              <a:srgbClr val="000000"/>
            </a:solidFill>
            <a:ln w="9525" cap="flat">
              <a:noFill/>
              <a:prstDash val="solid"/>
              <a:miter/>
            </a:ln>
          </p:spPr>
          <p:txBody>
            <a:bodyPr rtlCol="0" anchor="ctr"/>
            <a:lstStyle/>
            <a:p>
              <a:endParaRPr lang="de-DE"/>
            </a:p>
          </p:txBody>
        </p:sp>
        <p:sp>
          <p:nvSpPr>
            <p:cNvPr id="67" name="Grafik 2">
              <a:extLst>
                <a:ext uri="{FF2B5EF4-FFF2-40B4-BE49-F238E27FC236}">
                  <a16:creationId xmlns:a16="http://schemas.microsoft.com/office/drawing/2014/main" id="{2050049A-AE93-4486-AFA0-7558795C22C5}"/>
                </a:ext>
              </a:extLst>
            </p:cNvPr>
            <p:cNvSpPr/>
            <p:nvPr/>
          </p:nvSpPr>
          <p:spPr bwMode="gray">
            <a:xfrm>
              <a:off x="9956165" y="1292471"/>
              <a:ext cx="125192" cy="125515"/>
            </a:xfrm>
            <a:custGeom>
              <a:avLst/>
              <a:gdLst>
                <a:gd name="connsiteX0" fmla="*/ 62179 w 125192"/>
                <a:gd name="connsiteY0" fmla="*/ 34 h 125515"/>
                <a:gd name="connsiteX1" fmla="*/ 124473 w 125192"/>
                <a:gd name="connsiteY1" fmla="*/ 51507 h 125515"/>
                <a:gd name="connsiteX2" fmla="*/ 124664 w 125192"/>
                <a:gd name="connsiteY2" fmla="*/ 60041 h 125515"/>
                <a:gd name="connsiteX3" fmla="*/ 66275 w 125192"/>
                <a:gd name="connsiteY3" fmla="*/ 125288 h 125515"/>
                <a:gd name="connsiteX4" fmla="*/ -400 w 125192"/>
                <a:gd name="connsiteY4" fmla="*/ 60899 h 125515"/>
                <a:gd name="connsiteX5" fmla="*/ 62179 w 125192"/>
                <a:gd name="connsiteY5" fmla="*/ 34 h 12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192" h="125515">
                  <a:moveTo>
                    <a:pt x="62179" y="34"/>
                  </a:moveTo>
                  <a:cubicBezTo>
                    <a:pt x="93612" y="-2957"/>
                    <a:pt x="121521" y="20084"/>
                    <a:pt x="124473" y="51507"/>
                  </a:cubicBezTo>
                  <a:cubicBezTo>
                    <a:pt x="124759" y="54346"/>
                    <a:pt x="124854" y="57193"/>
                    <a:pt x="124664" y="60041"/>
                  </a:cubicBezTo>
                  <a:cubicBezTo>
                    <a:pt x="124664" y="97379"/>
                    <a:pt x="100375" y="124716"/>
                    <a:pt x="66275" y="125288"/>
                  </a:cubicBezTo>
                  <a:cubicBezTo>
                    <a:pt x="30557" y="124640"/>
                    <a:pt x="1505" y="96532"/>
                    <a:pt x="-400" y="60899"/>
                  </a:cubicBezTo>
                  <a:cubicBezTo>
                    <a:pt x="-1447" y="26323"/>
                    <a:pt x="24651" y="1082"/>
                    <a:pt x="62179" y="34"/>
                  </a:cubicBezTo>
                  <a:close/>
                </a:path>
              </a:pathLst>
            </a:custGeom>
            <a:solidFill>
              <a:srgbClr val="000000"/>
            </a:solidFill>
            <a:ln w="9525" cap="flat">
              <a:noFill/>
              <a:prstDash val="solid"/>
              <a:miter/>
            </a:ln>
          </p:spPr>
          <p:txBody>
            <a:bodyPr rtlCol="0" anchor="ctr"/>
            <a:lstStyle/>
            <a:p>
              <a:endParaRPr lang="de-DE"/>
            </a:p>
          </p:txBody>
        </p:sp>
        <p:sp>
          <p:nvSpPr>
            <p:cNvPr id="68" name="Grafik 2">
              <a:extLst>
                <a:ext uri="{FF2B5EF4-FFF2-40B4-BE49-F238E27FC236}">
                  <a16:creationId xmlns:a16="http://schemas.microsoft.com/office/drawing/2014/main" id="{FC2480A4-219D-462A-A661-837E4E8662DD}"/>
                </a:ext>
              </a:extLst>
            </p:cNvPr>
            <p:cNvSpPr/>
            <p:nvPr/>
          </p:nvSpPr>
          <p:spPr bwMode="gray">
            <a:xfrm>
              <a:off x="10162508" y="1292852"/>
              <a:ext cx="125500" cy="125069"/>
            </a:xfrm>
            <a:custGeom>
              <a:avLst/>
              <a:gdLst>
                <a:gd name="connsiteX0" fmla="*/ 124824 w 125500"/>
                <a:gd name="connsiteY0" fmla="*/ 62328 h 125069"/>
                <a:gd name="connsiteX1" fmla="*/ 63768 w 125500"/>
                <a:gd name="connsiteY1" fmla="*/ 124812 h 125069"/>
                <a:gd name="connsiteX2" fmla="*/ -430 w 125500"/>
                <a:gd name="connsiteY2" fmla="*/ 58137 h 125069"/>
                <a:gd name="connsiteX3" fmla="*/ 65102 w 125500"/>
                <a:gd name="connsiteY3" fmla="*/ -156 h 125069"/>
                <a:gd name="connsiteX4" fmla="*/ 125014 w 125500"/>
                <a:gd name="connsiteY4" fmla="*/ 54098 h 125069"/>
                <a:gd name="connsiteX5" fmla="*/ 124824 w 125500"/>
                <a:gd name="connsiteY5" fmla="*/ 62328 h 12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00" h="125069">
                  <a:moveTo>
                    <a:pt x="124824" y="62328"/>
                  </a:moveTo>
                  <a:cubicBezTo>
                    <a:pt x="123680" y="99856"/>
                    <a:pt x="98344" y="125860"/>
                    <a:pt x="63768" y="124812"/>
                  </a:cubicBezTo>
                  <a:cubicBezTo>
                    <a:pt x="28145" y="122964"/>
                    <a:pt x="46" y="93798"/>
                    <a:pt x="-430" y="58137"/>
                  </a:cubicBezTo>
                  <a:cubicBezTo>
                    <a:pt x="236" y="23942"/>
                    <a:pt x="27668" y="-442"/>
                    <a:pt x="65102" y="-156"/>
                  </a:cubicBezTo>
                  <a:cubicBezTo>
                    <a:pt x="96629" y="-1718"/>
                    <a:pt x="123490" y="22570"/>
                    <a:pt x="125014" y="54098"/>
                  </a:cubicBezTo>
                  <a:cubicBezTo>
                    <a:pt x="125109" y="56842"/>
                    <a:pt x="125109" y="59594"/>
                    <a:pt x="124824" y="62328"/>
                  </a:cubicBezTo>
                  <a:close/>
                </a:path>
              </a:pathLst>
            </a:custGeom>
            <a:solidFill>
              <a:srgbClr val="000000"/>
            </a:solidFill>
            <a:ln w="9525" cap="flat">
              <a:noFill/>
              <a:prstDash val="solid"/>
              <a:miter/>
            </a:ln>
          </p:spPr>
          <p:txBody>
            <a:bodyPr rtlCol="0" anchor="ctr"/>
            <a:lstStyle/>
            <a:p>
              <a:endParaRPr lang="de-DE"/>
            </a:p>
          </p:txBody>
        </p:sp>
        <p:sp>
          <p:nvSpPr>
            <p:cNvPr id="69" name="Grafik 2">
              <a:extLst>
                <a:ext uri="{FF2B5EF4-FFF2-40B4-BE49-F238E27FC236}">
                  <a16:creationId xmlns:a16="http://schemas.microsoft.com/office/drawing/2014/main" id="{2B1F4A48-D03B-4B5F-BC4B-D6672D4D55EB}"/>
                </a:ext>
              </a:extLst>
            </p:cNvPr>
            <p:cNvSpPr/>
            <p:nvPr/>
          </p:nvSpPr>
          <p:spPr bwMode="gray">
            <a:xfrm>
              <a:off x="9542706" y="466480"/>
              <a:ext cx="125653" cy="125498"/>
            </a:xfrm>
            <a:custGeom>
              <a:avLst/>
              <a:gdLst>
                <a:gd name="connsiteX0" fmla="*/ 125119 w 125653"/>
                <a:gd name="connsiteY0" fmla="*/ 60406 h 125498"/>
                <a:gd name="connsiteX1" fmla="*/ 66254 w 125653"/>
                <a:gd name="connsiteY1" fmla="*/ 125271 h 125498"/>
                <a:gd name="connsiteX2" fmla="*/ -421 w 125653"/>
                <a:gd name="connsiteY2" fmla="*/ 60406 h 125498"/>
                <a:gd name="connsiteX3" fmla="*/ 62825 w 125653"/>
                <a:gd name="connsiteY3" fmla="*/ 17 h 125498"/>
                <a:gd name="connsiteX4" fmla="*/ 125024 w 125653"/>
                <a:gd name="connsiteY4" fmla="*/ 51672 h 125498"/>
                <a:gd name="connsiteX5" fmla="*/ 125119 w 125653"/>
                <a:gd name="connsiteY5" fmla="*/ 60406 h 12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53" h="125498">
                  <a:moveTo>
                    <a:pt x="125119" y="60406"/>
                  </a:moveTo>
                  <a:cubicBezTo>
                    <a:pt x="125119" y="97744"/>
                    <a:pt x="100450" y="124986"/>
                    <a:pt x="66254" y="125271"/>
                  </a:cubicBezTo>
                  <a:cubicBezTo>
                    <a:pt x="30345" y="124652"/>
                    <a:pt x="1199" y="96249"/>
                    <a:pt x="-421" y="60406"/>
                  </a:cubicBezTo>
                  <a:cubicBezTo>
                    <a:pt x="-992" y="25925"/>
                    <a:pt x="25393" y="779"/>
                    <a:pt x="62825" y="17"/>
                  </a:cubicBezTo>
                  <a:cubicBezTo>
                    <a:pt x="94258" y="-2878"/>
                    <a:pt x="122070" y="20248"/>
                    <a:pt x="125024" y="51672"/>
                  </a:cubicBezTo>
                  <a:cubicBezTo>
                    <a:pt x="125214" y="54577"/>
                    <a:pt x="125310" y="57501"/>
                    <a:pt x="125119" y="60406"/>
                  </a:cubicBezTo>
                  <a:close/>
                </a:path>
              </a:pathLst>
            </a:custGeom>
            <a:solidFill>
              <a:srgbClr val="000000"/>
            </a:solidFill>
            <a:ln w="9525" cap="flat">
              <a:noFill/>
              <a:prstDash val="solid"/>
              <a:miter/>
            </a:ln>
          </p:spPr>
          <p:txBody>
            <a:bodyPr rtlCol="0" anchor="ctr"/>
            <a:lstStyle/>
            <a:p>
              <a:endParaRPr lang="de-DE"/>
            </a:p>
          </p:txBody>
        </p:sp>
        <p:sp>
          <p:nvSpPr>
            <p:cNvPr id="70" name="Grafik 2">
              <a:extLst>
                <a:ext uri="{FF2B5EF4-FFF2-40B4-BE49-F238E27FC236}">
                  <a16:creationId xmlns:a16="http://schemas.microsoft.com/office/drawing/2014/main" id="{DB3A081C-F5CB-45FD-9CC5-6D42EF49CBB1}"/>
                </a:ext>
              </a:extLst>
            </p:cNvPr>
            <p:cNvSpPr/>
            <p:nvPr/>
          </p:nvSpPr>
          <p:spPr bwMode="gray">
            <a:xfrm>
              <a:off x="10575511" y="1292751"/>
              <a:ext cx="125500" cy="125165"/>
            </a:xfrm>
            <a:custGeom>
              <a:avLst/>
              <a:gdLst>
                <a:gd name="connsiteX0" fmla="*/ 124824 w 125500"/>
                <a:gd name="connsiteY0" fmla="*/ 62333 h 125165"/>
                <a:gd name="connsiteX1" fmla="*/ 63864 w 125500"/>
                <a:gd name="connsiteY1" fmla="*/ 124913 h 125165"/>
                <a:gd name="connsiteX2" fmla="*/ -430 w 125500"/>
                <a:gd name="connsiteY2" fmla="*/ 58238 h 125165"/>
                <a:gd name="connsiteX3" fmla="*/ 65007 w 125500"/>
                <a:gd name="connsiteY3" fmla="*/ -151 h 125165"/>
                <a:gd name="connsiteX4" fmla="*/ 125014 w 125500"/>
                <a:gd name="connsiteY4" fmla="*/ 53999 h 125165"/>
                <a:gd name="connsiteX5" fmla="*/ 124824 w 125500"/>
                <a:gd name="connsiteY5" fmla="*/ 62333 h 125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00" h="125165">
                  <a:moveTo>
                    <a:pt x="124824" y="62333"/>
                  </a:moveTo>
                  <a:cubicBezTo>
                    <a:pt x="123776" y="99862"/>
                    <a:pt x="98440" y="125865"/>
                    <a:pt x="63864" y="124913"/>
                  </a:cubicBezTo>
                  <a:cubicBezTo>
                    <a:pt x="28240" y="123112"/>
                    <a:pt x="46" y="93937"/>
                    <a:pt x="-430" y="58238"/>
                  </a:cubicBezTo>
                  <a:cubicBezTo>
                    <a:pt x="236" y="24043"/>
                    <a:pt x="28145" y="-437"/>
                    <a:pt x="65007" y="-151"/>
                  </a:cubicBezTo>
                  <a:cubicBezTo>
                    <a:pt x="96534" y="-1770"/>
                    <a:pt x="123395" y="22481"/>
                    <a:pt x="125014" y="53999"/>
                  </a:cubicBezTo>
                  <a:cubicBezTo>
                    <a:pt x="125109" y="56780"/>
                    <a:pt x="125109" y="59562"/>
                    <a:pt x="124824" y="62333"/>
                  </a:cubicBezTo>
                  <a:close/>
                </a:path>
              </a:pathLst>
            </a:custGeom>
            <a:solidFill>
              <a:srgbClr val="000000"/>
            </a:solidFill>
            <a:ln w="9525" cap="flat">
              <a:noFill/>
              <a:prstDash val="solid"/>
              <a:miter/>
            </a:ln>
          </p:spPr>
          <p:txBody>
            <a:bodyPr rtlCol="0" anchor="ctr"/>
            <a:lstStyle/>
            <a:p>
              <a:endParaRPr lang="de-DE"/>
            </a:p>
          </p:txBody>
        </p:sp>
        <p:sp>
          <p:nvSpPr>
            <p:cNvPr id="71" name="Grafik 2">
              <a:extLst>
                <a:ext uri="{FF2B5EF4-FFF2-40B4-BE49-F238E27FC236}">
                  <a16:creationId xmlns:a16="http://schemas.microsoft.com/office/drawing/2014/main" id="{CBA0C17E-D6C2-4991-939E-2544C0B830FA}"/>
                </a:ext>
              </a:extLst>
            </p:cNvPr>
            <p:cNvSpPr/>
            <p:nvPr/>
          </p:nvSpPr>
          <p:spPr bwMode="gray">
            <a:xfrm>
              <a:off x="9749408" y="466232"/>
              <a:ext cx="125576" cy="125752"/>
            </a:xfrm>
            <a:custGeom>
              <a:avLst/>
              <a:gdLst>
                <a:gd name="connsiteX0" fmla="*/ 64530 w 125576"/>
                <a:gd name="connsiteY0" fmla="*/ 125519 h 125752"/>
                <a:gd name="connsiteX1" fmla="*/ -430 w 125576"/>
                <a:gd name="connsiteY1" fmla="*/ 58844 h 125752"/>
                <a:gd name="connsiteX2" fmla="*/ 64435 w 125576"/>
                <a:gd name="connsiteY2" fmla="*/ -116 h 125752"/>
                <a:gd name="connsiteX3" fmla="*/ 125014 w 125576"/>
                <a:gd name="connsiteY3" fmla="*/ 53386 h 125752"/>
                <a:gd name="connsiteX4" fmla="*/ 124918 w 125576"/>
                <a:gd name="connsiteY4" fmla="*/ 61797 h 125752"/>
                <a:gd name="connsiteX5" fmla="*/ 64530 w 125576"/>
                <a:gd name="connsiteY5" fmla="*/ 125519 h 125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76" h="125752">
                  <a:moveTo>
                    <a:pt x="64530" y="125519"/>
                  </a:moveTo>
                  <a:cubicBezTo>
                    <a:pt x="28716" y="123871"/>
                    <a:pt x="236" y="94705"/>
                    <a:pt x="-430" y="58844"/>
                  </a:cubicBezTo>
                  <a:cubicBezTo>
                    <a:pt x="-430" y="24554"/>
                    <a:pt x="27002" y="-116"/>
                    <a:pt x="64435" y="-116"/>
                  </a:cubicBezTo>
                  <a:cubicBezTo>
                    <a:pt x="95963" y="-2069"/>
                    <a:pt x="123014" y="21877"/>
                    <a:pt x="125014" y="53386"/>
                  </a:cubicBezTo>
                  <a:cubicBezTo>
                    <a:pt x="125204" y="56186"/>
                    <a:pt x="125204" y="58996"/>
                    <a:pt x="124918" y="61797"/>
                  </a:cubicBezTo>
                  <a:cubicBezTo>
                    <a:pt x="124157" y="99611"/>
                    <a:pt x="99010" y="125995"/>
                    <a:pt x="64530" y="125519"/>
                  </a:cubicBezTo>
                  <a:close/>
                </a:path>
              </a:pathLst>
            </a:custGeom>
            <a:solidFill>
              <a:srgbClr val="000000"/>
            </a:solidFill>
            <a:ln w="9525" cap="flat">
              <a:noFill/>
              <a:prstDash val="solid"/>
              <a:miter/>
            </a:ln>
          </p:spPr>
          <p:txBody>
            <a:bodyPr rtlCol="0" anchor="ctr"/>
            <a:lstStyle/>
            <a:p>
              <a:endParaRPr lang="de-DE"/>
            </a:p>
          </p:txBody>
        </p:sp>
        <p:sp>
          <p:nvSpPr>
            <p:cNvPr id="72" name="Grafik 2">
              <a:extLst>
                <a:ext uri="{FF2B5EF4-FFF2-40B4-BE49-F238E27FC236}">
                  <a16:creationId xmlns:a16="http://schemas.microsoft.com/office/drawing/2014/main" id="{5D1DCEBF-85FF-4E6F-BB7E-1E1924FB7E91}"/>
                </a:ext>
              </a:extLst>
            </p:cNvPr>
            <p:cNvSpPr/>
            <p:nvPr/>
          </p:nvSpPr>
          <p:spPr bwMode="gray">
            <a:xfrm>
              <a:off x="10162505" y="466550"/>
              <a:ext cx="125398" cy="125428"/>
            </a:xfrm>
            <a:custGeom>
              <a:avLst/>
              <a:gdLst>
                <a:gd name="connsiteX0" fmla="*/ 63389 w 125398"/>
                <a:gd name="connsiteY0" fmla="*/ -52 h 125428"/>
                <a:gd name="connsiteX1" fmla="*/ 124826 w 125398"/>
                <a:gd name="connsiteY1" fmla="*/ 52497 h 125428"/>
                <a:gd name="connsiteX2" fmla="*/ 124826 w 125398"/>
                <a:gd name="connsiteY2" fmla="*/ 60907 h 125428"/>
                <a:gd name="connsiteX3" fmla="*/ 65389 w 125398"/>
                <a:gd name="connsiteY3" fmla="*/ 125201 h 125428"/>
                <a:gd name="connsiteX4" fmla="*/ -428 w 125398"/>
                <a:gd name="connsiteY4" fmla="*/ 59860 h 125428"/>
                <a:gd name="connsiteX5" fmla="*/ 63389 w 125398"/>
                <a:gd name="connsiteY5" fmla="*/ -52 h 125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98" h="125428">
                  <a:moveTo>
                    <a:pt x="63389" y="-52"/>
                  </a:moveTo>
                  <a:cubicBezTo>
                    <a:pt x="94822" y="-2500"/>
                    <a:pt x="122350" y="21036"/>
                    <a:pt x="124826" y="52497"/>
                  </a:cubicBezTo>
                  <a:cubicBezTo>
                    <a:pt x="125016" y="55297"/>
                    <a:pt x="125016" y="58107"/>
                    <a:pt x="124826" y="60907"/>
                  </a:cubicBezTo>
                  <a:cubicBezTo>
                    <a:pt x="124826" y="98341"/>
                    <a:pt x="99775" y="125201"/>
                    <a:pt x="65389" y="125201"/>
                  </a:cubicBezTo>
                  <a:cubicBezTo>
                    <a:pt x="29670" y="124125"/>
                    <a:pt x="906" y="95560"/>
                    <a:pt x="-428" y="59860"/>
                  </a:cubicBezTo>
                  <a:cubicBezTo>
                    <a:pt x="-714" y="25094"/>
                    <a:pt x="25957" y="424"/>
                    <a:pt x="63389" y="-52"/>
                  </a:cubicBezTo>
                  <a:close/>
                </a:path>
              </a:pathLst>
            </a:custGeom>
            <a:solidFill>
              <a:srgbClr val="000000"/>
            </a:solidFill>
            <a:ln w="9525" cap="flat">
              <a:noFill/>
              <a:prstDash val="solid"/>
              <a:miter/>
            </a:ln>
          </p:spPr>
          <p:txBody>
            <a:bodyPr rtlCol="0" anchor="ctr"/>
            <a:lstStyle/>
            <a:p>
              <a:endParaRPr lang="de-DE"/>
            </a:p>
          </p:txBody>
        </p:sp>
        <p:sp>
          <p:nvSpPr>
            <p:cNvPr id="73" name="Grafik 2">
              <a:extLst>
                <a:ext uri="{FF2B5EF4-FFF2-40B4-BE49-F238E27FC236}">
                  <a16:creationId xmlns:a16="http://schemas.microsoft.com/office/drawing/2014/main" id="{4AA46B2D-D9DF-4CA6-8333-2A32242CAC43}"/>
                </a:ext>
              </a:extLst>
            </p:cNvPr>
            <p:cNvSpPr/>
            <p:nvPr/>
          </p:nvSpPr>
          <p:spPr bwMode="gray">
            <a:xfrm>
              <a:off x="10368715" y="466480"/>
              <a:ext cx="125651" cy="125498"/>
            </a:xfrm>
            <a:custGeom>
              <a:avLst/>
              <a:gdLst>
                <a:gd name="connsiteX0" fmla="*/ 125118 w 125651"/>
                <a:gd name="connsiteY0" fmla="*/ 60406 h 125498"/>
                <a:gd name="connsiteX1" fmla="*/ 66254 w 125651"/>
                <a:gd name="connsiteY1" fmla="*/ 125271 h 125498"/>
                <a:gd name="connsiteX2" fmla="*/ -421 w 125651"/>
                <a:gd name="connsiteY2" fmla="*/ 60501 h 125498"/>
                <a:gd name="connsiteX3" fmla="*/ 62824 w 125651"/>
                <a:gd name="connsiteY3" fmla="*/ 17 h 125498"/>
                <a:gd name="connsiteX4" fmla="*/ 125023 w 125651"/>
                <a:gd name="connsiteY4" fmla="*/ 51672 h 125498"/>
                <a:gd name="connsiteX5" fmla="*/ 125118 w 125651"/>
                <a:gd name="connsiteY5" fmla="*/ 60406 h 12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51" h="125498">
                  <a:moveTo>
                    <a:pt x="125118" y="60406"/>
                  </a:moveTo>
                  <a:cubicBezTo>
                    <a:pt x="125118" y="97744"/>
                    <a:pt x="100544" y="124986"/>
                    <a:pt x="66254" y="125271"/>
                  </a:cubicBezTo>
                  <a:cubicBezTo>
                    <a:pt x="30440" y="124652"/>
                    <a:pt x="1198" y="96306"/>
                    <a:pt x="-421" y="60501"/>
                  </a:cubicBezTo>
                  <a:cubicBezTo>
                    <a:pt x="-993" y="26021"/>
                    <a:pt x="25296" y="779"/>
                    <a:pt x="62824" y="17"/>
                  </a:cubicBezTo>
                  <a:cubicBezTo>
                    <a:pt x="94257" y="-2878"/>
                    <a:pt x="122071" y="20248"/>
                    <a:pt x="125023" y="51672"/>
                  </a:cubicBezTo>
                  <a:cubicBezTo>
                    <a:pt x="125213" y="54577"/>
                    <a:pt x="125309" y="57501"/>
                    <a:pt x="125118" y="60406"/>
                  </a:cubicBezTo>
                  <a:close/>
                </a:path>
              </a:pathLst>
            </a:custGeom>
            <a:solidFill>
              <a:srgbClr val="000000"/>
            </a:solidFill>
            <a:ln w="9525" cap="flat">
              <a:noFill/>
              <a:prstDash val="solid"/>
              <a:miter/>
            </a:ln>
          </p:spPr>
          <p:txBody>
            <a:bodyPr rtlCol="0" anchor="ctr"/>
            <a:lstStyle/>
            <a:p>
              <a:endParaRPr lang="de-DE"/>
            </a:p>
          </p:txBody>
        </p:sp>
        <p:sp>
          <p:nvSpPr>
            <p:cNvPr id="74" name="Grafik 2">
              <a:extLst>
                <a:ext uri="{FF2B5EF4-FFF2-40B4-BE49-F238E27FC236}">
                  <a16:creationId xmlns:a16="http://schemas.microsoft.com/office/drawing/2014/main" id="{866B8682-3DDB-4B64-A41B-24FA925445B0}"/>
                </a:ext>
              </a:extLst>
            </p:cNvPr>
            <p:cNvSpPr/>
            <p:nvPr/>
          </p:nvSpPr>
          <p:spPr bwMode="gray">
            <a:xfrm>
              <a:off x="10575511" y="466543"/>
              <a:ext cx="125396" cy="125435"/>
            </a:xfrm>
            <a:custGeom>
              <a:avLst/>
              <a:gdLst>
                <a:gd name="connsiteX0" fmla="*/ 124824 w 125396"/>
                <a:gd name="connsiteY0" fmla="*/ 60819 h 125435"/>
                <a:gd name="connsiteX1" fmla="*/ 65482 w 125396"/>
                <a:gd name="connsiteY1" fmla="*/ 125208 h 125435"/>
                <a:gd name="connsiteX2" fmla="*/ -430 w 125396"/>
                <a:gd name="connsiteY2" fmla="*/ 59867 h 125435"/>
                <a:gd name="connsiteX3" fmla="*/ 63292 w 125396"/>
                <a:gd name="connsiteY3" fmla="*/ -46 h 125435"/>
                <a:gd name="connsiteX4" fmla="*/ 124824 w 125396"/>
                <a:gd name="connsiteY4" fmla="*/ 52409 h 125435"/>
                <a:gd name="connsiteX5" fmla="*/ 124824 w 125396"/>
                <a:gd name="connsiteY5" fmla="*/ 60819 h 125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96" h="125435">
                  <a:moveTo>
                    <a:pt x="124824" y="60819"/>
                  </a:moveTo>
                  <a:cubicBezTo>
                    <a:pt x="124824" y="98348"/>
                    <a:pt x="99869" y="125208"/>
                    <a:pt x="65482" y="125208"/>
                  </a:cubicBezTo>
                  <a:cubicBezTo>
                    <a:pt x="29764" y="124180"/>
                    <a:pt x="904" y="95605"/>
                    <a:pt x="-430" y="59867"/>
                  </a:cubicBezTo>
                  <a:cubicBezTo>
                    <a:pt x="-430" y="25481"/>
                    <a:pt x="25859" y="431"/>
                    <a:pt x="63292" y="-46"/>
                  </a:cubicBezTo>
                  <a:cubicBezTo>
                    <a:pt x="94725" y="-2541"/>
                    <a:pt x="122252" y="20947"/>
                    <a:pt x="124824" y="52409"/>
                  </a:cubicBezTo>
                  <a:cubicBezTo>
                    <a:pt x="125014" y="55209"/>
                    <a:pt x="125014" y="58019"/>
                    <a:pt x="124824" y="60819"/>
                  </a:cubicBezTo>
                  <a:close/>
                </a:path>
              </a:pathLst>
            </a:custGeom>
            <a:solidFill>
              <a:srgbClr val="000000"/>
            </a:solidFill>
            <a:ln w="9525" cap="flat">
              <a:noFill/>
              <a:prstDash val="solid"/>
              <a:miter/>
            </a:ln>
          </p:spPr>
          <p:txBody>
            <a:bodyPr rtlCol="0" anchor="ctr"/>
            <a:lstStyle/>
            <a:p>
              <a:endParaRPr lang="de-DE"/>
            </a:p>
          </p:txBody>
        </p:sp>
        <p:sp>
          <p:nvSpPr>
            <p:cNvPr id="75" name="Grafik 2">
              <a:extLst>
                <a:ext uri="{FF2B5EF4-FFF2-40B4-BE49-F238E27FC236}">
                  <a16:creationId xmlns:a16="http://schemas.microsoft.com/office/drawing/2014/main" id="{2C6A2170-C2D1-4BD8-9CE3-DEB153B4D30B}"/>
                </a:ext>
              </a:extLst>
            </p:cNvPr>
            <p:cNvSpPr/>
            <p:nvPr/>
          </p:nvSpPr>
          <p:spPr bwMode="gray">
            <a:xfrm>
              <a:off x="10369360" y="879564"/>
              <a:ext cx="125055" cy="125513"/>
            </a:xfrm>
            <a:custGeom>
              <a:avLst/>
              <a:gdLst>
                <a:gd name="connsiteX0" fmla="*/ 124569 w 125055"/>
                <a:gd name="connsiteY0" fmla="*/ 59754 h 125513"/>
                <a:gd name="connsiteX1" fmla="*/ 66276 w 125055"/>
                <a:gd name="connsiteY1" fmla="*/ 125286 h 125513"/>
                <a:gd name="connsiteX2" fmla="*/ -399 w 125055"/>
                <a:gd name="connsiteY2" fmla="*/ 61087 h 125513"/>
                <a:gd name="connsiteX3" fmla="*/ 62084 w 125055"/>
                <a:gd name="connsiteY3" fmla="*/ 32 h 125513"/>
                <a:gd name="connsiteX4" fmla="*/ 124378 w 125055"/>
                <a:gd name="connsiteY4" fmla="*/ 51524 h 125513"/>
                <a:gd name="connsiteX5" fmla="*/ 124569 w 125055"/>
                <a:gd name="connsiteY5" fmla="*/ 59754 h 12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055" h="125513">
                  <a:moveTo>
                    <a:pt x="124569" y="59754"/>
                  </a:moveTo>
                  <a:cubicBezTo>
                    <a:pt x="124569" y="97092"/>
                    <a:pt x="100470" y="124619"/>
                    <a:pt x="66276" y="125286"/>
                  </a:cubicBezTo>
                  <a:cubicBezTo>
                    <a:pt x="30652" y="124686"/>
                    <a:pt x="1505" y="96663"/>
                    <a:pt x="-399" y="61087"/>
                  </a:cubicBezTo>
                  <a:cubicBezTo>
                    <a:pt x="-1447" y="26512"/>
                    <a:pt x="24556" y="1080"/>
                    <a:pt x="62084" y="32"/>
                  </a:cubicBezTo>
                  <a:cubicBezTo>
                    <a:pt x="93517" y="-2949"/>
                    <a:pt x="121426" y="20101"/>
                    <a:pt x="124378" y="51524"/>
                  </a:cubicBezTo>
                  <a:cubicBezTo>
                    <a:pt x="124664" y="54258"/>
                    <a:pt x="124664" y="57011"/>
                    <a:pt x="124569" y="59754"/>
                  </a:cubicBezTo>
                  <a:close/>
                </a:path>
              </a:pathLst>
            </a:custGeom>
            <a:solidFill>
              <a:srgbClr val="000000"/>
            </a:solidFill>
            <a:ln w="9525" cap="flat">
              <a:noFill/>
              <a:prstDash val="solid"/>
              <a:miter/>
            </a:ln>
          </p:spPr>
          <p:txBody>
            <a:bodyPr rtlCol="0" anchor="ctr"/>
            <a:lstStyle/>
            <a:p>
              <a:endParaRPr lang="de-DE"/>
            </a:p>
          </p:txBody>
        </p:sp>
        <p:sp>
          <p:nvSpPr>
            <p:cNvPr id="76" name="Grafik 2">
              <a:extLst>
                <a:ext uri="{FF2B5EF4-FFF2-40B4-BE49-F238E27FC236}">
                  <a16:creationId xmlns:a16="http://schemas.microsoft.com/office/drawing/2014/main" id="{417D9B84-F7C5-4444-9C33-1DAD8BE45273}"/>
                </a:ext>
              </a:extLst>
            </p:cNvPr>
            <p:cNvSpPr/>
            <p:nvPr/>
          </p:nvSpPr>
          <p:spPr bwMode="gray">
            <a:xfrm>
              <a:off x="9542906" y="672734"/>
              <a:ext cx="125577" cy="125752"/>
            </a:xfrm>
            <a:custGeom>
              <a:avLst/>
              <a:gdLst>
                <a:gd name="connsiteX0" fmla="*/ 64531 w 125577"/>
                <a:gd name="connsiteY0" fmla="*/ 125519 h 125752"/>
                <a:gd name="connsiteX1" fmla="*/ -430 w 125577"/>
                <a:gd name="connsiteY1" fmla="*/ 58844 h 125752"/>
                <a:gd name="connsiteX2" fmla="*/ 64436 w 125577"/>
                <a:gd name="connsiteY2" fmla="*/ -116 h 125752"/>
                <a:gd name="connsiteX3" fmla="*/ 125015 w 125577"/>
                <a:gd name="connsiteY3" fmla="*/ 53386 h 125752"/>
                <a:gd name="connsiteX4" fmla="*/ 124919 w 125577"/>
                <a:gd name="connsiteY4" fmla="*/ 61797 h 125752"/>
                <a:gd name="connsiteX5" fmla="*/ 64531 w 125577"/>
                <a:gd name="connsiteY5" fmla="*/ 125519 h 125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77" h="125752">
                  <a:moveTo>
                    <a:pt x="64531" y="125519"/>
                  </a:moveTo>
                  <a:cubicBezTo>
                    <a:pt x="28717" y="123919"/>
                    <a:pt x="237" y="94724"/>
                    <a:pt x="-430" y="58844"/>
                  </a:cubicBezTo>
                  <a:cubicBezTo>
                    <a:pt x="-430" y="24554"/>
                    <a:pt x="27002" y="-116"/>
                    <a:pt x="64436" y="-116"/>
                  </a:cubicBezTo>
                  <a:cubicBezTo>
                    <a:pt x="95963" y="-2068"/>
                    <a:pt x="123014" y="21877"/>
                    <a:pt x="125015" y="53386"/>
                  </a:cubicBezTo>
                  <a:cubicBezTo>
                    <a:pt x="125205" y="56186"/>
                    <a:pt x="125205" y="58996"/>
                    <a:pt x="124919" y="61797"/>
                  </a:cubicBezTo>
                  <a:cubicBezTo>
                    <a:pt x="124157" y="99611"/>
                    <a:pt x="99012" y="125995"/>
                    <a:pt x="64531" y="125519"/>
                  </a:cubicBezTo>
                  <a:close/>
                </a:path>
              </a:pathLst>
            </a:custGeom>
            <a:solidFill>
              <a:srgbClr val="000000"/>
            </a:solidFill>
            <a:ln w="9525" cap="flat">
              <a:noFill/>
              <a:prstDash val="solid"/>
              <a:miter/>
            </a:ln>
          </p:spPr>
          <p:txBody>
            <a:bodyPr rtlCol="0" anchor="ctr"/>
            <a:lstStyle/>
            <a:p>
              <a:endParaRPr lang="de-DE"/>
            </a:p>
          </p:txBody>
        </p:sp>
        <p:sp>
          <p:nvSpPr>
            <p:cNvPr id="77" name="Grafik 2">
              <a:extLst>
                <a:ext uri="{FF2B5EF4-FFF2-40B4-BE49-F238E27FC236}">
                  <a16:creationId xmlns:a16="http://schemas.microsoft.com/office/drawing/2014/main" id="{3E8DB20D-3EFB-43B8-A028-1106261BBA25}"/>
                </a:ext>
              </a:extLst>
            </p:cNvPr>
            <p:cNvSpPr/>
            <p:nvPr/>
          </p:nvSpPr>
          <p:spPr bwMode="gray">
            <a:xfrm>
              <a:off x="9749597" y="673199"/>
              <a:ext cx="125148" cy="125250"/>
            </a:xfrm>
            <a:custGeom>
              <a:avLst/>
              <a:gdLst>
                <a:gd name="connsiteX0" fmla="*/ 124634 w 125148"/>
                <a:gd name="connsiteY0" fmla="*/ 63522 h 125250"/>
                <a:gd name="connsiteX1" fmla="*/ 62628 w 125148"/>
                <a:gd name="connsiteY1" fmla="*/ 124958 h 125250"/>
                <a:gd name="connsiteX2" fmla="*/ -428 w 125148"/>
                <a:gd name="connsiteY2" fmla="*/ 56950 h 125250"/>
                <a:gd name="connsiteX3" fmla="*/ 66247 w 125148"/>
                <a:gd name="connsiteY3" fmla="*/ -200 h 125250"/>
                <a:gd name="connsiteX4" fmla="*/ 124634 w 125148"/>
                <a:gd name="connsiteY4" fmla="*/ 63522 h 12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148" h="125250">
                  <a:moveTo>
                    <a:pt x="124634" y="63522"/>
                  </a:moveTo>
                  <a:cubicBezTo>
                    <a:pt x="123111" y="100860"/>
                    <a:pt x="97203" y="126483"/>
                    <a:pt x="62628" y="124958"/>
                  </a:cubicBezTo>
                  <a:cubicBezTo>
                    <a:pt x="26909" y="122539"/>
                    <a:pt x="-714" y="92735"/>
                    <a:pt x="-428" y="56950"/>
                  </a:cubicBezTo>
                  <a:cubicBezTo>
                    <a:pt x="905" y="22755"/>
                    <a:pt x="28147" y="-1152"/>
                    <a:pt x="66247" y="-200"/>
                  </a:cubicBezTo>
                  <a:cubicBezTo>
                    <a:pt x="104347" y="753"/>
                    <a:pt x="126254" y="26280"/>
                    <a:pt x="124634" y="63522"/>
                  </a:cubicBezTo>
                  <a:close/>
                </a:path>
              </a:pathLst>
            </a:custGeom>
            <a:solidFill>
              <a:srgbClr val="000000"/>
            </a:solidFill>
            <a:ln w="9525" cap="flat">
              <a:noFill/>
              <a:prstDash val="solid"/>
              <a:miter/>
            </a:ln>
          </p:spPr>
          <p:txBody>
            <a:bodyPr rtlCol="0" anchor="ctr"/>
            <a:lstStyle/>
            <a:p>
              <a:endParaRPr lang="de-DE"/>
            </a:p>
          </p:txBody>
        </p:sp>
        <p:sp>
          <p:nvSpPr>
            <p:cNvPr id="78" name="Grafik 2">
              <a:extLst>
                <a:ext uri="{FF2B5EF4-FFF2-40B4-BE49-F238E27FC236}">
                  <a16:creationId xmlns:a16="http://schemas.microsoft.com/office/drawing/2014/main" id="{7927F4BD-E8CC-4145-B3E2-4077F2E0B9C7}"/>
                </a:ext>
              </a:extLst>
            </p:cNvPr>
            <p:cNvSpPr/>
            <p:nvPr/>
          </p:nvSpPr>
          <p:spPr bwMode="gray">
            <a:xfrm>
              <a:off x="9956005" y="673075"/>
              <a:ext cx="125480" cy="125345"/>
            </a:xfrm>
            <a:custGeom>
              <a:avLst/>
              <a:gdLst>
                <a:gd name="connsiteX0" fmla="*/ 63388 w 125480"/>
                <a:gd name="connsiteY0" fmla="*/ 125082 h 125345"/>
                <a:gd name="connsiteX1" fmla="*/ -430 w 125480"/>
                <a:gd name="connsiteY1" fmla="*/ 57740 h 125345"/>
                <a:gd name="connsiteX2" fmla="*/ 65388 w 125480"/>
                <a:gd name="connsiteY2" fmla="*/ -172 h 125345"/>
                <a:gd name="connsiteX3" fmla="*/ 125015 w 125480"/>
                <a:gd name="connsiteY3" fmla="*/ 54426 h 125345"/>
                <a:gd name="connsiteX4" fmla="*/ 124729 w 125480"/>
                <a:gd name="connsiteY4" fmla="*/ 62884 h 125345"/>
                <a:gd name="connsiteX5" fmla="*/ 63388 w 125480"/>
                <a:gd name="connsiteY5" fmla="*/ 125082 h 12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480" h="125345">
                  <a:moveTo>
                    <a:pt x="63388" y="125082"/>
                  </a:moveTo>
                  <a:cubicBezTo>
                    <a:pt x="27669" y="123015"/>
                    <a:pt x="-335" y="93526"/>
                    <a:pt x="-430" y="57740"/>
                  </a:cubicBezTo>
                  <a:cubicBezTo>
                    <a:pt x="522" y="23641"/>
                    <a:pt x="28145" y="-648"/>
                    <a:pt x="65388" y="-172"/>
                  </a:cubicBezTo>
                  <a:cubicBezTo>
                    <a:pt x="96915" y="-1553"/>
                    <a:pt x="123586" y="22888"/>
                    <a:pt x="125015" y="54426"/>
                  </a:cubicBezTo>
                  <a:cubicBezTo>
                    <a:pt x="125110" y="57245"/>
                    <a:pt x="125015" y="60074"/>
                    <a:pt x="124729" y="62884"/>
                  </a:cubicBezTo>
                  <a:cubicBezTo>
                    <a:pt x="123490" y="100317"/>
                    <a:pt x="97869" y="126225"/>
                    <a:pt x="63388" y="125082"/>
                  </a:cubicBezTo>
                  <a:close/>
                </a:path>
              </a:pathLst>
            </a:custGeom>
            <a:solidFill>
              <a:srgbClr val="000000"/>
            </a:solidFill>
            <a:ln w="9525" cap="flat">
              <a:noFill/>
              <a:prstDash val="solid"/>
              <a:miter/>
            </a:ln>
          </p:spPr>
          <p:txBody>
            <a:bodyPr rtlCol="0" anchor="ctr"/>
            <a:lstStyle/>
            <a:p>
              <a:endParaRPr lang="de-DE"/>
            </a:p>
          </p:txBody>
        </p:sp>
        <p:sp>
          <p:nvSpPr>
            <p:cNvPr id="79" name="Grafik 2">
              <a:extLst>
                <a:ext uri="{FF2B5EF4-FFF2-40B4-BE49-F238E27FC236}">
                  <a16:creationId xmlns:a16="http://schemas.microsoft.com/office/drawing/2014/main" id="{07A05B8A-1CDC-4F74-BD44-A8A38C3BC5EE}"/>
                </a:ext>
              </a:extLst>
            </p:cNvPr>
            <p:cNvSpPr/>
            <p:nvPr/>
          </p:nvSpPr>
          <p:spPr bwMode="gray">
            <a:xfrm>
              <a:off x="10162495" y="672983"/>
              <a:ext cx="125364" cy="125496"/>
            </a:xfrm>
            <a:custGeom>
              <a:avLst/>
              <a:gdLst>
                <a:gd name="connsiteX0" fmla="*/ 124836 w 125364"/>
                <a:gd name="connsiteY0" fmla="*/ 60119 h 125496"/>
                <a:gd name="connsiteX1" fmla="*/ 66257 w 125364"/>
                <a:gd name="connsiteY1" fmla="*/ 125270 h 125496"/>
                <a:gd name="connsiteX2" fmla="*/ -418 w 125364"/>
                <a:gd name="connsiteY2" fmla="*/ 60690 h 125496"/>
                <a:gd name="connsiteX3" fmla="*/ 62543 w 125364"/>
                <a:gd name="connsiteY3" fmla="*/ 16 h 125496"/>
                <a:gd name="connsiteX4" fmla="*/ 124646 w 125364"/>
                <a:gd name="connsiteY4" fmla="*/ 51689 h 125496"/>
                <a:gd name="connsiteX5" fmla="*/ 124836 w 125364"/>
                <a:gd name="connsiteY5" fmla="*/ 60119 h 125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64" h="125496">
                  <a:moveTo>
                    <a:pt x="124836" y="60119"/>
                  </a:moveTo>
                  <a:cubicBezTo>
                    <a:pt x="124836" y="97456"/>
                    <a:pt x="100452" y="124793"/>
                    <a:pt x="66257" y="125270"/>
                  </a:cubicBezTo>
                  <a:cubicBezTo>
                    <a:pt x="30539" y="124612"/>
                    <a:pt x="1392" y="96399"/>
                    <a:pt x="-418" y="60690"/>
                  </a:cubicBezTo>
                  <a:cubicBezTo>
                    <a:pt x="-1085" y="26210"/>
                    <a:pt x="25109" y="873"/>
                    <a:pt x="62543" y="16"/>
                  </a:cubicBezTo>
                  <a:cubicBezTo>
                    <a:pt x="93974" y="-2870"/>
                    <a:pt x="121788" y="20266"/>
                    <a:pt x="124646" y="51689"/>
                  </a:cubicBezTo>
                  <a:cubicBezTo>
                    <a:pt x="124931" y="54489"/>
                    <a:pt x="125026" y="57309"/>
                    <a:pt x="124836" y="60119"/>
                  </a:cubicBezTo>
                  <a:close/>
                </a:path>
              </a:pathLst>
            </a:custGeom>
            <a:solidFill>
              <a:srgbClr val="000000"/>
            </a:solidFill>
            <a:ln w="9525" cap="flat">
              <a:noFill/>
              <a:prstDash val="solid"/>
              <a:miter/>
            </a:ln>
          </p:spPr>
          <p:txBody>
            <a:bodyPr rtlCol="0" anchor="ctr"/>
            <a:lstStyle/>
            <a:p>
              <a:endParaRPr lang="de-DE"/>
            </a:p>
          </p:txBody>
        </p:sp>
        <p:sp>
          <p:nvSpPr>
            <p:cNvPr id="80" name="Grafik 2">
              <a:extLst>
                <a:ext uri="{FF2B5EF4-FFF2-40B4-BE49-F238E27FC236}">
                  <a16:creationId xmlns:a16="http://schemas.microsoft.com/office/drawing/2014/main" id="{8FBC337F-CB0A-4807-9E2B-3F931FBA25E8}"/>
                </a:ext>
              </a:extLst>
            </p:cNvPr>
            <p:cNvSpPr/>
            <p:nvPr/>
          </p:nvSpPr>
          <p:spPr bwMode="gray">
            <a:xfrm>
              <a:off x="10368715" y="672982"/>
              <a:ext cx="125651" cy="125498"/>
            </a:xfrm>
            <a:custGeom>
              <a:avLst/>
              <a:gdLst>
                <a:gd name="connsiteX0" fmla="*/ 125118 w 125651"/>
                <a:gd name="connsiteY0" fmla="*/ 60406 h 125498"/>
                <a:gd name="connsiteX1" fmla="*/ 66254 w 125651"/>
                <a:gd name="connsiteY1" fmla="*/ 125271 h 125498"/>
                <a:gd name="connsiteX2" fmla="*/ -421 w 125651"/>
                <a:gd name="connsiteY2" fmla="*/ 60406 h 125498"/>
                <a:gd name="connsiteX3" fmla="*/ 62824 w 125651"/>
                <a:gd name="connsiteY3" fmla="*/ 17 h 125498"/>
                <a:gd name="connsiteX4" fmla="*/ 125023 w 125651"/>
                <a:gd name="connsiteY4" fmla="*/ 51681 h 125498"/>
                <a:gd name="connsiteX5" fmla="*/ 125118 w 125651"/>
                <a:gd name="connsiteY5" fmla="*/ 60406 h 12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51" h="125498">
                  <a:moveTo>
                    <a:pt x="125118" y="60406"/>
                  </a:moveTo>
                  <a:cubicBezTo>
                    <a:pt x="125118" y="97744"/>
                    <a:pt x="100449" y="124985"/>
                    <a:pt x="66254" y="125271"/>
                  </a:cubicBezTo>
                  <a:cubicBezTo>
                    <a:pt x="30345" y="124652"/>
                    <a:pt x="1198" y="96249"/>
                    <a:pt x="-421" y="60406"/>
                  </a:cubicBezTo>
                  <a:cubicBezTo>
                    <a:pt x="-993" y="25925"/>
                    <a:pt x="25392" y="779"/>
                    <a:pt x="62824" y="17"/>
                  </a:cubicBezTo>
                  <a:cubicBezTo>
                    <a:pt x="94257" y="-2878"/>
                    <a:pt x="122071" y="20248"/>
                    <a:pt x="125023" y="51681"/>
                  </a:cubicBezTo>
                  <a:cubicBezTo>
                    <a:pt x="125213" y="54577"/>
                    <a:pt x="125309" y="57501"/>
                    <a:pt x="125118" y="60406"/>
                  </a:cubicBezTo>
                  <a:close/>
                </a:path>
              </a:pathLst>
            </a:custGeom>
            <a:solidFill>
              <a:srgbClr val="000000"/>
            </a:solidFill>
            <a:ln w="9525" cap="flat">
              <a:noFill/>
              <a:prstDash val="solid"/>
              <a:miter/>
            </a:ln>
          </p:spPr>
          <p:txBody>
            <a:bodyPr rtlCol="0" anchor="ctr"/>
            <a:lstStyle/>
            <a:p>
              <a:endParaRPr lang="de-DE"/>
            </a:p>
          </p:txBody>
        </p:sp>
        <p:sp>
          <p:nvSpPr>
            <p:cNvPr id="81" name="Grafik 2">
              <a:extLst>
                <a:ext uri="{FF2B5EF4-FFF2-40B4-BE49-F238E27FC236}">
                  <a16:creationId xmlns:a16="http://schemas.microsoft.com/office/drawing/2014/main" id="{A3C4C27D-28A5-46A7-9F16-FE409A184C23}"/>
                </a:ext>
              </a:extLst>
            </p:cNvPr>
            <p:cNvSpPr/>
            <p:nvPr/>
          </p:nvSpPr>
          <p:spPr bwMode="gray">
            <a:xfrm>
              <a:off x="10368997" y="1292489"/>
              <a:ext cx="125365" cy="125497"/>
            </a:xfrm>
            <a:custGeom>
              <a:avLst/>
              <a:gdLst>
                <a:gd name="connsiteX0" fmla="*/ 124836 w 125365"/>
                <a:gd name="connsiteY0" fmla="*/ 60119 h 125497"/>
                <a:gd name="connsiteX1" fmla="*/ 66257 w 125365"/>
                <a:gd name="connsiteY1" fmla="*/ 125270 h 125497"/>
                <a:gd name="connsiteX2" fmla="*/ -418 w 125365"/>
                <a:gd name="connsiteY2" fmla="*/ 60690 h 125497"/>
                <a:gd name="connsiteX3" fmla="*/ 62543 w 125365"/>
                <a:gd name="connsiteY3" fmla="*/ 16 h 125497"/>
                <a:gd name="connsiteX4" fmla="*/ 124646 w 125365"/>
                <a:gd name="connsiteY4" fmla="*/ 51689 h 125497"/>
                <a:gd name="connsiteX5" fmla="*/ 124836 w 125365"/>
                <a:gd name="connsiteY5" fmla="*/ 60119 h 12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65" h="125497">
                  <a:moveTo>
                    <a:pt x="124836" y="60119"/>
                  </a:moveTo>
                  <a:cubicBezTo>
                    <a:pt x="124836" y="97457"/>
                    <a:pt x="100453" y="124793"/>
                    <a:pt x="66257" y="125270"/>
                  </a:cubicBezTo>
                  <a:cubicBezTo>
                    <a:pt x="30539" y="124613"/>
                    <a:pt x="1393" y="96399"/>
                    <a:pt x="-418" y="60690"/>
                  </a:cubicBezTo>
                  <a:cubicBezTo>
                    <a:pt x="-1084" y="26210"/>
                    <a:pt x="25110" y="968"/>
                    <a:pt x="62543" y="16"/>
                  </a:cubicBezTo>
                  <a:cubicBezTo>
                    <a:pt x="93976" y="-2870"/>
                    <a:pt x="121789" y="20266"/>
                    <a:pt x="124646" y="51689"/>
                  </a:cubicBezTo>
                  <a:cubicBezTo>
                    <a:pt x="124932" y="54489"/>
                    <a:pt x="125027" y="57309"/>
                    <a:pt x="124836" y="60119"/>
                  </a:cubicBezTo>
                  <a:close/>
                </a:path>
              </a:pathLst>
            </a:custGeom>
            <a:solidFill>
              <a:srgbClr val="000000"/>
            </a:solidFill>
            <a:ln w="9525" cap="flat">
              <a:noFill/>
              <a:prstDash val="solid"/>
              <a:miter/>
            </a:ln>
          </p:spPr>
          <p:txBody>
            <a:bodyPr rtlCol="0" anchor="ctr"/>
            <a:lstStyle/>
            <a:p>
              <a:endParaRPr lang="de-DE"/>
            </a:p>
          </p:txBody>
        </p:sp>
      </p:grpSp>
      <p:sp>
        <p:nvSpPr>
          <p:cNvPr id="82" name="Titel 1">
            <a:extLst>
              <a:ext uri="{FF2B5EF4-FFF2-40B4-BE49-F238E27FC236}">
                <a16:creationId xmlns:a16="http://schemas.microsoft.com/office/drawing/2014/main" id="{74A0353C-8AE3-462C-9DA7-DDA4ACD683A6}"/>
              </a:ext>
            </a:extLst>
          </p:cNvPr>
          <p:cNvSpPr>
            <a:spLocks noGrp="1"/>
          </p:cNvSpPr>
          <p:nvPr>
            <p:ph type="title" hasCustomPrompt="1"/>
          </p:nvPr>
        </p:nvSpPr>
        <p:spPr bwMode="gray">
          <a:xfrm>
            <a:off x="551384" y="1341438"/>
            <a:ext cx="3312000" cy="3888000"/>
          </a:xfrm>
        </p:spPr>
        <p:txBody>
          <a:bodyPr anchor="b"/>
          <a:lstStyle>
            <a:lvl1pPr>
              <a:defRPr sz="2600"/>
            </a:lvl1pPr>
          </a:lstStyle>
          <a:p>
            <a:pPr lvl="0"/>
            <a:r>
              <a:rPr lang="de-DE"/>
              <a:t>Kapitel-zusammenfassung</a:t>
            </a:r>
          </a:p>
        </p:txBody>
      </p:sp>
      <p:sp>
        <p:nvSpPr>
          <p:cNvPr id="83" name="Grafik 2">
            <a:extLst>
              <a:ext uri="{FF2B5EF4-FFF2-40B4-BE49-F238E27FC236}">
                <a16:creationId xmlns:a16="http://schemas.microsoft.com/office/drawing/2014/main" id="{C2B1D3A7-7C26-44CF-AA99-5F0868A310BC}"/>
              </a:ext>
            </a:extLst>
          </p:cNvPr>
          <p:cNvSpPr/>
          <p:nvPr userDrawn="1"/>
        </p:nvSpPr>
        <p:spPr bwMode="gray">
          <a:xfrm>
            <a:off x="1559496" y="5562054"/>
            <a:ext cx="674245" cy="675258"/>
          </a:xfrm>
          <a:custGeom>
            <a:avLst/>
            <a:gdLst>
              <a:gd name="connsiteX0" fmla="*/ 673200 w 674245"/>
              <a:gd name="connsiteY0" fmla="*/ 338487 h 675258"/>
              <a:gd name="connsiteX1" fmla="*/ 334205 w 674245"/>
              <a:gd name="connsiteY1" fmla="*/ 675006 h 675258"/>
              <a:gd name="connsiteX2" fmla="*/ -408 w 674245"/>
              <a:gd name="connsiteY2" fmla="*/ 340392 h 675258"/>
              <a:gd name="connsiteX3" fmla="*/ 340682 w 674245"/>
              <a:gd name="connsiteY3" fmla="*/ -222 h 675258"/>
              <a:gd name="connsiteX4" fmla="*/ 673200 w 674245"/>
              <a:gd name="connsiteY4" fmla="*/ 338487 h 675258"/>
              <a:gd name="connsiteX5" fmla="*/ 536707 w 674245"/>
              <a:gd name="connsiteY5" fmla="*/ 335535 h 675258"/>
              <a:gd name="connsiteX6" fmla="*/ 339349 w 674245"/>
              <a:gd name="connsiteY6" fmla="*/ 137224 h 675258"/>
              <a:gd name="connsiteX7" fmla="*/ 137800 w 674245"/>
              <a:gd name="connsiteY7" fmla="*/ 340392 h 675258"/>
              <a:gd name="connsiteX8" fmla="*/ 333729 w 674245"/>
              <a:gd name="connsiteY8" fmla="*/ 536703 h 675258"/>
              <a:gd name="connsiteX9" fmla="*/ 536707 w 674245"/>
              <a:gd name="connsiteY9" fmla="*/ 335535 h 675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4245" h="675258">
                <a:moveTo>
                  <a:pt x="673200" y="338487"/>
                </a:moveTo>
                <a:cubicBezTo>
                  <a:pt x="679677" y="523749"/>
                  <a:pt x="525753" y="677292"/>
                  <a:pt x="334205" y="675006"/>
                </a:cubicBezTo>
                <a:cubicBezTo>
                  <a:pt x="145801" y="672720"/>
                  <a:pt x="1688" y="528892"/>
                  <a:pt x="-408" y="340392"/>
                </a:cubicBezTo>
                <a:cubicBezTo>
                  <a:pt x="-2503" y="151893"/>
                  <a:pt x="144658" y="1112"/>
                  <a:pt x="340682" y="-222"/>
                </a:cubicBezTo>
                <a:cubicBezTo>
                  <a:pt x="524896" y="-1365"/>
                  <a:pt x="685011" y="168085"/>
                  <a:pt x="673200" y="338487"/>
                </a:cubicBezTo>
                <a:close/>
                <a:moveTo>
                  <a:pt x="536707" y="335535"/>
                </a:moveTo>
                <a:cubicBezTo>
                  <a:pt x="542136" y="235236"/>
                  <a:pt x="439361" y="134557"/>
                  <a:pt x="339349" y="137224"/>
                </a:cubicBezTo>
                <a:cubicBezTo>
                  <a:pt x="246480" y="139701"/>
                  <a:pt x="139324" y="201613"/>
                  <a:pt x="137800" y="340392"/>
                </a:cubicBezTo>
                <a:cubicBezTo>
                  <a:pt x="136657" y="443072"/>
                  <a:pt x="230764" y="537465"/>
                  <a:pt x="333729" y="536703"/>
                </a:cubicBezTo>
                <a:cubicBezTo>
                  <a:pt x="471746" y="535655"/>
                  <a:pt x="536707" y="429356"/>
                  <a:pt x="536707" y="335535"/>
                </a:cubicBezTo>
                <a:close/>
              </a:path>
            </a:pathLst>
          </a:custGeom>
          <a:solidFill>
            <a:srgbClr val="000000"/>
          </a:solidFill>
          <a:ln w="9525" cap="flat">
            <a:noFill/>
            <a:prstDash val="solid"/>
            <a:miter/>
          </a:ln>
        </p:spPr>
        <p:txBody>
          <a:bodyPr rtlCol="0" anchor="ctr"/>
          <a:lstStyle/>
          <a:p>
            <a:endParaRPr lang="de-DE"/>
          </a:p>
        </p:txBody>
      </p:sp>
      <p:sp>
        <p:nvSpPr>
          <p:cNvPr id="39" name="Textplatzhalter 38">
            <a:extLst>
              <a:ext uri="{FF2B5EF4-FFF2-40B4-BE49-F238E27FC236}">
                <a16:creationId xmlns:a16="http://schemas.microsoft.com/office/drawing/2014/main" id="{C50B2D48-FC39-40E6-9978-25C705F4ECB2}"/>
              </a:ext>
            </a:extLst>
          </p:cNvPr>
          <p:cNvSpPr>
            <a:spLocks noGrp="1"/>
          </p:cNvSpPr>
          <p:nvPr>
            <p:ph type="body" sz="quarter" idx="13"/>
          </p:nvPr>
        </p:nvSpPr>
        <p:spPr bwMode="gray">
          <a:xfrm>
            <a:off x="4511824" y="874569"/>
            <a:ext cx="3240000" cy="1440000"/>
          </a:xfrm>
          <a:prstGeom prst="roundRect">
            <a:avLst>
              <a:gd name="adj" fmla="val 8819"/>
            </a:avLst>
          </a:prstGeom>
          <a:ln w="25400">
            <a:solidFill>
              <a:schemeClr val="tx1"/>
            </a:solidFill>
          </a:ln>
        </p:spPr>
        <p:txBody>
          <a:bodyPr lIns="72000" tIns="36000" rIns="72000" bIns="72000"/>
          <a:lstStyle>
            <a:lvl1pPr>
              <a:spcAft>
                <a:spcPts val="600"/>
              </a:spcAft>
              <a:defRPr/>
            </a:lvl1pPr>
            <a:lvl2pPr marL="0">
              <a:spcAft>
                <a:spcPts val="0"/>
              </a:spcAft>
              <a:defRPr sz="1200"/>
            </a:lvl2pPr>
            <a:lvl3pPr marL="0" indent="0">
              <a:spcAft>
                <a:spcPts val="0"/>
              </a:spcAft>
              <a:buFont typeface="Arial" panose="020B0604020202020204" pitchFamily="34" charset="0"/>
              <a:buNone/>
              <a:defRPr sz="1200"/>
            </a:lvl3pPr>
            <a:lvl4pPr marL="0" indent="0">
              <a:spcAft>
                <a:spcPts val="0"/>
              </a:spcAft>
              <a:buFont typeface="Arial" panose="020B0604020202020204" pitchFamily="34" charset="0"/>
              <a:buNone/>
              <a:defRPr sz="1200"/>
            </a:lvl4pPr>
            <a:lvl5pPr marL="0" indent="0">
              <a:spcAft>
                <a:spcPts val="0"/>
              </a:spcAft>
              <a:buFont typeface="Arial" panose="020B0604020202020204" pitchFamily="34" charset="0"/>
              <a:buNone/>
              <a:defRPr sz="1200"/>
            </a:lvl5pPr>
            <a:lvl6pPr marL="0" indent="0">
              <a:spcAft>
                <a:spcPts val="0"/>
              </a:spcAft>
              <a:buFont typeface="Arial" panose="020B0604020202020204" pitchFamily="34" charset="0"/>
              <a:buNone/>
              <a:defRPr sz="1200"/>
            </a:lvl6pPr>
            <a:lvl7pPr marL="0" indent="0">
              <a:spcAft>
                <a:spcPts val="0"/>
              </a:spcAft>
              <a:buFont typeface="Arial" panose="020B0604020202020204" pitchFamily="34" charset="0"/>
              <a:buNone/>
              <a:defRPr sz="1200"/>
            </a:lvl7pPr>
            <a:lvl8pPr marL="0" indent="0">
              <a:spcAft>
                <a:spcPts val="0"/>
              </a:spcAft>
              <a:buFont typeface="Arial" panose="020B0604020202020204" pitchFamily="34" charset="0"/>
              <a:buNone/>
              <a:defRPr sz="1200"/>
            </a:lvl8pPr>
            <a:lvl9pPr marL="0" indent="0">
              <a:spcAft>
                <a:spcPts val="0"/>
              </a:spcAft>
              <a:buFont typeface="Arial" panose="020B0604020202020204" pitchFamily="34" charset="0"/>
              <a:buNone/>
              <a:defRPr sz="1200"/>
            </a:lvl9pPr>
          </a:lstStyle>
          <a:p>
            <a:pPr lvl="0"/>
            <a:r>
              <a:rPr lang="de-DE"/>
              <a:t>Mastertextformat bearbeiten</a:t>
            </a:r>
          </a:p>
          <a:p>
            <a:pPr lvl="1"/>
            <a:r>
              <a:rPr lang="de-DE"/>
              <a:t>Zweite Ebene</a:t>
            </a:r>
          </a:p>
        </p:txBody>
      </p:sp>
      <p:sp>
        <p:nvSpPr>
          <p:cNvPr id="4" name="Textplatzhalter 3">
            <a:extLst>
              <a:ext uri="{FF2B5EF4-FFF2-40B4-BE49-F238E27FC236}">
                <a16:creationId xmlns:a16="http://schemas.microsoft.com/office/drawing/2014/main" id="{94CA479F-9C0F-4E2D-A44B-F17D815D2467}"/>
              </a:ext>
            </a:extLst>
          </p:cNvPr>
          <p:cNvSpPr>
            <a:spLocks noGrp="1"/>
          </p:cNvSpPr>
          <p:nvPr>
            <p:ph type="body" sz="quarter" idx="14" hasCustomPrompt="1"/>
          </p:nvPr>
        </p:nvSpPr>
        <p:spPr bwMode="gray">
          <a:xfrm>
            <a:off x="4655504" y="548680"/>
            <a:ext cx="287337" cy="25200"/>
          </a:xfrm>
          <a:solidFill>
            <a:schemeClr val="tx1"/>
          </a:solidFill>
        </p:spPr>
        <p:txBody>
          <a:bodyPr wrap="none" tIns="36000"/>
          <a:lstStyle>
            <a:lvl1pPr marL="0" indent="0" algn="l">
              <a:spcAft>
                <a:spcPts val="0"/>
              </a:spcAft>
              <a:buFont typeface="Arial" panose="020B0604020202020204" pitchFamily="34" charset="0"/>
              <a:buNone/>
              <a:defRPr sz="1200" b="1">
                <a:solidFill>
                  <a:schemeClr val="tx1"/>
                </a:solidFill>
              </a:defRPr>
            </a:lvl1pPr>
            <a:lvl2pPr marL="0" indent="0" algn="l">
              <a:spcAft>
                <a:spcPts val="0"/>
              </a:spcAft>
              <a:buFont typeface="Arial" panose="020B0604020202020204" pitchFamily="34" charset="0"/>
              <a:buNone/>
              <a:defRPr sz="1200" b="1">
                <a:solidFill>
                  <a:schemeClr val="tx1"/>
                </a:solidFill>
              </a:defRPr>
            </a:lvl2pPr>
            <a:lvl3pPr marL="0" indent="0" algn="l">
              <a:spcAft>
                <a:spcPts val="0"/>
              </a:spcAft>
              <a:buNone/>
              <a:defRPr sz="1200" b="1">
                <a:solidFill>
                  <a:schemeClr val="tx1"/>
                </a:solidFill>
              </a:defRPr>
            </a:lvl3pPr>
            <a:lvl4pPr marL="0" indent="0" algn="l">
              <a:spcAft>
                <a:spcPts val="0"/>
              </a:spcAft>
              <a:buNone/>
              <a:defRPr sz="1200" b="1">
                <a:solidFill>
                  <a:schemeClr val="tx1"/>
                </a:solidFill>
              </a:defRPr>
            </a:lvl4pPr>
            <a:lvl5pPr marL="0" indent="0" algn="l">
              <a:spcAft>
                <a:spcPts val="0"/>
              </a:spcAft>
              <a:buNone/>
              <a:defRPr sz="1200" b="1">
                <a:solidFill>
                  <a:schemeClr val="tx1"/>
                </a:solidFill>
              </a:defRPr>
            </a:lvl5pPr>
            <a:lvl6pPr marL="0" indent="0" algn="l">
              <a:spcAft>
                <a:spcPts val="0"/>
              </a:spcAft>
              <a:buNone/>
              <a:defRPr sz="1200" b="1">
                <a:solidFill>
                  <a:schemeClr val="tx1"/>
                </a:solidFill>
              </a:defRPr>
            </a:lvl6pPr>
            <a:lvl7pPr marL="0" indent="0" algn="l">
              <a:spcAft>
                <a:spcPts val="0"/>
              </a:spcAft>
              <a:buNone/>
              <a:defRPr sz="1200" b="1">
                <a:solidFill>
                  <a:schemeClr val="tx1"/>
                </a:solidFill>
              </a:defRPr>
            </a:lvl7pPr>
            <a:lvl8pPr marL="0" indent="0" algn="l">
              <a:spcAft>
                <a:spcPts val="0"/>
              </a:spcAft>
              <a:buNone/>
              <a:defRPr sz="1200" b="1">
                <a:solidFill>
                  <a:schemeClr val="tx1"/>
                </a:solidFill>
              </a:defRPr>
            </a:lvl8pPr>
            <a:lvl9pPr marL="0" indent="0" algn="l">
              <a:spcAft>
                <a:spcPts val="0"/>
              </a:spcAft>
              <a:buNone/>
              <a:defRPr sz="1200" b="1">
                <a:solidFill>
                  <a:schemeClr val="tx1"/>
                </a:solidFill>
              </a:defRPr>
            </a:lvl9pPr>
          </a:lstStyle>
          <a:p>
            <a:pPr lvl="0"/>
            <a:r>
              <a:rPr lang="de-DE"/>
              <a:t>00:00 bis 00:00</a:t>
            </a:r>
          </a:p>
        </p:txBody>
      </p:sp>
      <p:sp>
        <p:nvSpPr>
          <p:cNvPr id="40" name="Textplatzhalter 38">
            <a:extLst>
              <a:ext uri="{FF2B5EF4-FFF2-40B4-BE49-F238E27FC236}">
                <a16:creationId xmlns:a16="http://schemas.microsoft.com/office/drawing/2014/main" id="{E0FE17A0-1B88-4FE8-BC5E-530841ADEEBC}"/>
              </a:ext>
            </a:extLst>
          </p:cNvPr>
          <p:cNvSpPr>
            <a:spLocks noGrp="1"/>
          </p:cNvSpPr>
          <p:nvPr>
            <p:ph type="body" sz="quarter" idx="15"/>
          </p:nvPr>
        </p:nvSpPr>
        <p:spPr bwMode="gray">
          <a:xfrm>
            <a:off x="4511824" y="2835941"/>
            <a:ext cx="3240000" cy="1440000"/>
          </a:xfrm>
          <a:prstGeom prst="roundRect">
            <a:avLst>
              <a:gd name="adj" fmla="val 8819"/>
            </a:avLst>
          </a:prstGeom>
          <a:ln w="25400">
            <a:solidFill>
              <a:schemeClr val="tx1"/>
            </a:solidFill>
          </a:ln>
        </p:spPr>
        <p:txBody>
          <a:bodyPr lIns="72000" tIns="36000" rIns="72000" bIns="72000"/>
          <a:lstStyle>
            <a:lvl1pPr>
              <a:spcAft>
                <a:spcPts val="600"/>
              </a:spcAft>
              <a:defRPr sz="1600"/>
            </a:lvl1pPr>
            <a:lvl2pPr marL="0">
              <a:spcAft>
                <a:spcPts val="0"/>
              </a:spcAft>
              <a:defRPr sz="1200"/>
            </a:lvl2pPr>
            <a:lvl3pPr marL="0" indent="0">
              <a:spcAft>
                <a:spcPts val="0"/>
              </a:spcAft>
              <a:buFont typeface="Arial" panose="020B0604020202020204" pitchFamily="34" charset="0"/>
              <a:buNone/>
              <a:defRPr sz="1200"/>
            </a:lvl3pPr>
            <a:lvl4pPr marL="0" indent="0">
              <a:spcAft>
                <a:spcPts val="0"/>
              </a:spcAft>
              <a:buFont typeface="Arial" panose="020B0604020202020204" pitchFamily="34" charset="0"/>
              <a:buNone/>
              <a:defRPr sz="1200"/>
            </a:lvl4pPr>
            <a:lvl5pPr marL="0" indent="0">
              <a:spcAft>
                <a:spcPts val="0"/>
              </a:spcAft>
              <a:buFont typeface="Arial" panose="020B0604020202020204" pitchFamily="34" charset="0"/>
              <a:buNone/>
              <a:defRPr sz="1200"/>
            </a:lvl5pPr>
            <a:lvl6pPr marL="0" indent="0">
              <a:spcAft>
                <a:spcPts val="0"/>
              </a:spcAft>
              <a:buFont typeface="Arial" panose="020B0604020202020204" pitchFamily="34" charset="0"/>
              <a:buNone/>
              <a:defRPr sz="1200"/>
            </a:lvl6pPr>
            <a:lvl7pPr marL="0" indent="0">
              <a:spcAft>
                <a:spcPts val="0"/>
              </a:spcAft>
              <a:buFont typeface="Arial" panose="020B0604020202020204" pitchFamily="34" charset="0"/>
              <a:buNone/>
              <a:defRPr sz="1200"/>
            </a:lvl7pPr>
            <a:lvl8pPr marL="0" indent="0">
              <a:spcAft>
                <a:spcPts val="0"/>
              </a:spcAft>
              <a:buFont typeface="Arial" panose="020B0604020202020204" pitchFamily="34" charset="0"/>
              <a:buNone/>
              <a:defRPr sz="1200"/>
            </a:lvl8pPr>
            <a:lvl9pPr marL="0" indent="0">
              <a:spcAft>
                <a:spcPts val="0"/>
              </a:spcAft>
              <a:buFont typeface="Arial" panose="020B0604020202020204" pitchFamily="34" charset="0"/>
              <a:buNone/>
              <a:defRPr sz="1200"/>
            </a:lvl9pPr>
          </a:lstStyle>
          <a:p>
            <a:pPr lvl="0"/>
            <a:r>
              <a:rPr lang="de-DE"/>
              <a:t>Mastertextformat bearbeiten</a:t>
            </a:r>
          </a:p>
          <a:p>
            <a:pPr lvl="1"/>
            <a:r>
              <a:rPr lang="de-DE"/>
              <a:t>Zweite Ebene</a:t>
            </a:r>
          </a:p>
          <a:p>
            <a:pPr lvl="2"/>
            <a:r>
              <a:rPr lang="de-DE"/>
              <a:t>Dritte Ebene</a:t>
            </a:r>
          </a:p>
        </p:txBody>
      </p:sp>
      <p:sp>
        <p:nvSpPr>
          <p:cNvPr id="41" name="Textplatzhalter 3">
            <a:extLst>
              <a:ext uri="{FF2B5EF4-FFF2-40B4-BE49-F238E27FC236}">
                <a16:creationId xmlns:a16="http://schemas.microsoft.com/office/drawing/2014/main" id="{645548A1-3BE8-4679-861C-0A42F5EAE0E9}"/>
              </a:ext>
            </a:extLst>
          </p:cNvPr>
          <p:cNvSpPr>
            <a:spLocks noGrp="1"/>
          </p:cNvSpPr>
          <p:nvPr>
            <p:ph type="body" sz="quarter" idx="16" hasCustomPrompt="1"/>
          </p:nvPr>
        </p:nvSpPr>
        <p:spPr bwMode="gray">
          <a:xfrm>
            <a:off x="4658685" y="2540608"/>
            <a:ext cx="287337" cy="25200"/>
          </a:xfrm>
          <a:solidFill>
            <a:schemeClr val="tx1"/>
          </a:solidFill>
        </p:spPr>
        <p:txBody>
          <a:bodyPr wrap="none" tIns="36000"/>
          <a:lstStyle>
            <a:lvl1pPr marL="0" indent="0" algn="l">
              <a:spcAft>
                <a:spcPts val="0"/>
              </a:spcAft>
              <a:buFont typeface="Arial" panose="020B0604020202020204" pitchFamily="34" charset="0"/>
              <a:buNone/>
              <a:defRPr sz="1200" b="1">
                <a:solidFill>
                  <a:schemeClr val="tx1"/>
                </a:solidFill>
              </a:defRPr>
            </a:lvl1pPr>
            <a:lvl2pPr marL="0" indent="0" algn="l">
              <a:spcAft>
                <a:spcPts val="0"/>
              </a:spcAft>
              <a:buFont typeface="Arial" panose="020B0604020202020204" pitchFamily="34" charset="0"/>
              <a:buNone/>
              <a:defRPr sz="1200" b="1">
                <a:solidFill>
                  <a:schemeClr val="tx1"/>
                </a:solidFill>
              </a:defRPr>
            </a:lvl2pPr>
            <a:lvl3pPr marL="0" indent="0" algn="l">
              <a:spcAft>
                <a:spcPts val="0"/>
              </a:spcAft>
              <a:buNone/>
              <a:defRPr sz="1200" b="1">
                <a:solidFill>
                  <a:schemeClr val="tx1"/>
                </a:solidFill>
              </a:defRPr>
            </a:lvl3pPr>
            <a:lvl4pPr marL="0" indent="0" algn="l">
              <a:spcAft>
                <a:spcPts val="0"/>
              </a:spcAft>
              <a:buNone/>
              <a:defRPr sz="1200" b="1">
                <a:solidFill>
                  <a:schemeClr val="tx1"/>
                </a:solidFill>
              </a:defRPr>
            </a:lvl4pPr>
            <a:lvl5pPr marL="0" indent="0" algn="l">
              <a:spcAft>
                <a:spcPts val="0"/>
              </a:spcAft>
              <a:buNone/>
              <a:defRPr sz="1200" b="1">
                <a:solidFill>
                  <a:schemeClr val="tx1"/>
                </a:solidFill>
              </a:defRPr>
            </a:lvl5pPr>
            <a:lvl6pPr marL="0" indent="0" algn="l">
              <a:spcAft>
                <a:spcPts val="0"/>
              </a:spcAft>
              <a:buNone/>
              <a:defRPr sz="1200" b="1">
                <a:solidFill>
                  <a:schemeClr val="tx1"/>
                </a:solidFill>
              </a:defRPr>
            </a:lvl6pPr>
            <a:lvl7pPr marL="0" indent="0" algn="l">
              <a:spcAft>
                <a:spcPts val="0"/>
              </a:spcAft>
              <a:buNone/>
              <a:defRPr sz="1200" b="1">
                <a:solidFill>
                  <a:schemeClr val="tx1"/>
                </a:solidFill>
              </a:defRPr>
            </a:lvl7pPr>
            <a:lvl8pPr marL="0" indent="0" algn="l">
              <a:spcAft>
                <a:spcPts val="0"/>
              </a:spcAft>
              <a:buNone/>
              <a:defRPr sz="1200" b="1">
                <a:solidFill>
                  <a:schemeClr val="tx1"/>
                </a:solidFill>
              </a:defRPr>
            </a:lvl8pPr>
            <a:lvl9pPr marL="0" indent="0" algn="l">
              <a:spcAft>
                <a:spcPts val="0"/>
              </a:spcAft>
              <a:buNone/>
              <a:defRPr sz="1200" b="1">
                <a:solidFill>
                  <a:schemeClr val="tx1"/>
                </a:solidFill>
              </a:defRPr>
            </a:lvl9pPr>
          </a:lstStyle>
          <a:p>
            <a:pPr lvl="0"/>
            <a:r>
              <a:rPr lang="de-DE"/>
              <a:t>00:00 bis 00:00</a:t>
            </a:r>
          </a:p>
        </p:txBody>
      </p:sp>
      <p:sp>
        <p:nvSpPr>
          <p:cNvPr id="42" name="Textplatzhalter 38">
            <a:extLst>
              <a:ext uri="{FF2B5EF4-FFF2-40B4-BE49-F238E27FC236}">
                <a16:creationId xmlns:a16="http://schemas.microsoft.com/office/drawing/2014/main" id="{156860BD-3668-45B9-8585-898D9C0B9BB4}"/>
              </a:ext>
            </a:extLst>
          </p:cNvPr>
          <p:cNvSpPr>
            <a:spLocks noGrp="1"/>
          </p:cNvSpPr>
          <p:nvPr>
            <p:ph type="body" sz="quarter" idx="17"/>
          </p:nvPr>
        </p:nvSpPr>
        <p:spPr bwMode="gray">
          <a:xfrm>
            <a:off x="8608751" y="2835940"/>
            <a:ext cx="3240000" cy="1440000"/>
          </a:xfrm>
          <a:prstGeom prst="roundRect">
            <a:avLst>
              <a:gd name="adj" fmla="val 8819"/>
            </a:avLst>
          </a:prstGeom>
          <a:ln w="25400">
            <a:solidFill>
              <a:schemeClr val="tx1"/>
            </a:solidFill>
          </a:ln>
        </p:spPr>
        <p:txBody>
          <a:bodyPr lIns="72000" tIns="36000" rIns="72000" bIns="72000"/>
          <a:lstStyle>
            <a:lvl1pPr>
              <a:spcAft>
                <a:spcPts val="600"/>
              </a:spcAft>
              <a:defRPr/>
            </a:lvl1pPr>
            <a:lvl2pPr marL="0">
              <a:spcAft>
                <a:spcPts val="0"/>
              </a:spcAft>
              <a:defRPr sz="1200"/>
            </a:lvl2pPr>
            <a:lvl3pPr marL="0" indent="0">
              <a:spcAft>
                <a:spcPts val="0"/>
              </a:spcAft>
              <a:buFont typeface="Arial" panose="020B0604020202020204" pitchFamily="34" charset="0"/>
              <a:buNone/>
              <a:defRPr sz="1200"/>
            </a:lvl3pPr>
            <a:lvl4pPr marL="0" indent="0">
              <a:spcAft>
                <a:spcPts val="0"/>
              </a:spcAft>
              <a:buFont typeface="Arial" panose="020B0604020202020204" pitchFamily="34" charset="0"/>
              <a:buNone/>
              <a:defRPr sz="1200"/>
            </a:lvl4pPr>
            <a:lvl5pPr marL="0" indent="0">
              <a:spcAft>
                <a:spcPts val="0"/>
              </a:spcAft>
              <a:buFont typeface="Arial" panose="020B0604020202020204" pitchFamily="34" charset="0"/>
              <a:buNone/>
              <a:defRPr sz="1200"/>
            </a:lvl5pPr>
            <a:lvl6pPr marL="0" indent="0">
              <a:spcAft>
                <a:spcPts val="0"/>
              </a:spcAft>
              <a:buFont typeface="Arial" panose="020B0604020202020204" pitchFamily="34" charset="0"/>
              <a:buNone/>
              <a:defRPr sz="1200"/>
            </a:lvl6pPr>
            <a:lvl7pPr marL="0" indent="0">
              <a:spcAft>
                <a:spcPts val="0"/>
              </a:spcAft>
              <a:buFont typeface="Arial" panose="020B0604020202020204" pitchFamily="34" charset="0"/>
              <a:buNone/>
              <a:defRPr sz="1200"/>
            </a:lvl7pPr>
            <a:lvl8pPr marL="0" indent="0">
              <a:spcAft>
                <a:spcPts val="0"/>
              </a:spcAft>
              <a:buFont typeface="Arial" panose="020B0604020202020204" pitchFamily="34" charset="0"/>
              <a:buNone/>
              <a:defRPr sz="1200"/>
            </a:lvl8pPr>
            <a:lvl9pPr marL="0" indent="0">
              <a:spcAft>
                <a:spcPts val="0"/>
              </a:spcAft>
              <a:buFont typeface="Arial" panose="020B0604020202020204" pitchFamily="34" charset="0"/>
              <a:buNone/>
              <a:defRPr sz="1200"/>
            </a:lvl9pPr>
          </a:lstStyle>
          <a:p>
            <a:pPr lvl="0"/>
            <a:r>
              <a:rPr lang="de-DE"/>
              <a:t>Mastertextformat bearbeiten</a:t>
            </a:r>
          </a:p>
          <a:p>
            <a:pPr lvl="1"/>
            <a:r>
              <a:rPr lang="de-DE"/>
              <a:t>Zweite Ebene</a:t>
            </a:r>
          </a:p>
          <a:p>
            <a:pPr lvl="2"/>
            <a:r>
              <a:rPr lang="de-DE"/>
              <a:t>Dritte Ebene</a:t>
            </a:r>
          </a:p>
        </p:txBody>
      </p:sp>
      <p:sp>
        <p:nvSpPr>
          <p:cNvPr id="43" name="Textplatzhalter 3">
            <a:extLst>
              <a:ext uri="{FF2B5EF4-FFF2-40B4-BE49-F238E27FC236}">
                <a16:creationId xmlns:a16="http://schemas.microsoft.com/office/drawing/2014/main" id="{1A94152D-41C8-474A-BD0A-61F5F4ECEE9A}"/>
              </a:ext>
            </a:extLst>
          </p:cNvPr>
          <p:cNvSpPr>
            <a:spLocks noGrp="1"/>
          </p:cNvSpPr>
          <p:nvPr>
            <p:ph type="body" sz="quarter" idx="18" hasCustomPrompt="1"/>
          </p:nvPr>
        </p:nvSpPr>
        <p:spPr bwMode="gray">
          <a:xfrm>
            <a:off x="8752431" y="2540608"/>
            <a:ext cx="287337" cy="25200"/>
          </a:xfrm>
          <a:solidFill>
            <a:schemeClr val="tx1"/>
          </a:solidFill>
        </p:spPr>
        <p:txBody>
          <a:bodyPr wrap="none" tIns="36000"/>
          <a:lstStyle>
            <a:lvl1pPr marL="0" indent="0" algn="l">
              <a:spcAft>
                <a:spcPts val="0"/>
              </a:spcAft>
              <a:buFont typeface="Arial" panose="020B0604020202020204" pitchFamily="34" charset="0"/>
              <a:buNone/>
              <a:defRPr sz="1200" b="1">
                <a:solidFill>
                  <a:schemeClr val="tx1"/>
                </a:solidFill>
              </a:defRPr>
            </a:lvl1pPr>
            <a:lvl2pPr marL="0" indent="0" algn="l">
              <a:spcAft>
                <a:spcPts val="0"/>
              </a:spcAft>
              <a:buFont typeface="Arial" panose="020B0604020202020204" pitchFamily="34" charset="0"/>
              <a:buNone/>
              <a:defRPr sz="1200" b="1">
                <a:solidFill>
                  <a:schemeClr val="tx1"/>
                </a:solidFill>
              </a:defRPr>
            </a:lvl2pPr>
            <a:lvl3pPr marL="0" indent="0" algn="l">
              <a:spcAft>
                <a:spcPts val="0"/>
              </a:spcAft>
              <a:buNone/>
              <a:defRPr sz="1200" b="1">
                <a:solidFill>
                  <a:schemeClr val="tx1"/>
                </a:solidFill>
              </a:defRPr>
            </a:lvl3pPr>
            <a:lvl4pPr marL="0" indent="0" algn="l">
              <a:spcAft>
                <a:spcPts val="0"/>
              </a:spcAft>
              <a:buNone/>
              <a:defRPr sz="1200" b="1">
                <a:solidFill>
                  <a:schemeClr val="tx1"/>
                </a:solidFill>
              </a:defRPr>
            </a:lvl4pPr>
            <a:lvl5pPr marL="0" indent="0" algn="l">
              <a:spcAft>
                <a:spcPts val="0"/>
              </a:spcAft>
              <a:buNone/>
              <a:defRPr sz="1200" b="1">
                <a:solidFill>
                  <a:schemeClr val="tx1"/>
                </a:solidFill>
              </a:defRPr>
            </a:lvl5pPr>
            <a:lvl6pPr marL="0" indent="0" algn="l">
              <a:spcAft>
                <a:spcPts val="0"/>
              </a:spcAft>
              <a:buNone/>
              <a:defRPr sz="1200" b="1">
                <a:solidFill>
                  <a:schemeClr val="tx1"/>
                </a:solidFill>
              </a:defRPr>
            </a:lvl6pPr>
            <a:lvl7pPr marL="0" indent="0" algn="l">
              <a:spcAft>
                <a:spcPts val="0"/>
              </a:spcAft>
              <a:buNone/>
              <a:defRPr sz="1200" b="1">
                <a:solidFill>
                  <a:schemeClr val="tx1"/>
                </a:solidFill>
              </a:defRPr>
            </a:lvl7pPr>
            <a:lvl8pPr marL="0" indent="0" algn="l">
              <a:spcAft>
                <a:spcPts val="0"/>
              </a:spcAft>
              <a:buNone/>
              <a:defRPr sz="1200" b="1">
                <a:solidFill>
                  <a:schemeClr val="tx1"/>
                </a:solidFill>
              </a:defRPr>
            </a:lvl8pPr>
            <a:lvl9pPr marL="0" indent="0" algn="l">
              <a:spcAft>
                <a:spcPts val="0"/>
              </a:spcAft>
              <a:buNone/>
              <a:defRPr sz="1200" b="1">
                <a:solidFill>
                  <a:schemeClr val="tx1"/>
                </a:solidFill>
              </a:defRPr>
            </a:lvl9pPr>
          </a:lstStyle>
          <a:p>
            <a:pPr lvl="0"/>
            <a:r>
              <a:rPr lang="de-DE"/>
              <a:t>00:00 bis 00:00</a:t>
            </a:r>
          </a:p>
        </p:txBody>
      </p:sp>
      <p:sp>
        <p:nvSpPr>
          <p:cNvPr id="44" name="Textplatzhalter 38">
            <a:extLst>
              <a:ext uri="{FF2B5EF4-FFF2-40B4-BE49-F238E27FC236}">
                <a16:creationId xmlns:a16="http://schemas.microsoft.com/office/drawing/2014/main" id="{E3820BD8-BA98-4321-A614-9AB9D158B1E8}"/>
              </a:ext>
            </a:extLst>
          </p:cNvPr>
          <p:cNvSpPr>
            <a:spLocks noGrp="1"/>
          </p:cNvSpPr>
          <p:nvPr>
            <p:ph type="body" sz="quarter" idx="19"/>
          </p:nvPr>
        </p:nvSpPr>
        <p:spPr bwMode="gray">
          <a:xfrm>
            <a:off x="4522707" y="4797312"/>
            <a:ext cx="3240000" cy="1440000"/>
          </a:xfrm>
          <a:prstGeom prst="roundRect">
            <a:avLst>
              <a:gd name="adj" fmla="val 8819"/>
            </a:avLst>
          </a:prstGeom>
          <a:ln w="25400">
            <a:solidFill>
              <a:schemeClr val="tx1"/>
            </a:solidFill>
          </a:ln>
        </p:spPr>
        <p:txBody>
          <a:bodyPr lIns="72000" tIns="36000" rIns="72000" bIns="72000"/>
          <a:lstStyle>
            <a:lvl1pPr>
              <a:spcAft>
                <a:spcPts val="600"/>
              </a:spcAft>
              <a:defRPr/>
            </a:lvl1pPr>
            <a:lvl2pPr marL="0">
              <a:spcAft>
                <a:spcPts val="0"/>
              </a:spcAft>
              <a:defRPr sz="1200"/>
            </a:lvl2pPr>
            <a:lvl3pPr marL="0" indent="0">
              <a:spcAft>
                <a:spcPts val="0"/>
              </a:spcAft>
              <a:buFont typeface="Arial" panose="020B0604020202020204" pitchFamily="34" charset="0"/>
              <a:buNone/>
              <a:defRPr sz="1200"/>
            </a:lvl3pPr>
            <a:lvl4pPr marL="0" indent="0">
              <a:spcAft>
                <a:spcPts val="0"/>
              </a:spcAft>
              <a:buFont typeface="Arial" panose="020B0604020202020204" pitchFamily="34" charset="0"/>
              <a:buNone/>
              <a:defRPr sz="1200"/>
            </a:lvl4pPr>
            <a:lvl5pPr marL="0" indent="0">
              <a:spcAft>
                <a:spcPts val="0"/>
              </a:spcAft>
              <a:buFont typeface="Arial" panose="020B0604020202020204" pitchFamily="34" charset="0"/>
              <a:buNone/>
              <a:defRPr sz="1200"/>
            </a:lvl5pPr>
            <a:lvl6pPr marL="0" indent="0">
              <a:spcAft>
                <a:spcPts val="0"/>
              </a:spcAft>
              <a:buFont typeface="Arial" panose="020B0604020202020204" pitchFamily="34" charset="0"/>
              <a:buNone/>
              <a:defRPr sz="1200"/>
            </a:lvl6pPr>
            <a:lvl7pPr marL="0" indent="0">
              <a:spcAft>
                <a:spcPts val="0"/>
              </a:spcAft>
              <a:buFont typeface="Arial" panose="020B0604020202020204" pitchFamily="34" charset="0"/>
              <a:buNone/>
              <a:defRPr sz="1200"/>
            </a:lvl7pPr>
            <a:lvl8pPr marL="0" indent="0">
              <a:spcAft>
                <a:spcPts val="0"/>
              </a:spcAft>
              <a:buFont typeface="Arial" panose="020B0604020202020204" pitchFamily="34" charset="0"/>
              <a:buNone/>
              <a:defRPr sz="1200"/>
            </a:lvl8pPr>
            <a:lvl9pPr marL="0" indent="0">
              <a:spcAft>
                <a:spcPts val="0"/>
              </a:spcAft>
              <a:buFont typeface="Arial" panose="020B0604020202020204" pitchFamily="34" charset="0"/>
              <a:buNone/>
              <a:defRPr sz="1200"/>
            </a:lvl9pPr>
          </a:lstStyle>
          <a:p>
            <a:pPr lvl="0"/>
            <a:r>
              <a:rPr lang="de-DE"/>
              <a:t>Mastertextformat bearbeiten</a:t>
            </a:r>
          </a:p>
          <a:p>
            <a:pPr lvl="1"/>
            <a:r>
              <a:rPr lang="de-DE"/>
              <a:t>Zweite Ebene</a:t>
            </a:r>
          </a:p>
          <a:p>
            <a:pPr lvl="2"/>
            <a:r>
              <a:rPr lang="de-DE"/>
              <a:t>Dritte Ebene</a:t>
            </a:r>
          </a:p>
        </p:txBody>
      </p:sp>
      <p:sp>
        <p:nvSpPr>
          <p:cNvPr id="45" name="Textplatzhalter 3">
            <a:extLst>
              <a:ext uri="{FF2B5EF4-FFF2-40B4-BE49-F238E27FC236}">
                <a16:creationId xmlns:a16="http://schemas.microsoft.com/office/drawing/2014/main" id="{EAA37BED-78BC-417C-BB50-B767DDCF9B31}"/>
              </a:ext>
            </a:extLst>
          </p:cNvPr>
          <p:cNvSpPr>
            <a:spLocks noGrp="1"/>
          </p:cNvSpPr>
          <p:nvPr>
            <p:ph type="body" sz="quarter" idx="20" hasCustomPrompt="1"/>
          </p:nvPr>
        </p:nvSpPr>
        <p:spPr bwMode="gray">
          <a:xfrm>
            <a:off x="4658685" y="4532535"/>
            <a:ext cx="287337" cy="25200"/>
          </a:xfrm>
          <a:solidFill>
            <a:schemeClr val="tx1"/>
          </a:solidFill>
        </p:spPr>
        <p:txBody>
          <a:bodyPr wrap="none" tIns="36000"/>
          <a:lstStyle>
            <a:lvl1pPr marL="0" indent="0" algn="l">
              <a:spcAft>
                <a:spcPts val="0"/>
              </a:spcAft>
              <a:buFont typeface="Arial" panose="020B0604020202020204" pitchFamily="34" charset="0"/>
              <a:buNone/>
              <a:defRPr sz="1200" b="1">
                <a:solidFill>
                  <a:schemeClr val="tx1"/>
                </a:solidFill>
              </a:defRPr>
            </a:lvl1pPr>
            <a:lvl2pPr marL="0" indent="0" algn="l">
              <a:spcAft>
                <a:spcPts val="0"/>
              </a:spcAft>
              <a:buFont typeface="Arial" panose="020B0604020202020204" pitchFamily="34" charset="0"/>
              <a:buNone/>
              <a:defRPr sz="1200" b="1">
                <a:solidFill>
                  <a:schemeClr val="tx1"/>
                </a:solidFill>
              </a:defRPr>
            </a:lvl2pPr>
            <a:lvl3pPr marL="0" indent="0" algn="l">
              <a:spcAft>
                <a:spcPts val="0"/>
              </a:spcAft>
              <a:buNone/>
              <a:defRPr sz="1200" b="1">
                <a:solidFill>
                  <a:schemeClr val="tx1"/>
                </a:solidFill>
              </a:defRPr>
            </a:lvl3pPr>
            <a:lvl4pPr marL="0" indent="0" algn="l">
              <a:spcAft>
                <a:spcPts val="0"/>
              </a:spcAft>
              <a:buNone/>
              <a:defRPr sz="1200" b="1">
                <a:solidFill>
                  <a:schemeClr val="tx1"/>
                </a:solidFill>
              </a:defRPr>
            </a:lvl4pPr>
            <a:lvl5pPr marL="0" indent="0" algn="l">
              <a:spcAft>
                <a:spcPts val="0"/>
              </a:spcAft>
              <a:buNone/>
              <a:defRPr sz="1200" b="1">
                <a:solidFill>
                  <a:schemeClr val="tx1"/>
                </a:solidFill>
              </a:defRPr>
            </a:lvl5pPr>
            <a:lvl6pPr marL="0" indent="0" algn="l">
              <a:spcAft>
                <a:spcPts val="0"/>
              </a:spcAft>
              <a:buNone/>
              <a:defRPr sz="1200" b="1">
                <a:solidFill>
                  <a:schemeClr val="tx1"/>
                </a:solidFill>
              </a:defRPr>
            </a:lvl6pPr>
            <a:lvl7pPr marL="0" indent="0" algn="l">
              <a:spcAft>
                <a:spcPts val="0"/>
              </a:spcAft>
              <a:buNone/>
              <a:defRPr sz="1200" b="1">
                <a:solidFill>
                  <a:schemeClr val="tx1"/>
                </a:solidFill>
              </a:defRPr>
            </a:lvl7pPr>
            <a:lvl8pPr marL="0" indent="0" algn="l">
              <a:spcAft>
                <a:spcPts val="0"/>
              </a:spcAft>
              <a:buNone/>
              <a:defRPr sz="1200" b="1">
                <a:solidFill>
                  <a:schemeClr val="tx1"/>
                </a:solidFill>
              </a:defRPr>
            </a:lvl8pPr>
            <a:lvl9pPr marL="0" indent="0" algn="l">
              <a:spcAft>
                <a:spcPts val="0"/>
              </a:spcAft>
              <a:buNone/>
              <a:defRPr sz="1200" b="1">
                <a:solidFill>
                  <a:schemeClr val="tx1"/>
                </a:solidFill>
              </a:defRPr>
            </a:lvl9pPr>
          </a:lstStyle>
          <a:p>
            <a:pPr lvl="0"/>
            <a:r>
              <a:rPr lang="de-DE"/>
              <a:t>00:00 bis 00:00</a:t>
            </a:r>
          </a:p>
        </p:txBody>
      </p:sp>
      <p:sp>
        <p:nvSpPr>
          <p:cNvPr id="46" name="Textplatzhalter 38">
            <a:extLst>
              <a:ext uri="{FF2B5EF4-FFF2-40B4-BE49-F238E27FC236}">
                <a16:creationId xmlns:a16="http://schemas.microsoft.com/office/drawing/2014/main" id="{A6DDFE8E-6D22-4B13-88CB-AC9F72F5B4BB}"/>
              </a:ext>
            </a:extLst>
          </p:cNvPr>
          <p:cNvSpPr>
            <a:spLocks noGrp="1"/>
          </p:cNvSpPr>
          <p:nvPr>
            <p:ph type="body" sz="quarter" idx="21"/>
          </p:nvPr>
        </p:nvSpPr>
        <p:spPr bwMode="gray">
          <a:xfrm>
            <a:off x="8608751" y="4797312"/>
            <a:ext cx="3240000" cy="1440000"/>
          </a:xfrm>
          <a:prstGeom prst="roundRect">
            <a:avLst>
              <a:gd name="adj" fmla="val 8819"/>
            </a:avLst>
          </a:prstGeom>
          <a:ln w="25400">
            <a:solidFill>
              <a:schemeClr val="tx1"/>
            </a:solidFill>
          </a:ln>
        </p:spPr>
        <p:txBody>
          <a:bodyPr lIns="72000" tIns="36000" rIns="72000" bIns="72000"/>
          <a:lstStyle>
            <a:lvl1pPr>
              <a:spcAft>
                <a:spcPts val="600"/>
              </a:spcAft>
              <a:defRPr/>
            </a:lvl1pPr>
            <a:lvl2pPr marL="0">
              <a:spcAft>
                <a:spcPts val="0"/>
              </a:spcAft>
              <a:defRPr sz="1200"/>
            </a:lvl2pPr>
            <a:lvl3pPr marL="0" indent="0">
              <a:spcAft>
                <a:spcPts val="0"/>
              </a:spcAft>
              <a:buFont typeface="Arial" panose="020B0604020202020204" pitchFamily="34" charset="0"/>
              <a:buNone/>
              <a:defRPr sz="1200"/>
            </a:lvl3pPr>
            <a:lvl4pPr marL="0" indent="0">
              <a:spcAft>
                <a:spcPts val="0"/>
              </a:spcAft>
              <a:buFont typeface="Arial" panose="020B0604020202020204" pitchFamily="34" charset="0"/>
              <a:buNone/>
              <a:defRPr sz="1200"/>
            </a:lvl4pPr>
            <a:lvl5pPr marL="0" indent="0">
              <a:spcAft>
                <a:spcPts val="0"/>
              </a:spcAft>
              <a:buFont typeface="Arial" panose="020B0604020202020204" pitchFamily="34" charset="0"/>
              <a:buNone/>
              <a:defRPr sz="1200"/>
            </a:lvl5pPr>
            <a:lvl6pPr marL="0" indent="0">
              <a:spcAft>
                <a:spcPts val="0"/>
              </a:spcAft>
              <a:buFont typeface="Arial" panose="020B0604020202020204" pitchFamily="34" charset="0"/>
              <a:buNone/>
              <a:defRPr sz="1200"/>
            </a:lvl6pPr>
            <a:lvl7pPr marL="0" indent="0">
              <a:spcAft>
                <a:spcPts val="0"/>
              </a:spcAft>
              <a:buFont typeface="Arial" panose="020B0604020202020204" pitchFamily="34" charset="0"/>
              <a:buNone/>
              <a:defRPr sz="1200"/>
            </a:lvl7pPr>
            <a:lvl8pPr marL="0" indent="0">
              <a:spcAft>
                <a:spcPts val="0"/>
              </a:spcAft>
              <a:buFont typeface="Arial" panose="020B0604020202020204" pitchFamily="34" charset="0"/>
              <a:buNone/>
              <a:defRPr sz="1200"/>
            </a:lvl8pPr>
            <a:lvl9pPr marL="0" indent="0">
              <a:spcAft>
                <a:spcPts val="0"/>
              </a:spcAft>
              <a:buFont typeface="Arial" panose="020B0604020202020204" pitchFamily="34" charset="0"/>
              <a:buNone/>
              <a:defRPr sz="1200"/>
            </a:lvl9pPr>
          </a:lstStyle>
          <a:p>
            <a:pPr lvl="0"/>
            <a:r>
              <a:rPr lang="de-DE"/>
              <a:t>Mastertextformat bearbeiten</a:t>
            </a:r>
          </a:p>
          <a:p>
            <a:pPr lvl="1"/>
            <a:r>
              <a:rPr lang="de-DE"/>
              <a:t>Zweite Ebene</a:t>
            </a:r>
          </a:p>
          <a:p>
            <a:pPr lvl="2"/>
            <a:r>
              <a:rPr lang="de-DE"/>
              <a:t>Dritte Ebene</a:t>
            </a:r>
          </a:p>
        </p:txBody>
      </p:sp>
      <p:sp>
        <p:nvSpPr>
          <p:cNvPr id="47" name="Textplatzhalter 3">
            <a:extLst>
              <a:ext uri="{FF2B5EF4-FFF2-40B4-BE49-F238E27FC236}">
                <a16:creationId xmlns:a16="http://schemas.microsoft.com/office/drawing/2014/main" id="{01D1289B-6CCC-4E90-959C-4966F168D2F0}"/>
              </a:ext>
            </a:extLst>
          </p:cNvPr>
          <p:cNvSpPr>
            <a:spLocks noGrp="1"/>
          </p:cNvSpPr>
          <p:nvPr>
            <p:ph type="body" sz="quarter" idx="22" hasCustomPrompt="1"/>
          </p:nvPr>
        </p:nvSpPr>
        <p:spPr bwMode="gray">
          <a:xfrm>
            <a:off x="8752431" y="4532535"/>
            <a:ext cx="287337" cy="25200"/>
          </a:xfrm>
          <a:solidFill>
            <a:schemeClr val="tx1"/>
          </a:solidFill>
        </p:spPr>
        <p:txBody>
          <a:bodyPr wrap="none" tIns="36000"/>
          <a:lstStyle>
            <a:lvl1pPr marL="0" indent="0" algn="l">
              <a:spcAft>
                <a:spcPts val="0"/>
              </a:spcAft>
              <a:buFont typeface="Arial" panose="020B0604020202020204" pitchFamily="34" charset="0"/>
              <a:buNone/>
              <a:defRPr sz="1200" b="1">
                <a:solidFill>
                  <a:schemeClr val="tx1"/>
                </a:solidFill>
              </a:defRPr>
            </a:lvl1pPr>
            <a:lvl2pPr marL="0" indent="0" algn="l">
              <a:spcAft>
                <a:spcPts val="0"/>
              </a:spcAft>
              <a:buFont typeface="Arial" panose="020B0604020202020204" pitchFamily="34" charset="0"/>
              <a:buNone/>
              <a:defRPr sz="1200" b="1">
                <a:solidFill>
                  <a:schemeClr val="tx1"/>
                </a:solidFill>
              </a:defRPr>
            </a:lvl2pPr>
            <a:lvl3pPr marL="0" indent="0" algn="l">
              <a:spcAft>
                <a:spcPts val="0"/>
              </a:spcAft>
              <a:buNone/>
              <a:defRPr sz="1200" b="1">
                <a:solidFill>
                  <a:schemeClr val="tx1"/>
                </a:solidFill>
              </a:defRPr>
            </a:lvl3pPr>
            <a:lvl4pPr marL="0" indent="0" algn="l">
              <a:spcAft>
                <a:spcPts val="0"/>
              </a:spcAft>
              <a:buNone/>
              <a:defRPr sz="1200" b="1">
                <a:solidFill>
                  <a:schemeClr val="tx1"/>
                </a:solidFill>
              </a:defRPr>
            </a:lvl4pPr>
            <a:lvl5pPr marL="0" indent="0" algn="l">
              <a:spcAft>
                <a:spcPts val="0"/>
              </a:spcAft>
              <a:buNone/>
              <a:defRPr sz="1200" b="1">
                <a:solidFill>
                  <a:schemeClr val="tx1"/>
                </a:solidFill>
              </a:defRPr>
            </a:lvl5pPr>
            <a:lvl6pPr marL="0" indent="0" algn="l">
              <a:spcAft>
                <a:spcPts val="0"/>
              </a:spcAft>
              <a:buNone/>
              <a:defRPr sz="1200" b="1">
                <a:solidFill>
                  <a:schemeClr val="tx1"/>
                </a:solidFill>
              </a:defRPr>
            </a:lvl6pPr>
            <a:lvl7pPr marL="0" indent="0" algn="l">
              <a:spcAft>
                <a:spcPts val="0"/>
              </a:spcAft>
              <a:buNone/>
              <a:defRPr sz="1200" b="1">
                <a:solidFill>
                  <a:schemeClr val="tx1"/>
                </a:solidFill>
              </a:defRPr>
            </a:lvl7pPr>
            <a:lvl8pPr marL="0" indent="0" algn="l">
              <a:spcAft>
                <a:spcPts val="0"/>
              </a:spcAft>
              <a:buNone/>
              <a:defRPr sz="1200" b="1">
                <a:solidFill>
                  <a:schemeClr val="tx1"/>
                </a:solidFill>
              </a:defRPr>
            </a:lvl8pPr>
            <a:lvl9pPr marL="0" indent="0" algn="l">
              <a:spcAft>
                <a:spcPts val="0"/>
              </a:spcAft>
              <a:buNone/>
              <a:defRPr sz="1200" b="1">
                <a:solidFill>
                  <a:schemeClr val="tx1"/>
                </a:solidFill>
              </a:defRPr>
            </a:lvl9pPr>
          </a:lstStyle>
          <a:p>
            <a:pPr lvl="0"/>
            <a:r>
              <a:rPr lang="de-DE"/>
              <a:t>00:00 bis 00:00</a:t>
            </a:r>
          </a:p>
        </p:txBody>
      </p:sp>
    </p:spTree>
    <p:extLst>
      <p:ext uri="{BB962C8B-B14F-4D97-AF65-F5344CB8AC3E}">
        <p14:creationId xmlns:p14="http://schemas.microsoft.com/office/powerpoint/2010/main" val="77940015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Kapitel mit Bild">
    <p:spTree>
      <p:nvGrpSpPr>
        <p:cNvPr id="1" name=""/>
        <p:cNvGrpSpPr/>
        <p:nvPr/>
      </p:nvGrpSpPr>
      <p:grpSpPr>
        <a:xfrm>
          <a:off x="0" y="0"/>
          <a:ext cx="0" cy="0"/>
          <a:chOff x="0" y="0"/>
          <a:chExt cx="0" cy="0"/>
        </a:xfrm>
      </p:grpSpPr>
      <p:sp>
        <p:nvSpPr>
          <p:cNvPr id="108" name="Grafik 2">
            <a:extLst>
              <a:ext uri="{FF2B5EF4-FFF2-40B4-BE49-F238E27FC236}">
                <a16:creationId xmlns:a16="http://schemas.microsoft.com/office/drawing/2014/main" id="{D3823A60-A18F-4F0A-9173-E42D17292E6A}"/>
              </a:ext>
            </a:extLst>
          </p:cNvPr>
          <p:cNvSpPr/>
          <p:nvPr userDrawn="1"/>
        </p:nvSpPr>
        <p:spPr bwMode="gray">
          <a:xfrm>
            <a:off x="4027677" y="603101"/>
            <a:ext cx="1928034" cy="1930281"/>
          </a:xfrm>
          <a:prstGeom prst="ellipse">
            <a:avLst/>
          </a:prstGeom>
          <a:gradFill flip="none" rotWithShape="1">
            <a:gsLst>
              <a:gs pos="0">
                <a:srgbClr val="D94291"/>
              </a:gs>
              <a:gs pos="100000">
                <a:srgbClr val="CF91D2"/>
              </a:gs>
            </a:gsLst>
            <a:lin ang="5400000" scaled="1"/>
            <a:tileRect/>
          </a:gradFill>
          <a:ln w="9525" cap="flat">
            <a:noFill/>
            <a:prstDash val="solid"/>
            <a:miter/>
          </a:ln>
        </p:spPr>
        <p:txBody>
          <a:bodyPr rtlCol="0" anchor="ctr"/>
          <a:lstStyle/>
          <a:p>
            <a:endParaRPr lang="de-DE"/>
          </a:p>
        </p:txBody>
      </p:sp>
      <p:sp>
        <p:nvSpPr>
          <p:cNvPr id="109" name="Grafik 2">
            <a:extLst>
              <a:ext uri="{FF2B5EF4-FFF2-40B4-BE49-F238E27FC236}">
                <a16:creationId xmlns:a16="http://schemas.microsoft.com/office/drawing/2014/main" id="{69AEC9F8-6702-4488-B0DB-10A0C330A004}"/>
              </a:ext>
            </a:extLst>
          </p:cNvPr>
          <p:cNvSpPr/>
          <p:nvPr userDrawn="1"/>
        </p:nvSpPr>
        <p:spPr bwMode="gray">
          <a:xfrm rot="16200000">
            <a:off x="5553958" y="796994"/>
            <a:ext cx="610356" cy="1542495"/>
          </a:xfrm>
          <a:custGeom>
            <a:avLst/>
            <a:gdLst>
              <a:gd name="connsiteX0" fmla="*/ 374428 w 610356"/>
              <a:gd name="connsiteY0" fmla="*/ 1292176 h 1542495"/>
              <a:gd name="connsiteX1" fmla="*/ 411195 w 610356"/>
              <a:gd name="connsiteY1" fmla="*/ 1260838 h 1542495"/>
              <a:gd name="connsiteX2" fmla="*/ 496920 w 610356"/>
              <a:gd name="connsiteY2" fmla="*/ 1175113 h 1542495"/>
              <a:gd name="connsiteX3" fmla="*/ 560166 w 610356"/>
              <a:gd name="connsiteY3" fmla="*/ 1173875 h 1542495"/>
              <a:gd name="connsiteX4" fmla="*/ 562738 w 610356"/>
              <a:gd name="connsiteY4" fmla="*/ 1297700 h 1542495"/>
              <a:gd name="connsiteX5" fmla="*/ 343663 w 610356"/>
              <a:gd name="connsiteY5" fmla="*/ 1516775 h 1542495"/>
              <a:gd name="connsiteX6" fmla="*/ 272225 w 610356"/>
              <a:gd name="connsiteY6" fmla="*/ 1515823 h 1542495"/>
              <a:gd name="connsiteX7" fmla="*/ 24575 w 610356"/>
              <a:gd name="connsiteY7" fmla="*/ 1268173 h 1542495"/>
              <a:gd name="connsiteX8" fmla="*/ 23146 w 610356"/>
              <a:gd name="connsiteY8" fmla="*/ 1199783 h 1542495"/>
              <a:gd name="connsiteX9" fmla="*/ 137446 w 610356"/>
              <a:gd name="connsiteY9" fmla="*/ 1199783 h 1542495"/>
              <a:gd name="connsiteX10" fmla="*/ 234030 w 610356"/>
              <a:gd name="connsiteY10" fmla="*/ 1295890 h 1542495"/>
              <a:gd name="connsiteX11" fmla="*/ 244317 w 610356"/>
              <a:gd name="connsiteY11" fmla="*/ 1246837 h 1542495"/>
              <a:gd name="connsiteX12" fmla="*/ 244983 w 610356"/>
              <a:gd name="connsiteY12" fmla="*/ 577991 h 1542495"/>
              <a:gd name="connsiteX13" fmla="*/ 244983 w 610356"/>
              <a:gd name="connsiteY13" fmla="*/ 75167 h 1542495"/>
              <a:gd name="connsiteX14" fmla="*/ 245650 w 610356"/>
              <a:gd name="connsiteY14" fmla="*/ 34781 h 1542495"/>
              <a:gd name="connsiteX15" fmla="*/ 272387 w 610356"/>
              <a:gd name="connsiteY15" fmla="*/ 3052 h 1542495"/>
              <a:gd name="connsiteX16" fmla="*/ 275940 w 610356"/>
              <a:gd name="connsiteY16" fmla="*/ 2967 h 1542495"/>
              <a:gd name="connsiteX17" fmla="*/ 280417 w 610356"/>
              <a:gd name="connsiteY17" fmla="*/ 2967 h 1542495"/>
              <a:gd name="connsiteX18" fmla="*/ 372523 w 610356"/>
              <a:gd name="connsiteY18" fmla="*/ 86311 h 1542495"/>
              <a:gd name="connsiteX19" fmla="*/ 371761 w 610356"/>
              <a:gd name="connsiteY19" fmla="*/ 1231025 h 1542495"/>
              <a:gd name="connsiteX20" fmla="*/ 374428 w 610356"/>
              <a:gd name="connsiteY20" fmla="*/ 1292176 h 1542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0356" h="1542495">
                <a:moveTo>
                  <a:pt x="374428" y="1292176"/>
                </a:moveTo>
                <a:cubicBezTo>
                  <a:pt x="391859" y="1277412"/>
                  <a:pt x="402146" y="1269697"/>
                  <a:pt x="411195" y="1260838"/>
                </a:cubicBezTo>
                <a:cubicBezTo>
                  <a:pt x="439770" y="1232263"/>
                  <a:pt x="468345" y="1203688"/>
                  <a:pt x="496920" y="1175113"/>
                </a:cubicBezTo>
                <a:cubicBezTo>
                  <a:pt x="525495" y="1146538"/>
                  <a:pt x="531972" y="1147967"/>
                  <a:pt x="560166" y="1173875"/>
                </a:cubicBezTo>
                <a:cubicBezTo>
                  <a:pt x="626079" y="1234169"/>
                  <a:pt x="626079" y="1234169"/>
                  <a:pt x="562738" y="1297700"/>
                </a:cubicBezTo>
                <a:cubicBezTo>
                  <a:pt x="489709" y="1370728"/>
                  <a:pt x="416691" y="1443747"/>
                  <a:pt x="343663" y="1516775"/>
                </a:cubicBezTo>
                <a:cubicBezTo>
                  <a:pt x="309372" y="1550970"/>
                  <a:pt x="307373" y="1550875"/>
                  <a:pt x="272225" y="1515823"/>
                </a:cubicBezTo>
                <a:cubicBezTo>
                  <a:pt x="189672" y="1433270"/>
                  <a:pt x="107128" y="1350726"/>
                  <a:pt x="24575" y="1268173"/>
                </a:cubicBezTo>
                <a:cubicBezTo>
                  <a:pt x="-8667" y="1234835"/>
                  <a:pt x="-8381" y="1232454"/>
                  <a:pt x="23146" y="1199783"/>
                </a:cubicBezTo>
                <a:cubicBezTo>
                  <a:pt x="79058" y="1141776"/>
                  <a:pt x="79058" y="1141776"/>
                  <a:pt x="137446" y="1199783"/>
                </a:cubicBezTo>
                <a:cubicBezTo>
                  <a:pt x="168974" y="1231311"/>
                  <a:pt x="200692" y="1262744"/>
                  <a:pt x="234030" y="1295890"/>
                </a:cubicBezTo>
                <a:cubicBezTo>
                  <a:pt x="249270" y="1278936"/>
                  <a:pt x="244222" y="1261981"/>
                  <a:pt x="244317" y="1246837"/>
                </a:cubicBezTo>
                <a:cubicBezTo>
                  <a:pt x="244764" y="1023885"/>
                  <a:pt x="244983" y="800943"/>
                  <a:pt x="244983" y="577991"/>
                </a:cubicBezTo>
                <a:cubicBezTo>
                  <a:pt x="244983" y="410351"/>
                  <a:pt x="244983" y="242740"/>
                  <a:pt x="244983" y="75167"/>
                </a:cubicBezTo>
                <a:cubicBezTo>
                  <a:pt x="244983" y="61736"/>
                  <a:pt x="244983" y="48211"/>
                  <a:pt x="245650" y="34781"/>
                </a:cubicBezTo>
                <a:cubicBezTo>
                  <a:pt x="244269" y="18636"/>
                  <a:pt x="256242" y="4434"/>
                  <a:pt x="272387" y="3052"/>
                </a:cubicBezTo>
                <a:cubicBezTo>
                  <a:pt x="273568" y="2958"/>
                  <a:pt x="274759" y="2919"/>
                  <a:pt x="275940" y="2967"/>
                </a:cubicBezTo>
                <a:lnTo>
                  <a:pt x="280417" y="2967"/>
                </a:lnTo>
                <a:cubicBezTo>
                  <a:pt x="364427" y="-6558"/>
                  <a:pt x="372523" y="872"/>
                  <a:pt x="372523" y="86311"/>
                </a:cubicBezTo>
                <a:cubicBezTo>
                  <a:pt x="372523" y="467882"/>
                  <a:pt x="372266" y="849454"/>
                  <a:pt x="371761" y="1231025"/>
                </a:cubicBezTo>
                <a:cubicBezTo>
                  <a:pt x="372523" y="1248265"/>
                  <a:pt x="373571" y="1265506"/>
                  <a:pt x="374428" y="1292176"/>
                </a:cubicBezTo>
                <a:close/>
              </a:path>
            </a:pathLst>
          </a:custGeom>
          <a:solidFill>
            <a:srgbClr val="000000"/>
          </a:solidFill>
          <a:ln w="9525" cap="flat">
            <a:noFill/>
            <a:prstDash val="solid"/>
            <a:miter/>
          </a:ln>
        </p:spPr>
        <p:txBody>
          <a:bodyPr rtlCol="0" anchor="ctr"/>
          <a:lstStyle/>
          <a:p>
            <a:endParaRPr lang="de-DE"/>
          </a:p>
        </p:txBody>
      </p:sp>
      <p:sp>
        <p:nvSpPr>
          <p:cNvPr id="110" name="Grafik 2">
            <a:extLst>
              <a:ext uri="{FF2B5EF4-FFF2-40B4-BE49-F238E27FC236}">
                <a16:creationId xmlns:a16="http://schemas.microsoft.com/office/drawing/2014/main" id="{D82DC814-1512-45FE-B4C3-03B881BF1B82}"/>
              </a:ext>
            </a:extLst>
          </p:cNvPr>
          <p:cNvSpPr/>
          <p:nvPr userDrawn="1"/>
        </p:nvSpPr>
        <p:spPr bwMode="gray">
          <a:xfrm>
            <a:off x="3892731" y="514772"/>
            <a:ext cx="788696" cy="789616"/>
          </a:xfrm>
          <a:prstGeom prst="ellipse">
            <a:avLst/>
          </a:prstGeom>
          <a:gradFill flip="none" rotWithShape="1">
            <a:gsLst>
              <a:gs pos="0">
                <a:schemeClr val="tx2"/>
              </a:gs>
              <a:gs pos="100000">
                <a:schemeClr val="accent4"/>
              </a:gs>
            </a:gsLst>
            <a:lin ang="18900000" scaled="1"/>
            <a:tileRect/>
          </a:gradFill>
          <a:ln w="9525"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DCBEAD10-3DE7-42F9-8583-61BAFF3C3AC1}"/>
              </a:ext>
            </a:extLst>
          </p:cNvPr>
          <p:cNvSpPr>
            <a:spLocks noGrp="1"/>
          </p:cNvSpPr>
          <p:nvPr>
            <p:ph type="title" hasCustomPrompt="1"/>
          </p:nvPr>
        </p:nvSpPr>
        <p:spPr bwMode="gray">
          <a:xfrm>
            <a:off x="551384" y="2806128"/>
            <a:ext cx="5040000" cy="1512000"/>
          </a:xfrm>
        </p:spPr>
        <p:txBody>
          <a:bodyPr/>
          <a:lstStyle>
            <a:lvl1pPr>
              <a:defRPr sz="4400"/>
            </a:lvl1pPr>
          </a:lstStyle>
          <a:p>
            <a:r>
              <a:rPr lang="de-DE"/>
              <a:t>Kapitel</a:t>
            </a:r>
            <a:br>
              <a:rPr lang="de-DE"/>
            </a:br>
            <a:endParaRPr lang="de-DE"/>
          </a:p>
        </p:txBody>
      </p:sp>
      <p:sp>
        <p:nvSpPr>
          <p:cNvPr id="39" name="Textplatzhalter 38">
            <a:extLst>
              <a:ext uri="{FF2B5EF4-FFF2-40B4-BE49-F238E27FC236}">
                <a16:creationId xmlns:a16="http://schemas.microsoft.com/office/drawing/2014/main" id="{C50B2D48-FC39-40E6-9978-25C705F4ECB2}"/>
              </a:ext>
            </a:extLst>
          </p:cNvPr>
          <p:cNvSpPr>
            <a:spLocks noGrp="1"/>
          </p:cNvSpPr>
          <p:nvPr>
            <p:ph type="body" sz="quarter" idx="13"/>
          </p:nvPr>
        </p:nvSpPr>
        <p:spPr bwMode="gray">
          <a:xfrm>
            <a:off x="551386" y="4509120"/>
            <a:ext cx="5040000" cy="1728000"/>
          </a:xfrm>
        </p:spPr>
        <p:txBody>
          <a:bodyPr anchor="b"/>
          <a:lstStyle>
            <a:lvl1pPr marL="0" indent="0">
              <a:spcAft>
                <a:spcPts val="0"/>
              </a:spcAft>
              <a:buFont typeface="Arial" panose="020B0604020202020204" pitchFamily="34" charset="0"/>
              <a:buNone/>
              <a:defRPr b="0"/>
            </a:lvl1pPr>
            <a:lvl2pPr marL="0" indent="0">
              <a:spcAft>
                <a:spcPts val="0"/>
              </a:spcAft>
              <a:buFont typeface="Arial" panose="020B0604020202020204" pitchFamily="34" charset="0"/>
              <a:buNone/>
              <a:defRPr b="0"/>
            </a:lvl2pPr>
            <a:lvl3pPr marL="0" indent="0">
              <a:spcAft>
                <a:spcPts val="0"/>
              </a:spcAft>
              <a:buNone/>
              <a:defRPr b="0"/>
            </a:lvl3pPr>
            <a:lvl4pPr marL="0" indent="0">
              <a:spcAft>
                <a:spcPts val="0"/>
              </a:spcAft>
              <a:buNone/>
              <a:defRPr b="0"/>
            </a:lvl4pPr>
            <a:lvl5pPr marL="0" indent="0">
              <a:spcAft>
                <a:spcPts val="0"/>
              </a:spcAft>
              <a:buNone/>
              <a:defRPr b="0"/>
            </a:lvl5pPr>
            <a:lvl6pPr marL="0" indent="0">
              <a:spcAft>
                <a:spcPts val="0"/>
              </a:spcAft>
              <a:buNone/>
              <a:defRPr b="0"/>
            </a:lvl6pPr>
            <a:lvl7pPr marL="0" indent="0">
              <a:spcAft>
                <a:spcPts val="0"/>
              </a:spcAft>
              <a:buNone/>
              <a:defRPr b="0"/>
            </a:lvl7pPr>
            <a:lvl8pPr marL="0" indent="0">
              <a:spcAft>
                <a:spcPts val="0"/>
              </a:spcAft>
              <a:buNone/>
              <a:defRPr b="0"/>
            </a:lvl8pPr>
            <a:lvl9pPr marL="0" indent="0">
              <a:spcAft>
                <a:spcPts val="0"/>
              </a:spcAft>
              <a:buNone/>
              <a:defRPr b="0"/>
            </a:lvl9pPr>
          </a:lstStyle>
          <a:p>
            <a:pPr lvl="0"/>
            <a:r>
              <a:rPr lang="de-DE"/>
              <a:t>Mastertextformat bearbeiten</a:t>
            </a:r>
          </a:p>
        </p:txBody>
      </p:sp>
      <p:sp>
        <p:nvSpPr>
          <p:cNvPr id="4" name="Textplatzhalter 3">
            <a:extLst>
              <a:ext uri="{FF2B5EF4-FFF2-40B4-BE49-F238E27FC236}">
                <a16:creationId xmlns:a16="http://schemas.microsoft.com/office/drawing/2014/main" id="{CE5F94A5-AD69-4C27-9EEE-EEBE8ABF072C}"/>
              </a:ext>
            </a:extLst>
          </p:cNvPr>
          <p:cNvSpPr>
            <a:spLocks noGrp="1"/>
          </p:cNvSpPr>
          <p:nvPr>
            <p:ph type="body" sz="quarter" idx="14" hasCustomPrompt="1"/>
          </p:nvPr>
        </p:nvSpPr>
        <p:spPr bwMode="gray">
          <a:xfrm>
            <a:off x="551384" y="2348880"/>
            <a:ext cx="288000" cy="25200"/>
          </a:xfrm>
          <a:solidFill>
            <a:schemeClr val="tx1"/>
          </a:solidFill>
        </p:spPr>
        <p:txBody>
          <a:bodyPr wrap="none" tIns="36000" anchor="t"/>
          <a:lstStyle>
            <a:lvl1pPr marL="0" algn="l">
              <a:spcAft>
                <a:spcPts val="0"/>
              </a:spcAft>
              <a:buFontTx/>
              <a:buNone/>
              <a:defRPr sz="1600" b="1"/>
            </a:lvl1pPr>
            <a:lvl2pPr marL="0" algn="l">
              <a:spcAft>
                <a:spcPts val="0"/>
              </a:spcAft>
              <a:buFontTx/>
              <a:buNone/>
              <a:defRPr sz="1600" b="1"/>
            </a:lvl2pPr>
            <a:lvl3pPr marL="0" indent="0" algn="l">
              <a:spcAft>
                <a:spcPts val="0"/>
              </a:spcAft>
              <a:buFontTx/>
              <a:buNone/>
              <a:defRPr sz="1600" b="1"/>
            </a:lvl3pPr>
            <a:lvl4pPr marL="0" indent="0" algn="l">
              <a:spcAft>
                <a:spcPts val="0"/>
              </a:spcAft>
              <a:buFontTx/>
              <a:buNone/>
              <a:defRPr sz="1600" b="1"/>
            </a:lvl4pPr>
            <a:lvl5pPr marL="0" indent="0" algn="l">
              <a:spcAft>
                <a:spcPts val="0"/>
              </a:spcAft>
              <a:buFontTx/>
              <a:buNone/>
              <a:defRPr sz="1600" b="1"/>
            </a:lvl5pPr>
            <a:lvl6pPr marL="0" indent="0" algn="l">
              <a:spcAft>
                <a:spcPts val="0"/>
              </a:spcAft>
              <a:buFontTx/>
              <a:buNone/>
              <a:defRPr sz="1600" b="1"/>
            </a:lvl6pPr>
            <a:lvl7pPr marL="0" indent="0" algn="l">
              <a:spcAft>
                <a:spcPts val="0"/>
              </a:spcAft>
              <a:buFontTx/>
              <a:buNone/>
              <a:defRPr sz="1600" b="1"/>
            </a:lvl7pPr>
            <a:lvl8pPr marL="0" indent="0" algn="l">
              <a:spcAft>
                <a:spcPts val="0"/>
              </a:spcAft>
              <a:buFontTx/>
              <a:buNone/>
              <a:defRPr sz="1600" b="1"/>
            </a:lvl8pPr>
            <a:lvl9pPr marL="0" indent="0" algn="l">
              <a:spcAft>
                <a:spcPts val="0"/>
              </a:spcAft>
              <a:buFontTx/>
              <a:buNone/>
              <a:defRPr sz="1600" b="1"/>
            </a:lvl9pPr>
          </a:lstStyle>
          <a:p>
            <a:pPr lvl="0"/>
            <a:r>
              <a:rPr lang="de-DE"/>
              <a:t>Uhrzeit oder Kapitelnummer</a:t>
            </a:r>
          </a:p>
        </p:txBody>
      </p:sp>
      <p:grpSp>
        <p:nvGrpSpPr>
          <p:cNvPr id="72" name="Gruppieren 71">
            <a:extLst>
              <a:ext uri="{FF2B5EF4-FFF2-40B4-BE49-F238E27FC236}">
                <a16:creationId xmlns:a16="http://schemas.microsoft.com/office/drawing/2014/main" id="{D6A03740-1C94-4941-A91A-23EB94F1BB64}"/>
              </a:ext>
            </a:extLst>
          </p:cNvPr>
          <p:cNvGrpSpPr/>
          <p:nvPr userDrawn="1"/>
        </p:nvGrpSpPr>
        <p:grpSpPr bwMode="gray">
          <a:xfrm>
            <a:off x="585418" y="-43036"/>
            <a:ext cx="1158591" cy="951756"/>
            <a:chOff x="9542706" y="466232"/>
            <a:chExt cx="1158591" cy="951756"/>
          </a:xfrm>
        </p:grpSpPr>
        <p:sp>
          <p:nvSpPr>
            <p:cNvPr id="75" name="Grafik 2">
              <a:extLst>
                <a:ext uri="{FF2B5EF4-FFF2-40B4-BE49-F238E27FC236}">
                  <a16:creationId xmlns:a16="http://schemas.microsoft.com/office/drawing/2014/main" id="{EC62A7D5-F232-4419-904F-370BA5CEBD85}"/>
                </a:ext>
              </a:extLst>
            </p:cNvPr>
            <p:cNvSpPr/>
            <p:nvPr/>
          </p:nvSpPr>
          <p:spPr bwMode="gray">
            <a:xfrm>
              <a:off x="10575216" y="672982"/>
              <a:ext cx="125652" cy="125498"/>
            </a:xfrm>
            <a:custGeom>
              <a:avLst/>
              <a:gdLst>
                <a:gd name="connsiteX0" fmla="*/ 125119 w 125652"/>
                <a:gd name="connsiteY0" fmla="*/ 60406 h 125498"/>
                <a:gd name="connsiteX1" fmla="*/ 66254 w 125652"/>
                <a:gd name="connsiteY1" fmla="*/ 125271 h 125498"/>
                <a:gd name="connsiteX2" fmla="*/ -421 w 125652"/>
                <a:gd name="connsiteY2" fmla="*/ 60406 h 125498"/>
                <a:gd name="connsiteX3" fmla="*/ 62825 w 125652"/>
                <a:gd name="connsiteY3" fmla="*/ 17 h 125498"/>
                <a:gd name="connsiteX4" fmla="*/ 125024 w 125652"/>
                <a:gd name="connsiteY4" fmla="*/ 51681 h 125498"/>
                <a:gd name="connsiteX5" fmla="*/ 125119 w 125652"/>
                <a:gd name="connsiteY5" fmla="*/ 60406 h 12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52" h="125498">
                  <a:moveTo>
                    <a:pt x="125119" y="60406"/>
                  </a:moveTo>
                  <a:cubicBezTo>
                    <a:pt x="125119" y="97744"/>
                    <a:pt x="100449" y="124985"/>
                    <a:pt x="66254" y="125271"/>
                  </a:cubicBezTo>
                  <a:cubicBezTo>
                    <a:pt x="30345" y="124652"/>
                    <a:pt x="1199" y="96249"/>
                    <a:pt x="-421" y="60406"/>
                  </a:cubicBezTo>
                  <a:cubicBezTo>
                    <a:pt x="-992" y="25925"/>
                    <a:pt x="25391" y="779"/>
                    <a:pt x="62825" y="17"/>
                  </a:cubicBezTo>
                  <a:cubicBezTo>
                    <a:pt x="94258" y="-2878"/>
                    <a:pt x="122070" y="20248"/>
                    <a:pt x="125024" y="51681"/>
                  </a:cubicBezTo>
                  <a:cubicBezTo>
                    <a:pt x="125214" y="54577"/>
                    <a:pt x="125309" y="57501"/>
                    <a:pt x="125119" y="60406"/>
                  </a:cubicBezTo>
                  <a:close/>
                </a:path>
              </a:pathLst>
            </a:custGeom>
            <a:solidFill>
              <a:srgbClr val="000000"/>
            </a:solidFill>
            <a:ln w="9525" cap="flat">
              <a:noFill/>
              <a:prstDash val="solid"/>
              <a:miter/>
            </a:ln>
          </p:spPr>
          <p:txBody>
            <a:bodyPr rtlCol="0" anchor="ctr"/>
            <a:lstStyle/>
            <a:p>
              <a:endParaRPr lang="de-DE"/>
            </a:p>
          </p:txBody>
        </p:sp>
        <p:sp>
          <p:nvSpPr>
            <p:cNvPr id="76" name="Grafik 2">
              <a:extLst>
                <a:ext uri="{FF2B5EF4-FFF2-40B4-BE49-F238E27FC236}">
                  <a16:creationId xmlns:a16="http://schemas.microsoft.com/office/drawing/2014/main" id="{B76DD1C1-3792-477A-8D87-3ADE8B80E0D3}"/>
                </a:ext>
              </a:extLst>
            </p:cNvPr>
            <p:cNvSpPr/>
            <p:nvPr/>
          </p:nvSpPr>
          <p:spPr bwMode="gray">
            <a:xfrm>
              <a:off x="9542906" y="879329"/>
              <a:ext cx="125577" cy="125659"/>
            </a:xfrm>
            <a:custGeom>
              <a:avLst/>
              <a:gdLst>
                <a:gd name="connsiteX0" fmla="*/ 124919 w 125577"/>
                <a:gd name="connsiteY0" fmla="*/ 62084 h 125659"/>
                <a:gd name="connsiteX1" fmla="*/ 64531 w 125577"/>
                <a:gd name="connsiteY1" fmla="*/ 125426 h 125659"/>
                <a:gd name="connsiteX2" fmla="*/ -430 w 125577"/>
                <a:gd name="connsiteY2" fmla="*/ 58751 h 125659"/>
                <a:gd name="connsiteX3" fmla="*/ 64436 w 125577"/>
                <a:gd name="connsiteY3" fmla="*/ -114 h 125659"/>
                <a:gd name="connsiteX4" fmla="*/ 125015 w 125577"/>
                <a:gd name="connsiteY4" fmla="*/ 53359 h 125659"/>
                <a:gd name="connsiteX5" fmla="*/ 124919 w 125577"/>
                <a:gd name="connsiteY5" fmla="*/ 62084 h 12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77" h="125659">
                  <a:moveTo>
                    <a:pt x="124919" y="62084"/>
                  </a:moveTo>
                  <a:cubicBezTo>
                    <a:pt x="124157" y="99518"/>
                    <a:pt x="99012" y="125902"/>
                    <a:pt x="64531" y="125426"/>
                  </a:cubicBezTo>
                  <a:cubicBezTo>
                    <a:pt x="28717" y="123778"/>
                    <a:pt x="332" y="94612"/>
                    <a:pt x="-430" y="58751"/>
                  </a:cubicBezTo>
                  <a:cubicBezTo>
                    <a:pt x="-430" y="24556"/>
                    <a:pt x="27002" y="-114"/>
                    <a:pt x="64436" y="-114"/>
                  </a:cubicBezTo>
                  <a:cubicBezTo>
                    <a:pt x="95963" y="-2086"/>
                    <a:pt x="123109" y="21860"/>
                    <a:pt x="125015" y="53359"/>
                  </a:cubicBezTo>
                  <a:cubicBezTo>
                    <a:pt x="125205" y="56265"/>
                    <a:pt x="125205" y="59179"/>
                    <a:pt x="124919" y="62084"/>
                  </a:cubicBezTo>
                  <a:close/>
                </a:path>
              </a:pathLst>
            </a:custGeom>
            <a:solidFill>
              <a:srgbClr val="000000"/>
            </a:solidFill>
            <a:ln w="9525" cap="flat">
              <a:noFill/>
              <a:prstDash val="solid"/>
              <a:miter/>
            </a:ln>
          </p:spPr>
          <p:txBody>
            <a:bodyPr rtlCol="0" anchor="ctr"/>
            <a:lstStyle/>
            <a:p>
              <a:endParaRPr lang="de-DE"/>
            </a:p>
          </p:txBody>
        </p:sp>
        <p:sp>
          <p:nvSpPr>
            <p:cNvPr id="77" name="Grafik 2">
              <a:extLst>
                <a:ext uri="{FF2B5EF4-FFF2-40B4-BE49-F238E27FC236}">
                  <a16:creationId xmlns:a16="http://schemas.microsoft.com/office/drawing/2014/main" id="{AA3889DC-9867-4F15-A025-ECEA550AC286}"/>
                </a:ext>
              </a:extLst>
            </p:cNvPr>
            <p:cNvSpPr/>
            <p:nvPr/>
          </p:nvSpPr>
          <p:spPr bwMode="gray">
            <a:xfrm>
              <a:off x="9749949" y="879440"/>
              <a:ext cx="125246" cy="125541"/>
            </a:xfrm>
            <a:custGeom>
              <a:avLst/>
              <a:gdLst>
                <a:gd name="connsiteX0" fmla="*/ 66276 w 125246"/>
                <a:gd name="connsiteY0" fmla="*/ 125315 h 125541"/>
                <a:gd name="connsiteX1" fmla="*/ -399 w 125246"/>
                <a:gd name="connsiteY1" fmla="*/ 61212 h 125541"/>
                <a:gd name="connsiteX2" fmla="*/ 61990 w 125246"/>
                <a:gd name="connsiteY2" fmla="*/ 61 h 125541"/>
                <a:gd name="connsiteX3" fmla="*/ 124569 w 125246"/>
                <a:gd name="connsiteY3" fmla="*/ 51239 h 125541"/>
                <a:gd name="connsiteX4" fmla="*/ 124759 w 125246"/>
                <a:gd name="connsiteY4" fmla="*/ 59688 h 125541"/>
                <a:gd name="connsiteX5" fmla="*/ 66276 w 125246"/>
                <a:gd name="connsiteY5" fmla="*/ 125315 h 125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246" h="125541">
                  <a:moveTo>
                    <a:pt x="66276" y="125315"/>
                  </a:moveTo>
                  <a:cubicBezTo>
                    <a:pt x="30652" y="124810"/>
                    <a:pt x="1506" y="96787"/>
                    <a:pt x="-399" y="61212"/>
                  </a:cubicBezTo>
                  <a:cubicBezTo>
                    <a:pt x="-1447" y="26636"/>
                    <a:pt x="24461" y="1204"/>
                    <a:pt x="61990" y="61"/>
                  </a:cubicBezTo>
                  <a:cubicBezTo>
                    <a:pt x="93422" y="-3082"/>
                    <a:pt x="121426" y="19835"/>
                    <a:pt x="124569" y="51239"/>
                  </a:cubicBezTo>
                  <a:cubicBezTo>
                    <a:pt x="124855" y="54049"/>
                    <a:pt x="124855" y="56868"/>
                    <a:pt x="124759" y="59688"/>
                  </a:cubicBezTo>
                  <a:cubicBezTo>
                    <a:pt x="124855" y="97025"/>
                    <a:pt x="100470" y="124553"/>
                    <a:pt x="66276" y="125315"/>
                  </a:cubicBezTo>
                  <a:close/>
                </a:path>
              </a:pathLst>
            </a:custGeom>
            <a:solidFill>
              <a:srgbClr val="000000"/>
            </a:solidFill>
            <a:ln w="9525" cap="flat">
              <a:noFill/>
              <a:prstDash val="solid"/>
              <a:miter/>
            </a:ln>
          </p:spPr>
          <p:txBody>
            <a:bodyPr rtlCol="0" anchor="ctr"/>
            <a:lstStyle/>
            <a:p>
              <a:endParaRPr lang="de-DE"/>
            </a:p>
          </p:txBody>
        </p:sp>
        <p:sp>
          <p:nvSpPr>
            <p:cNvPr id="78" name="Grafik 2">
              <a:extLst>
                <a:ext uri="{FF2B5EF4-FFF2-40B4-BE49-F238E27FC236}">
                  <a16:creationId xmlns:a16="http://schemas.microsoft.com/office/drawing/2014/main" id="{1EB62C5F-2AF6-400E-B7CD-C04C0A7C53B9}"/>
                </a:ext>
              </a:extLst>
            </p:cNvPr>
            <p:cNvSpPr/>
            <p:nvPr/>
          </p:nvSpPr>
          <p:spPr bwMode="gray">
            <a:xfrm>
              <a:off x="9956451" y="879440"/>
              <a:ext cx="125246" cy="125541"/>
            </a:xfrm>
            <a:custGeom>
              <a:avLst/>
              <a:gdLst>
                <a:gd name="connsiteX0" fmla="*/ 66276 w 125246"/>
                <a:gd name="connsiteY0" fmla="*/ 125315 h 125541"/>
                <a:gd name="connsiteX1" fmla="*/ -399 w 125246"/>
                <a:gd name="connsiteY1" fmla="*/ 61212 h 125541"/>
                <a:gd name="connsiteX2" fmla="*/ 61989 w 125246"/>
                <a:gd name="connsiteY2" fmla="*/ 61 h 125541"/>
                <a:gd name="connsiteX3" fmla="*/ 124569 w 125246"/>
                <a:gd name="connsiteY3" fmla="*/ 51239 h 125541"/>
                <a:gd name="connsiteX4" fmla="*/ 124759 w 125246"/>
                <a:gd name="connsiteY4" fmla="*/ 59688 h 125541"/>
                <a:gd name="connsiteX5" fmla="*/ 66276 w 125246"/>
                <a:gd name="connsiteY5" fmla="*/ 125315 h 125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246" h="125541">
                  <a:moveTo>
                    <a:pt x="66276" y="125315"/>
                  </a:moveTo>
                  <a:cubicBezTo>
                    <a:pt x="30652" y="124810"/>
                    <a:pt x="1505" y="96787"/>
                    <a:pt x="-399" y="61212"/>
                  </a:cubicBezTo>
                  <a:cubicBezTo>
                    <a:pt x="-1447" y="26636"/>
                    <a:pt x="24461" y="1204"/>
                    <a:pt x="61989" y="61"/>
                  </a:cubicBezTo>
                  <a:cubicBezTo>
                    <a:pt x="93422" y="-3082"/>
                    <a:pt x="121425" y="19835"/>
                    <a:pt x="124569" y="51239"/>
                  </a:cubicBezTo>
                  <a:cubicBezTo>
                    <a:pt x="124855" y="54049"/>
                    <a:pt x="124855" y="56868"/>
                    <a:pt x="124759" y="59688"/>
                  </a:cubicBezTo>
                  <a:cubicBezTo>
                    <a:pt x="124855" y="97025"/>
                    <a:pt x="100470" y="124553"/>
                    <a:pt x="66276" y="125315"/>
                  </a:cubicBezTo>
                  <a:close/>
                </a:path>
              </a:pathLst>
            </a:custGeom>
            <a:solidFill>
              <a:srgbClr val="000000"/>
            </a:solidFill>
            <a:ln w="9525" cap="flat">
              <a:noFill/>
              <a:prstDash val="solid"/>
              <a:miter/>
            </a:ln>
          </p:spPr>
          <p:txBody>
            <a:bodyPr rtlCol="0" anchor="ctr"/>
            <a:lstStyle/>
            <a:p>
              <a:endParaRPr lang="de-DE"/>
            </a:p>
          </p:txBody>
        </p:sp>
        <p:sp>
          <p:nvSpPr>
            <p:cNvPr id="79" name="Grafik 2">
              <a:extLst>
                <a:ext uri="{FF2B5EF4-FFF2-40B4-BE49-F238E27FC236}">
                  <a16:creationId xmlns:a16="http://schemas.microsoft.com/office/drawing/2014/main" id="{64019FF5-7C2F-4401-B48C-F75024490C06}"/>
                </a:ext>
              </a:extLst>
            </p:cNvPr>
            <p:cNvSpPr/>
            <p:nvPr/>
          </p:nvSpPr>
          <p:spPr bwMode="gray">
            <a:xfrm>
              <a:off x="10162508" y="879546"/>
              <a:ext cx="125500" cy="125361"/>
            </a:xfrm>
            <a:custGeom>
              <a:avLst/>
              <a:gdLst>
                <a:gd name="connsiteX0" fmla="*/ 64816 w 125500"/>
                <a:gd name="connsiteY0" fmla="*/ -141 h 125361"/>
                <a:gd name="connsiteX1" fmla="*/ 125014 w 125500"/>
                <a:gd name="connsiteY1" fmla="*/ 53809 h 125361"/>
                <a:gd name="connsiteX2" fmla="*/ 124824 w 125500"/>
                <a:gd name="connsiteY2" fmla="*/ 62343 h 125361"/>
                <a:gd name="connsiteX3" fmla="*/ 63959 w 125500"/>
                <a:gd name="connsiteY3" fmla="*/ 125113 h 125361"/>
                <a:gd name="connsiteX4" fmla="*/ -430 w 125500"/>
                <a:gd name="connsiteY4" fmla="*/ 58438 h 125361"/>
                <a:gd name="connsiteX5" fmla="*/ 64816 w 125500"/>
                <a:gd name="connsiteY5" fmla="*/ -141 h 12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00" h="125361">
                  <a:moveTo>
                    <a:pt x="64816" y="-141"/>
                  </a:moveTo>
                  <a:cubicBezTo>
                    <a:pt x="96343" y="-1865"/>
                    <a:pt x="123300" y="22291"/>
                    <a:pt x="125014" y="53809"/>
                  </a:cubicBezTo>
                  <a:cubicBezTo>
                    <a:pt x="125109" y="56657"/>
                    <a:pt x="125109" y="59505"/>
                    <a:pt x="124824" y="62343"/>
                  </a:cubicBezTo>
                  <a:cubicBezTo>
                    <a:pt x="123775" y="99872"/>
                    <a:pt x="98535" y="125971"/>
                    <a:pt x="63959" y="125113"/>
                  </a:cubicBezTo>
                  <a:cubicBezTo>
                    <a:pt x="28240" y="123313"/>
                    <a:pt x="141" y="94148"/>
                    <a:pt x="-430" y="58438"/>
                  </a:cubicBezTo>
                  <a:cubicBezTo>
                    <a:pt x="141" y="24148"/>
                    <a:pt x="27478" y="-331"/>
                    <a:pt x="64816" y="-141"/>
                  </a:cubicBezTo>
                  <a:close/>
                </a:path>
              </a:pathLst>
            </a:custGeom>
            <a:solidFill>
              <a:srgbClr val="000000"/>
            </a:solidFill>
            <a:ln w="9525" cap="flat">
              <a:noFill/>
              <a:prstDash val="solid"/>
              <a:miter/>
            </a:ln>
          </p:spPr>
          <p:txBody>
            <a:bodyPr rtlCol="0" anchor="ctr"/>
            <a:lstStyle/>
            <a:p>
              <a:endParaRPr lang="de-DE"/>
            </a:p>
          </p:txBody>
        </p:sp>
        <p:sp>
          <p:nvSpPr>
            <p:cNvPr id="80" name="Grafik 2">
              <a:extLst>
                <a:ext uri="{FF2B5EF4-FFF2-40B4-BE49-F238E27FC236}">
                  <a16:creationId xmlns:a16="http://schemas.microsoft.com/office/drawing/2014/main" id="{0B47D8B8-9FD6-479B-9751-74793A050D07}"/>
                </a:ext>
              </a:extLst>
            </p:cNvPr>
            <p:cNvSpPr/>
            <p:nvPr/>
          </p:nvSpPr>
          <p:spPr bwMode="gray">
            <a:xfrm>
              <a:off x="9956003" y="466550"/>
              <a:ext cx="125399" cy="125428"/>
            </a:xfrm>
            <a:custGeom>
              <a:avLst/>
              <a:gdLst>
                <a:gd name="connsiteX0" fmla="*/ 63390 w 125399"/>
                <a:gd name="connsiteY0" fmla="*/ -52 h 125428"/>
                <a:gd name="connsiteX1" fmla="*/ 124826 w 125399"/>
                <a:gd name="connsiteY1" fmla="*/ 52497 h 125428"/>
                <a:gd name="connsiteX2" fmla="*/ 124826 w 125399"/>
                <a:gd name="connsiteY2" fmla="*/ 60907 h 125428"/>
                <a:gd name="connsiteX3" fmla="*/ 65390 w 125399"/>
                <a:gd name="connsiteY3" fmla="*/ 125201 h 125428"/>
                <a:gd name="connsiteX4" fmla="*/ -428 w 125399"/>
                <a:gd name="connsiteY4" fmla="*/ 59860 h 125428"/>
                <a:gd name="connsiteX5" fmla="*/ 63390 w 125399"/>
                <a:gd name="connsiteY5" fmla="*/ -52 h 125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99" h="125428">
                  <a:moveTo>
                    <a:pt x="63390" y="-52"/>
                  </a:moveTo>
                  <a:cubicBezTo>
                    <a:pt x="94822" y="-2500"/>
                    <a:pt x="122350" y="21036"/>
                    <a:pt x="124826" y="52497"/>
                  </a:cubicBezTo>
                  <a:cubicBezTo>
                    <a:pt x="125017" y="55297"/>
                    <a:pt x="125017" y="58107"/>
                    <a:pt x="124826" y="60907"/>
                  </a:cubicBezTo>
                  <a:cubicBezTo>
                    <a:pt x="124826" y="98341"/>
                    <a:pt x="99775" y="125201"/>
                    <a:pt x="65390" y="125201"/>
                  </a:cubicBezTo>
                  <a:cubicBezTo>
                    <a:pt x="29672" y="124125"/>
                    <a:pt x="906" y="95560"/>
                    <a:pt x="-428" y="59860"/>
                  </a:cubicBezTo>
                  <a:cubicBezTo>
                    <a:pt x="-714" y="25094"/>
                    <a:pt x="25957" y="424"/>
                    <a:pt x="63390" y="-52"/>
                  </a:cubicBezTo>
                  <a:close/>
                </a:path>
              </a:pathLst>
            </a:custGeom>
            <a:solidFill>
              <a:srgbClr val="000000"/>
            </a:solidFill>
            <a:ln w="9525" cap="flat">
              <a:noFill/>
              <a:prstDash val="solid"/>
              <a:miter/>
            </a:ln>
          </p:spPr>
          <p:txBody>
            <a:bodyPr rtlCol="0" anchor="ctr"/>
            <a:lstStyle/>
            <a:p>
              <a:endParaRPr lang="de-DE"/>
            </a:p>
          </p:txBody>
        </p:sp>
        <p:sp>
          <p:nvSpPr>
            <p:cNvPr id="81" name="Grafik 2">
              <a:extLst>
                <a:ext uri="{FF2B5EF4-FFF2-40B4-BE49-F238E27FC236}">
                  <a16:creationId xmlns:a16="http://schemas.microsoft.com/office/drawing/2014/main" id="{DBD7E37E-49AE-4C7A-BC94-EE4ABE51F53B}"/>
                </a:ext>
              </a:extLst>
            </p:cNvPr>
            <p:cNvSpPr/>
            <p:nvPr/>
          </p:nvSpPr>
          <p:spPr bwMode="gray">
            <a:xfrm>
              <a:off x="10575956" y="879431"/>
              <a:ext cx="125341" cy="125550"/>
            </a:xfrm>
            <a:custGeom>
              <a:avLst/>
              <a:gdLst>
                <a:gd name="connsiteX0" fmla="*/ 66276 w 125341"/>
                <a:gd name="connsiteY0" fmla="*/ 125324 h 125550"/>
                <a:gd name="connsiteX1" fmla="*/ -399 w 125341"/>
                <a:gd name="connsiteY1" fmla="*/ 61221 h 125550"/>
                <a:gd name="connsiteX2" fmla="*/ 61990 w 125341"/>
                <a:gd name="connsiteY2" fmla="*/ 70 h 125550"/>
                <a:gd name="connsiteX3" fmla="*/ 124664 w 125341"/>
                <a:gd name="connsiteY3" fmla="*/ 51143 h 125550"/>
                <a:gd name="connsiteX4" fmla="*/ 124855 w 125341"/>
                <a:gd name="connsiteY4" fmla="*/ 59697 h 125550"/>
                <a:gd name="connsiteX5" fmla="*/ 66276 w 125341"/>
                <a:gd name="connsiteY5" fmla="*/ 125324 h 12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41" h="125550">
                  <a:moveTo>
                    <a:pt x="66276" y="125324"/>
                  </a:moveTo>
                  <a:cubicBezTo>
                    <a:pt x="30652" y="124781"/>
                    <a:pt x="1506" y="96777"/>
                    <a:pt x="-399" y="61221"/>
                  </a:cubicBezTo>
                  <a:cubicBezTo>
                    <a:pt x="-1447" y="26645"/>
                    <a:pt x="24462" y="1213"/>
                    <a:pt x="61990" y="70"/>
                  </a:cubicBezTo>
                  <a:cubicBezTo>
                    <a:pt x="93423" y="-3121"/>
                    <a:pt x="121426" y="19739"/>
                    <a:pt x="124664" y="51143"/>
                  </a:cubicBezTo>
                  <a:cubicBezTo>
                    <a:pt x="124950" y="53981"/>
                    <a:pt x="124950" y="56848"/>
                    <a:pt x="124855" y="59697"/>
                  </a:cubicBezTo>
                  <a:cubicBezTo>
                    <a:pt x="125141" y="97034"/>
                    <a:pt x="100471" y="124562"/>
                    <a:pt x="66276" y="125324"/>
                  </a:cubicBezTo>
                  <a:close/>
                </a:path>
              </a:pathLst>
            </a:custGeom>
            <a:solidFill>
              <a:srgbClr val="000000"/>
            </a:solidFill>
            <a:ln w="9525" cap="flat">
              <a:noFill/>
              <a:prstDash val="solid"/>
              <a:miter/>
            </a:ln>
          </p:spPr>
          <p:txBody>
            <a:bodyPr rtlCol="0" anchor="ctr"/>
            <a:lstStyle/>
            <a:p>
              <a:endParaRPr lang="de-DE"/>
            </a:p>
          </p:txBody>
        </p:sp>
        <p:sp>
          <p:nvSpPr>
            <p:cNvPr id="82" name="Grafik 2">
              <a:extLst>
                <a:ext uri="{FF2B5EF4-FFF2-40B4-BE49-F238E27FC236}">
                  <a16:creationId xmlns:a16="http://schemas.microsoft.com/office/drawing/2014/main" id="{08909E4B-A5C3-4352-B434-FA0C3E9420A1}"/>
                </a:ext>
              </a:extLst>
            </p:cNvPr>
            <p:cNvSpPr/>
            <p:nvPr/>
          </p:nvSpPr>
          <p:spPr bwMode="gray">
            <a:xfrm>
              <a:off x="9543001" y="1086080"/>
              <a:ext cx="125480" cy="125345"/>
            </a:xfrm>
            <a:custGeom>
              <a:avLst/>
              <a:gdLst>
                <a:gd name="connsiteX0" fmla="*/ 65388 w 125480"/>
                <a:gd name="connsiteY0" fmla="*/ -172 h 125345"/>
                <a:gd name="connsiteX1" fmla="*/ 125015 w 125480"/>
                <a:gd name="connsiteY1" fmla="*/ 54426 h 125345"/>
                <a:gd name="connsiteX2" fmla="*/ 124729 w 125480"/>
                <a:gd name="connsiteY2" fmla="*/ 62884 h 125345"/>
                <a:gd name="connsiteX3" fmla="*/ 63387 w 125480"/>
                <a:gd name="connsiteY3" fmla="*/ 125082 h 125345"/>
                <a:gd name="connsiteX4" fmla="*/ -430 w 125480"/>
                <a:gd name="connsiteY4" fmla="*/ 57740 h 125345"/>
                <a:gd name="connsiteX5" fmla="*/ 65388 w 125480"/>
                <a:gd name="connsiteY5" fmla="*/ -172 h 12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480" h="125345">
                  <a:moveTo>
                    <a:pt x="65388" y="-172"/>
                  </a:moveTo>
                  <a:cubicBezTo>
                    <a:pt x="96915" y="-1553"/>
                    <a:pt x="123586" y="22888"/>
                    <a:pt x="125015" y="54426"/>
                  </a:cubicBezTo>
                  <a:cubicBezTo>
                    <a:pt x="125110" y="57245"/>
                    <a:pt x="125015" y="60074"/>
                    <a:pt x="124729" y="62884"/>
                  </a:cubicBezTo>
                  <a:cubicBezTo>
                    <a:pt x="123490" y="100317"/>
                    <a:pt x="97963" y="126225"/>
                    <a:pt x="63387" y="125082"/>
                  </a:cubicBezTo>
                  <a:cubicBezTo>
                    <a:pt x="27668" y="123015"/>
                    <a:pt x="-335" y="93526"/>
                    <a:pt x="-430" y="57740"/>
                  </a:cubicBezTo>
                  <a:cubicBezTo>
                    <a:pt x="427" y="23641"/>
                    <a:pt x="28145" y="-648"/>
                    <a:pt x="65388" y="-172"/>
                  </a:cubicBezTo>
                  <a:close/>
                </a:path>
              </a:pathLst>
            </a:custGeom>
            <a:solidFill>
              <a:srgbClr val="000000"/>
            </a:solidFill>
            <a:ln w="9525" cap="flat">
              <a:noFill/>
              <a:prstDash val="solid"/>
              <a:miter/>
            </a:ln>
          </p:spPr>
          <p:txBody>
            <a:bodyPr rtlCol="0" anchor="ctr"/>
            <a:lstStyle/>
            <a:p>
              <a:endParaRPr lang="de-DE"/>
            </a:p>
          </p:txBody>
        </p:sp>
        <p:sp>
          <p:nvSpPr>
            <p:cNvPr id="83" name="Grafik 2">
              <a:extLst>
                <a:ext uri="{FF2B5EF4-FFF2-40B4-BE49-F238E27FC236}">
                  <a16:creationId xmlns:a16="http://schemas.microsoft.com/office/drawing/2014/main" id="{B81428CC-3CBA-4A0B-83CB-7E0FE27AEC4A}"/>
                </a:ext>
              </a:extLst>
            </p:cNvPr>
            <p:cNvSpPr/>
            <p:nvPr/>
          </p:nvSpPr>
          <p:spPr bwMode="gray">
            <a:xfrm>
              <a:off x="9749673" y="1085987"/>
              <a:ext cx="125183" cy="125496"/>
            </a:xfrm>
            <a:custGeom>
              <a:avLst/>
              <a:gdLst>
                <a:gd name="connsiteX0" fmla="*/ 124654 w 125183"/>
                <a:gd name="connsiteY0" fmla="*/ 59928 h 125496"/>
                <a:gd name="connsiteX1" fmla="*/ 66266 w 125183"/>
                <a:gd name="connsiteY1" fmla="*/ 125269 h 125496"/>
                <a:gd name="connsiteX2" fmla="*/ -409 w 125183"/>
                <a:gd name="connsiteY2" fmla="*/ 60881 h 125496"/>
                <a:gd name="connsiteX3" fmla="*/ 62361 w 125183"/>
                <a:gd name="connsiteY3" fmla="*/ 16 h 125496"/>
                <a:gd name="connsiteX4" fmla="*/ 124464 w 125183"/>
                <a:gd name="connsiteY4" fmla="*/ 51708 h 125496"/>
                <a:gd name="connsiteX5" fmla="*/ 124654 w 125183"/>
                <a:gd name="connsiteY5" fmla="*/ 59928 h 125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183" h="125496">
                  <a:moveTo>
                    <a:pt x="124654" y="59928"/>
                  </a:moveTo>
                  <a:cubicBezTo>
                    <a:pt x="124654" y="97266"/>
                    <a:pt x="100461" y="124698"/>
                    <a:pt x="66266" y="125269"/>
                  </a:cubicBezTo>
                  <a:cubicBezTo>
                    <a:pt x="30547" y="124622"/>
                    <a:pt x="1496" y="96514"/>
                    <a:pt x="-409" y="60881"/>
                  </a:cubicBezTo>
                  <a:cubicBezTo>
                    <a:pt x="-1266" y="26305"/>
                    <a:pt x="24832" y="1064"/>
                    <a:pt x="62361" y="16"/>
                  </a:cubicBezTo>
                  <a:cubicBezTo>
                    <a:pt x="93793" y="-2870"/>
                    <a:pt x="121606" y="20276"/>
                    <a:pt x="124464" y="51708"/>
                  </a:cubicBezTo>
                  <a:cubicBezTo>
                    <a:pt x="124749" y="54442"/>
                    <a:pt x="124845" y="57185"/>
                    <a:pt x="124654" y="59928"/>
                  </a:cubicBezTo>
                  <a:close/>
                </a:path>
              </a:pathLst>
            </a:custGeom>
            <a:solidFill>
              <a:srgbClr val="000000"/>
            </a:solidFill>
            <a:ln w="9525" cap="flat">
              <a:noFill/>
              <a:prstDash val="solid"/>
              <a:miter/>
            </a:ln>
          </p:spPr>
          <p:txBody>
            <a:bodyPr rtlCol="0" anchor="ctr"/>
            <a:lstStyle/>
            <a:p>
              <a:endParaRPr lang="de-DE"/>
            </a:p>
          </p:txBody>
        </p:sp>
        <p:sp>
          <p:nvSpPr>
            <p:cNvPr id="84" name="Grafik 2">
              <a:extLst>
                <a:ext uri="{FF2B5EF4-FFF2-40B4-BE49-F238E27FC236}">
                  <a16:creationId xmlns:a16="http://schemas.microsoft.com/office/drawing/2014/main" id="{C4521D6D-DFEC-432B-A605-FB5EDC9E9AAF}"/>
                </a:ext>
              </a:extLst>
            </p:cNvPr>
            <p:cNvSpPr/>
            <p:nvPr/>
          </p:nvSpPr>
          <p:spPr bwMode="gray">
            <a:xfrm>
              <a:off x="9956064" y="1086009"/>
              <a:ext cx="125326" cy="125475"/>
            </a:xfrm>
            <a:custGeom>
              <a:avLst/>
              <a:gdLst>
                <a:gd name="connsiteX0" fmla="*/ 124861 w 125326"/>
                <a:gd name="connsiteY0" fmla="*/ 59430 h 125475"/>
                <a:gd name="connsiteX1" fmla="*/ 66854 w 125326"/>
                <a:gd name="connsiteY1" fmla="*/ 125248 h 125475"/>
                <a:gd name="connsiteX2" fmla="*/ -393 w 125326"/>
                <a:gd name="connsiteY2" fmla="*/ 61431 h 125475"/>
                <a:gd name="connsiteX3" fmla="*/ 61805 w 125326"/>
                <a:gd name="connsiteY3" fmla="*/ 90 h 125475"/>
                <a:gd name="connsiteX4" fmla="*/ 124574 w 125326"/>
                <a:gd name="connsiteY4" fmla="*/ 50972 h 125475"/>
                <a:gd name="connsiteX5" fmla="*/ 124861 w 125326"/>
                <a:gd name="connsiteY5" fmla="*/ 59430 h 125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26" h="125475">
                  <a:moveTo>
                    <a:pt x="124861" y="59430"/>
                  </a:moveTo>
                  <a:cubicBezTo>
                    <a:pt x="124861" y="96673"/>
                    <a:pt x="100953" y="124296"/>
                    <a:pt x="66854" y="125248"/>
                  </a:cubicBezTo>
                  <a:cubicBezTo>
                    <a:pt x="31135" y="125010"/>
                    <a:pt x="1702" y="97092"/>
                    <a:pt x="-393" y="61431"/>
                  </a:cubicBezTo>
                  <a:cubicBezTo>
                    <a:pt x="-1536" y="26855"/>
                    <a:pt x="24276" y="1328"/>
                    <a:pt x="61805" y="90"/>
                  </a:cubicBezTo>
                  <a:cubicBezTo>
                    <a:pt x="93237" y="-3206"/>
                    <a:pt x="121336" y="19578"/>
                    <a:pt x="124574" y="50972"/>
                  </a:cubicBezTo>
                  <a:cubicBezTo>
                    <a:pt x="124861" y="53782"/>
                    <a:pt x="124956" y="56611"/>
                    <a:pt x="124861" y="59430"/>
                  </a:cubicBezTo>
                  <a:close/>
                </a:path>
              </a:pathLst>
            </a:custGeom>
            <a:solidFill>
              <a:srgbClr val="000000"/>
            </a:solidFill>
            <a:ln w="9525" cap="flat">
              <a:noFill/>
              <a:prstDash val="solid"/>
              <a:miter/>
            </a:ln>
          </p:spPr>
          <p:txBody>
            <a:bodyPr rtlCol="0" anchor="ctr"/>
            <a:lstStyle/>
            <a:p>
              <a:endParaRPr lang="de-DE"/>
            </a:p>
          </p:txBody>
        </p:sp>
        <p:sp>
          <p:nvSpPr>
            <p:cNvPr id="85" name="Grafik 2">
              <a:extLst>
                <a:ext uri="{FF2B5EF4-FFF2-40B4-BE49-F238E27FC236}">
                  <a16:creationId xmlns:a16="http://schemas.microsoft.com/office/drawing/2014/main" id="{570598DC-ECBC-47FD-BE3C-F0A3A9CED4C7}"/>
                </a:ext>
              </a:extLst>
            </p:cNvPr>
            <p:cNvSpPr/>
            <p:nvPr/>
          </p:nvSpPr>
          <p:spPr bwMode="gray">
            <a:xfrm>
              <a:off x="10162508" y="1086077"/>
              <a:ext cx="125396" cy="125408"/>
            </a:xfrm>
            <a:custGeom>
              <a:avLst/>
              <a:gdLst>
                <a:gd name="connsiteX0" fmla="*/ 65102 w 125396"/>
                <a:gd name="connsiteY0" fmla="*/ 125180 h 125408"/>
                <a:gd name="connsiteX1" fmla="*/ -430 w 125396"/>
                <a:gd name="connsiteY1" fmla="*/ 59458 h 125408"/>
                <a:gd name="connsiteX2" fmla="*/ 63673 w 125396"/>
                <a:gd name="connsiteY2" fmla="*/ -73 h 125408"/>
                <a:gd name="connsiteX3" fmla="*/ 124824 w 125396"/>
                <a:gd name="connsiteY3" fmla="*/ 52771 h 125408"/>
                <a:gd name="connsiteX4" fmla="*/ 124824 w 125396"/>
                <a:gd name="connsiteY4" fmla="*/ 61172 h 125408"/>
                <a:gd name="connsiteX5" fmla="*/ 65102 w 125396"/>
                <a:gd name="connsiteY5" fmla="*/ 125180 h 12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96" h="125408">
                  <a:moveTo>
                    <a:pt x="65102" y="125180"/>
                  </a:moveTo>
                  <a:cubicBezTo>
                    <a:pt x="29383" y="123895"/>
                    <a:pt x="713" y="95186"/>
                    <a:pt x="-430" y="59458"/>
                  </a:cubicBezTo>
                  <a:cubicBezTo>
                    <a:pt x="-430" y="25073"/>
                    <a:pt x="26239" y="212"/>
                    <a:pt x="63673" y="-73"/>
                  </a:cubicBezTo>
                  <a:cubicBezTo>
                    <a:pt x="95105" y="-2369"/>
                    <a:pt x="122537" y="21291"/>
                    <a:pt x="124824" y="52771"/>
                  </a:cubicBezTo>
                  <a:cubicBezTo>
                    <a:pt x="125014" y="55562"/>
                    <a:pt x="125014" y="58372"/>
                    <a:pt x="124824" y="61172"/>
                  </a:cubicBezTo>
                  <a:cubicBezTo>
                    <a:pt x="124443" y="98701"/>
                    <a:pt x="99487" y="125371"/>
                    <a:pt x="65102" y="125180"/>
                  </a:cubicBezTo>
                  <a:close/>
                </a:path>
              </a:pathLst>
            </a:custGeom>
            <a:solidFill>
              <a:srgbClr val="000000"/>
            </a:solidFill>
            <a:ln w="9525" cap="flat">
              <a:noFill/>
              <a:prstDash val="solid"/>
              <a:miter/>
            </a:ln>
          </p:spPr>
          <p:txBody>
            <a:bodyPr rtlCol="0" anchor="ctr"/>
            <a:lstStyle/>
            <a:p>
              <a:endParaRPr lang="de-DE"/>
            </a:p>
          </p:txBody>
        </p:sp>
        <p:sp>
          <p:nvSpPr>
            <p:cNvPr id="86" name="Grafik 2">
              <a:extLst>
                <a:ext uri="{FF2B5EF4-FFF2-40B4-BE49-F238E27FC236}">
                  <a16:creationId xmlns:a16="http://schemas.microsoft.com/office/drawing/2014/main" id="{D32511B8-5EAA-47BC-899B-A714CF34D739}"/>
                </a:ext>
              </a:extLst>
            </p:cNvPr>
            <p:cNvSpPr/>
            <p:nvPr/>
          </p:nvSpPr>
          <p:spPr bwMode="gray">
            <a:xfrm>
              <a:off x="10368633" y="1086048"/>
              <a:ext cx="125663" cy="125155"/>
            </a:xfrm>
            <a:custGeom>
              <a:avLst/>
              <a:gdLst>
                <a:gd name="connsiteX0" fmla="*/ 125200 w 125663"/>
                <a:gd name="connsiteY0" fmla="*/ 58248 h 125155"/>
                <a:gd name="connsiteX1" fmla="*/ 68050 w 125663"/>
                <a:gd name="connsiteY1" fmla="*/ 124923 h 125155"/>
                <a:gd name="connsiteX2" fmla="*/ -339 w 125663"/>
                <a:gd name="connsiteY2" fmla="*/ 62249 h 125155"/>
                <a:gd name="connsiteX3" fmla="*/ 60715 w 125663"/>
                <a:gd name="connsiteY3" fmla="*/ -140 h 125155"/>
                <a:gd name="connsiteX4" fmla="*/ 125200 w 125663"/>
                <a:gd name="connsiteY4" fmla="*/ 58248 h 125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63" h="125155">
                  <a:moveTo>
                    <a:pt x="125200" y="58248"/>
                  </a:moveTo>
                  <a:cubicBezTo>
                    <a:pt x="126247" y="95682"/>
                    <a:pt x="102530" y="123590"/>
                    <a:pt x="68050" y="124923"/>
                  </a:cubicBezTo>
                  <a:cubicBezTo>
                    <a:pt x="32236" y="125371"/>
                    <a:pt x="2327" y="97920"/>
                    <a:pt x="-339" y="62249"/>
                  </a:cubicBezTo>
                  <a:cubicBezTo>
                    <a:pt x="-2150" y="27578"/>
                    <a:pt x="23283" y="1575"/>
                    <a:pt x="60715" y="-140"/>
                  </a:cubicBezTo>
                  <a:cubicBezTo>
                    <a:pt x="98149" y="-1855"/>
                    <a:pt x="124152" y="21768"/>
                    <a:pt x="125200" y="58248"/>
                  </a:cubicBezTo>
                  <a:close/>
                </a:path>
              </a:pathLst>
            </a:custGeom>
            <a:solidFill>
              <a:srgbClr val="000000"/>
            </a:solidFill>
            <a:ln w="9525" cap="flat">
              <a:noFill/>
              <a:prstDash val="solid"/>
              <a:miter/>
            </a:ln>
          </p:spPr>
          <p:txBody>
            <a:bodyPr rtlCol="0" anchor="ctr"/>
            <a:lstStyle/>
            <a:p>
              <a:endParaRPr lang="de-DE"/>
            </a:p>
          </p:txBody>
        </p:sp>
        <p:sp>
          <p:nvSpPr>
            <p:cNvPr id="87" name="Grafik 2">
              <a:extLst>
                <a:ext uri="{FF2B5EF4-FFF2-40B4-BE49-F238E27FC236}">
                  <a16:creationId xmlns:a16="http://schemas.microsoft.com/office/drawing/2014/main" id="{5FE660C7-FCC1-4FB9-9A6E-150FBB7DF01D}"/>
                </a:ext>
              </a:extLst>
            </p:cNvPr>
            <p:cNvSpPr/>
            <p:nvPr/>
          </p:nvSpPr>
          <p:spPr bwMode="gray">
            <a:xfrm>
              <a:off x="10575862" y="1085971"/>
              <a:ext cx="125054" cy="125513"/>
            </a:xfrm>
            <a:custGeom>
              <a:avLst/>
              <a:gdLst>
                <a:gd name="connsiteX0" fmla="*/ 124568 w 125054"/>
                <a:gd name="connsiteY0" fmla="*/ 59754 h 125513"/>
                <a:gd name="connsiteX1" fmla="*/ 66276 w 125054"/>
                <a:gd name="connsiteY1" fmla="*/ 125286 h 125513"/>
                <a:gd name="connsiteX2" fmla="*/ -399 w 125054"/>
                <a:gd name="connsiteY2" fmla="*/ 61087 h 125513"/>
                <a:gd name="connsiteX3" fmla="*/ 62084 w 125054"/>
                <a:gd name="connsiteY3" fmla="*/ 32 h 125513"/>
                <a:gd name="connsiteX4" fmla="*/ 124378 w 125054"/>
                <a:gd name="connsiteY4" fmla="*/ 51524 h 125513"/>
                <a:gd name="connsiteX5" fmla="*/ 124568 w 125054"/>
                <a:gd name="connsiteY5" fmla="*/ 59754 h 12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054" h="125513">
                  <a:moveTo>
                    <a:pt x="124568" y="59754"/>
                  </a:moveTo>
                  <a:cubicBezTo>
                    <a:pt x="124568" y="97187"/>
                    <a:pt x="100470" y="124619"/>
                    <a:pt x="66276" y="125286"/>
                  </a:cubicBezTo>
                  <a:cubicBezTo>
                    <a:pt x="30651" y="124686"/>
                    <a:pt x="1505" y="96663"/>
                    <a:pt x="-399" y="61087"/>
                  </a:cubicBezTo>
                  <a:cubicBezTo>
                    <a:pt x="-1448" y="26512"/>
                    <a:pt x="24650" y="1080"/>
                    <a:pt x="62084" y="32"/>
                  </a:cubicBezTo>
                  <a:cubicBezTo>
                    <a:pt x="93517" y="-2949"/>
                    <a:pt x="121424" y="20101"/>
                    <a:pt x="124378" y="51524"/>
                  </a:cubicBezTo>
                  <a:cubicBezTo>
                    <a:pt x="124663" y="54258"/>
                    <a:pt x="124663" y="57011"/>
                    <a:pt x="124568" y="59754"/>
                  </a:cubicBezTo>
                  <a:close/>
                </a:path>
              </a:pathLst>
            </a:custGeom>
            <a:solidFill>
              <a:srgbClr val="000000"/>
            </a:solidFill>
            <a:ln w="9525" cap="flat">
              <a:noFill/>
              <a:prstDash val="solid"/>
              <a:miter/>
            </a:ln>
          </p:spPr>
          <p:txBody>
            <a:bodyPr rtlCol="0" anchor="ctr"/>
            <a:lstStyle/>
            <a:p>
              <a:endParaRPr lang="de-DE"/>
            </a:p>
          </p:txBody>
        </p:sp>
        <p:sp>
          <p:nvSpPr>
            <p:cNvPr id="88" name="Grafik 2">
              <a:extLst>
                <a:ext uri="{FF2B5EF4-FFF2-40B4-BE49-F238E27FC236}">
                  <a16:creationId xmlns:a16="http://schemas.microsoft.com/office/drawing/2014/main" id="{E5303036-15A8-484F-947B-1E3C7538A05F}"/>
                </a:ext>
              </a:extLst>
            </p:cNvPr>
            <p:cNvSpPr/>
            <p:nvPr/>
          </p:nvSpPr>
          <p:spPr bwMode="gray">
            <a:xfrm>
              <a:off x="9543001" y="1292597"/>
              <a:ext cx="125396" cy="125391"/>
            </a:xfrm>
            <a:custGeom>
              <a:avLst/>
              <a:gdLst>
                <a:gd name="connsiteX0" fmla="*/ 63959 w 125396"/>
                <a:gd name="connsiteY0" fmla="*/ -92 h 125391"/>
                <a:gd name="connsiteX1" fmla="*/ 124824 w 125396"/>
                <a:gd name="connsiteY1" fmla="*/ 53029 h 125391"/>
                <a:gd name="connsiteX2" fmla="*/ 124824 w 125396"/>
                <a:gd name="connsiteY2" fmla="*/ 61440 h 125391"/>
                <a:gd name="connsiteX3" fmla="*/ 64816 w 125396"/>
                <a:gd name="connsiteY3" fmla="*/ 125162 h 125391"/>
                <a:gd name="connsiteX4" fmla="*/ -430 w 125396"/>
                <a:gd name="connsiteY4" fmla="*/ 59153 h 125391"/>
                <a:gd name="connsiteX5" fmla="*/ 63959 w 125396"/>
                <a:gd name="connsiteY5" fmla="*/ -92 h 1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96" h="125391">
                  <a:moveTo>
                    <a:pt x="63959" y="-92"/>
                  </a:moveTo>
                  <a:cubicBezTo>
                    <a:pt x="95486" y="-2245"/>
                    <a:pt x="122729" y="21539"/>
                    <a:pt x="124824" y="53029"/>
                  </a:cubicBezTo>
                  <a:cubicBezTo>
                    <a:pt x="125015" y="55829"/>
                    <a:pt x="125015" y="58639"/>
                    <a:pt x="124824" y="61440"/>
                  </a:cubicBezTo>
                  <a:cubicBezTo>
                    <a:pt x="124252" y="98873"/>
                    <a:pt x="99201" y="125448"/>
                    <a:pt x="64816" y="125162"/>
                  </a:cubicBezTo>
                  <a:cubicBezTo>
                    <a:pt x="29097" y="123771"/>
                    <a:pt x="522" y="94901"/>
                    <a:pt x="-430" y="59153"/>
                  </a:cubicBezTo>
                  <a:cubicBezTo>
                    <a:pt x="-430" y="24864"/>
                    <a:pt x="26430" y="99"/>
                    <a:pt x="63959" y="-92"/>
                  </a:cubicBezTo>
                  <a:close/>
                </a:path>
              </a:pathLst>
            </a:custGeom>
            <a:solidFill>
              <a:srgbClr val="000000"/>
            </a:solidFill>
            <a:ln w="9525" cap="flat">
              <a:noFill/>
              <a:prstDash val="solid"/>
              <a:miter/>
            </a:ln>
          </p:spPr>
          <p:txBody>
            <a:bodyPr rtlCol="0" anchor="ctr"/>
            <a:lstStyle/>
            <a:p>
              <a:endParaRPr lang="de-DE"/>
            </a:p>
          </p:txBody>
        </p:sp>
        <p:sp>
          <p:nvSpPr>
            <p:cNvPr id="89" name="Grafik 2">
              <a:extLst>
                <a:ext uri="{FF2B5EF4-FFF2-40B4-BE49-F238E27FC236}">
                  <a16:creationId xmlns:a16="http://schemas.microsoft.com/office/drawing/2014/main" id="{325CE05C-A431-4603-8B72-54C3C4ECDC5D}"/>
                </a:ext>
              </a:extLst>
            </p:cNvPr>
            <p:cNvSpPr/>
            <p:nvPr/>
          </p:nvSpPr>
          <p:spPr bwMode="gray">
            <a:xfrm>
              <a:off x="9749673" y="1292481"/>
              <a:ext cx="125183" cy="125505"/>
            </a:xfrm>
            <a:custGeom>
              <a:avLst/>
              <a:gdLst>
                <a:gd name="connsiteX0" fmla="*/ 124654 w 125183"/>
                <a:gd name="connsiteY0" fmla="*/ 59936 h 125505"/>
                <a:gd name="connsiteX1" fmla="*/ 66266 w 125183"/>
                <a:gd name="connsiteY1" fmla="*/ 125278 h 125505"/>
                <a:gd name="connsiteX2" fmla="*/ -409 w 125183"/>
                <a:gd name="connsiteY2" fmla="*/ 60984 h 125505"/>
                <a:gd name="connsiteX3" fmla="*/ 62266 w 125183"/>
                <a:gd name="connsiteY3" fmla="*/ 24 h 125505"/>
                <a:gd name="connsiteX4" fmla="*/ 124464 w 125183"/>
                <a:gd name="connsiteY4" fmla="*/ 51611 h 125505"/>
                <a:gd name="connsiteX5" fmla="*/ 124654 w 125183"/>
                <a:gd name="connsiteY5" fmla="*/ 59936 h 125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183" h="125505">
                  <a:moveTo>
                    <a:pt x="124654" y="59936"/>
                  </a:moveTo>
                  <a:cubicBezTo>
                    <a:pt x="124654" y="97179"/>
                    <a:pt x="100461" y="124706"/>
                    <a:pt x="66266" y="125278"/>
                  </a:cubicBezTo>
                  <a:cubicBezTo>
                    <a:pt x="30642" y="124678"/>
                    <a:pt x="1496" y="96598"/>
                    <a:pt x="-409" y="60984"/>
                  </a:cubicBezTo>
                  <a:cubicBezTo>
                    <a:pt x="-1266" y="26408"/>
                    <a:pt x="24737" y="1072"/>
                    <a:pt x="62266" y="24"/>
                  </a:cubicBezTo>
                  <a:cubicBezTo>
                    <a:pt x="93698" y="-2910"/>
                    <a:pt x="121511" y="20179"/>
                    <a:pt x="124464" y="51611"/>
                  </a:cubicBezTo>
                  <a:cubicBezTo>
                    <a:pt x="124749" y="54374"/>
                    <a:pt x="124845" y="57155"/>
                    <a:pt x="124654" y="59936"/>
                  </a:cubicBezTo>
                  <a:close/>
                </a:path>
              </a:pathLst>
            </a:custGeom>
            <a:solidFill>
              <a:srgbClr val="000000"/>
            </a:solidFill>
            <a:ln w="9525" cap="flat">
              <a:noFill/>
              <a:prstDash val="solid"/>
              <a:miter/>
            </a:ln>
          </p:spPr>
          <p:txBody>
            <a:bodyPr rtlCol="0" anchor="ctr"/>
            <a:lstStyle/>
            <a:p>
              <a:endParaRPr lang="de-DE"/>
            </a:p>
          </p:txBody>
        </p:sp>
        <p:sp>
          <p:nvSpPr>
            <p:cNvPr id="90" name="Grafik 2">
              <a:extLst>
                <a:ext uri="{FF2B5EF4-FFF2-40B4-BE49-F238E27FC236}">
                  <a16:creationId xmlns:a16="http://schemas.microsoft.com/office/drawing/2014/main" id="{C1094500-AF80-4430-8A77-EE489A8A14E5}"/>
                </a:ext>
              </a:extLst>
            </p:cNvPr>
            <p:cNvSpPr/>
            <p:nvPr/>
          </p:nvSpPr>
          <p:spPr bwMode="gray">
            <a:xfrm>
              <a:off x="9956165" y="1292471"/>
              <a:ext cx="125192" cy="125515"/>
            </a:xfrm>
            <a:custGeom>
              <a:avLst/>
              <a:gdLst>
                <a:gd name="connsiteX0" fmla="*/ 62179 w 125192"/>
                <a:gd name="connsiteY0" fmla="*/ 34 h 125515"/>
                <a:gd name="connsiteX1" fmla="*/ 124473 w 125192"/>
                <a:gd name="connsiteY1" fmla="*/ 51507 h 125515"/>
                <a:gd name="connsiteX2" fmla="*/ 124664 w 125192"/>
                <a:gd name="connsiteY2" fmla="*/ 60041 h 125515"/>
                <a:gd name="connsiteX3" fmla="*/ 66275 w 125192"/>
                <a:gd name="connsiteY3" fmla="*/ 125288 h 125515"/>
                <a:gd name="connsiteX4" fmla="*/ -400 w 125192"/>
                <a:gd name="connsiteY4" fmla="*/ 60899 h 125515"/>
                <a:gd name="connsiteX5" fmla="*/ 62179 w 125192"/>
                <a:gd name="connsiteY5" fmla="*/ 34 h 12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192" h="125515">
                  <a:moveTo>
                    <a:pt x="62179" y="34"/>
                  </a:moveTo>
                  <a:cubicBezTo>
                    <a:pt x="93612" y="-2957"/>
                    <a:pt x="121521" y="20084"/>
                    <a:pt x="124473" y="51507"/>
                  </a:cubicBezTo>
                  <a:cubicBezTo>
                    <a:pt x="124759" y="54346"/>
                    <a:pt x="124854" y="57193"/>
                    <a:pt x="124664" y="60041"/>
                  </a:cubicBezTo>
                  <a:cubicBezTo>
                    <a:pt x="124664" y="97379"/>
                    <a:pt x="100375" y="124716"/>
                    <a:pt x="66275" y="125288"/>
                  </a:cubicBezTo>
                  <a:cubicBezTo>
                    <a:pt x="30557" y="124640"/>
                    <a:pt x="1505" y="96532"/>
                    <a:pt x="-400" y="60899"/>
                  </a:cubicBezTo>
                  <a:cubicBezTo>
                    <a:pt x="-1447" y="26323"/>
                    <a:pt x="24651" y="1082"/>
                    <a:pt x="62179" y="34"/>
                  </a:cubicBezTo>
                  <a:close/>
                </a:path>
              </a:pathLst>
            </a:custGeom>
            <a:solidFill>
              <a:srgbClr val="000000"/>
            </a:solidFill>
            <a:ln w="9525" cap="flat">
              <a:noFill/>
              <a:prstDash val="solid"/>
              <a:miter/>
            </a:ln>
          </p:spPr>
          <p:txBody>
            <a:bodyPr rtlCol="0" anchor="ctr"/>
            <a:lstStyle/>
            <a:p>
              <a:endParaRPr lang="de-DE"/>
            </a:p>
          </p:txBody>
        </p:sp>
        <p:sp>
          <p:nvSpPr>
            <p:cNvPr id="91" name="Grafik 2">
              <a:extLst>
                <a:ext uri="{FF2B5EF4-FFF2-40B4-BE49-F238E27FC236}">
                  <a16:creationId xmlns:a16="http://schemas.microsoft.com/office/drawing/2014/main" id="{2E0DC2E9-B449-426C-A9C1-5B76DACC6054}"/>
                </a:ext>
              </a:extLst>
            </p:cNvPr>
            <p:cNvSpPr/>
            <p:nvPr/>
          </p:nvSpPr>
          <p:spPr bwMode="gray">
            <a:xfrm>
              <a:off x="10162508" y="1292852"/>
              <a:ext cx="125500" cy="125069"/>
            </a:xfrm>
            <a:custGeom>
              <a:avLst/>
              <a:gdLst>
                <a:gd name="connsiteX0" fmla="*/ 124824 w 125500"/>
                <a:gd name="connsiteY0" fmla="*/ 62328 h 125069"/>
                <a:gd name="connsiteX1" fmla="*/ 63768 w 125500"/>
                <a:gd name="connsiteY1" fmla="*/ 124812 h 125069"/>
                <a:gd name="connsiteX2" fmla="*/ -430 w 125500"/>
                <a:gd name="connsiteY2" fmla="*/ 58137 h 125069"/>
                <a:gd name="connsiteX3" fmla="*/ 65102 w 125500"/>
                <a:gd name="connsiteY3" fmla="*/ -156 h 125069"/>
                <a:gd name="connsiteX4" fmla="*/ 125014 w 125500"/>
                <a:gd name="connsiteY4" fmla="*/ 54098 h 125069"/>
                <a:gd name="connsiteX5" fmla="*/ 124824 w 125500"/>
                <a:gd name="connsiteY5" fmla="*/ 62328 h 12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00" h="125069">
                  <a:moveTo>
                    <a:pt x="124824" y="62328"/>
                  </a:moveTo>
                  <a:cubicBezTo>
                    <a:pt x="123680" y="99856"/>
                    <a:pt x="98344" y="125860"/>
                    <a:pt x="63768" y="124812"/>
                  </a:cubicBezTo>
                  <a:cubicBezTo>
                    <a:pt x="28145" y="122964"/>
                    <a:pt x="46" y="93798"/>
                    <a:pt x="-430" y="58137"/>
                  </a:cubicBezTo>
                  <a:cubicBezTo>
                    <a:pt x="236" y="23942"/>
                    <a:pt x="27668" y="-442"/>
                    <a:pt x="65102" y="-156"/>
                  </a:cubicBezTo>
                  <a:cubicBezTo>
                    <a:pt x="96629" y="-1718"/>
                    <a:pt x="123490" y="22570"/>
                    <a:pt x="125014" y="54098"/>
                  </a:cubicBezTo>
                  <a:cubicBezTo>
                    <a:pt x="125109" y="56842"/>
                    <a:pt x="125109" y="59594"/>
                    <a:pt x="124824" y="62328"/>
                  </a:cubicBezTo>
                  <a:close/>
                </a:path>
              </a:pathLst>
            </a:custGeom>
            <a:solidFill>
              <a:srgbClr val="000000"/>
            </a:solidFill>
            <a:ln w="9525" cap="flat">
              <a:noFill/>
              <a:prstDash val="solid"/>
              <a:miter/>
            </a:ln>
          </p:spPr>
          <p:txBody>
            <a:bodyPr rtlCol="0" anchor="ctr"/>
            <a:lstStyle/>
            <a:p>
              <a:endParaRPr lang="de-DE"/>
            </a:p>
          </p:txBody>
        </p:sp>
        <p:sp>
          <p:nvSpPr>
            <p:cNvPr id="92" name="Grafik 2">
              <a:extLst>
                <a:ext uri="{FF2B5EF4-FFF2-40B4-BE49-F238E27FC236}">
                  <a16:creationId xmlns:a16="http://schemas.microsoft.com/office/drawing/2014/main" id="{744AF67E-A927-46AB-B88B-5491B6E36780}"/>
                </a:ext>
              </a:extLst>
            </p:cNvPr>
            <p:cNvSpPr/>
            <p:nvPr/>
          </p:nvSpPr>
          <p:spPr bwMode="gray">
            <a:xfrm>
              <a:off x="9542706" y="466480"/>
              <a:ext cx="125653" cy="125498"/>
            </a:xfrm>
            <a:custGeom>
              <a:avLst/>
              <a:gdLst>
                <a:gd name="connsiteX0" fmla="*/ 125119 w 125653"/>
                <a:gd name="connsiteY0" fmla="*/ 60406 h 125498"/>
                <a:gd name="connsiteX1" fmla="*/ 66254 w 125653"/>
                <a:gd name="connsiteY1" fmla="*/ 125271 h 125498"/>
                <a:gd name="connsiteX2" fmla="*/ -421 w 125653"/>
                <a:gd name="connsiteY2" fmla="*/ 60406 h 125498"/>
                <a:gd name="connsiteX3" fmla="*/ 62825 w 125653"/>
                <a:gd name="connsiteY3" fmla="*/ 17 h 125498"/>
                <a:gd name="connsiteX4" fmla="*/ 125024 w 125653"/>
                <a:gd name="connsiteY4" fmla="*/ 51672 h 125498"/>
                <a:gd name="connsiteX5" fmla="*/ 125119 w 125653"/>
                <a:gd name="connsiteY5" fmla="*/ 60406 h 12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53" h="125498">
                  <a:moveTo>
                    <a:pt x="125119" y="60406"/>
                  </a:moveTo>
                  <a:cubicBezTo>
                    <a:pt x="125119" y="97744"/>
                    <a:pt x="100450" y="124986"/>
                    <a:pt x="66254" y="125271"/>
                  </a:cubicBezTo>
                  <a:cubicBezTo>
                    <a:pt x="30345" y="124652"/>
                    <a:pt x="1199" y="96249"/>
                    <a:pt x="-421" y="60406"/>
                  </a:cubicBezTo>
                  <a:cubicBezTo>
                    <a:pt x="-992" y="25925"/>
                    <a:pt x="25393" y="779"/>
                    <a:pt x="62825" y="17"/>
                  </a:cubicBezTo>
                  <a:cubicBezTo>
                    <a:pt x="94258" y="-2878"/>
                    <a:pt x="122070" y="20248"/>
                    <a:pt x="125024" y="51672"/>
                  </a:cubicBezTo>
                  <a:cubicBezTo>
                    <a:pt x="125214" y="54577"/>
                    <a:pt x="125310" y="57501"/>
                    <a:pt x="125119" y="60406"/>
                  </a:cubicBezTo>
                  <a:close/>
                </a:path>
              </a:pathLst>
            </a:custGeom>
            <a:solidFill>
              <a:srgbClr val="000000"/>
            </a:solidFill>
            <a:ln w="9525" cap="flat">
              <a:noFill/>
              <a:prstDash val="solid"/>
              <a:miter/>
            </a:ln>
          </p:spPr>
          <p:txBody>
            <a:bodyPr rtlCol="0" anchor="ctr"/>
            <a:lstStyle/>
            <a:p>
              <a:endParaRPr lang="de-DE"/>
            </a:p>
          </p:txBody>
        </p:sp>
        <p:sp>
          <p:nvSpPr>
            <p:cNvPr id="93" name="Grafik 2">
              <a:extLst>
                <a:ext uri="{FF2B5EF4-FFF2-40B4-BE49-F238E27FC236}">
                  <a16:creationId xmlns:a16="http://schemas.microsoft.com/office/drawing/2014/main" id="{203B0AFB-F965-47AC-9447-598CBCE7FC66}"/>
                </a:ext>
              </a:extLst>
            </p:cNvPr>
            <p:cNvSpPr/>
            <p:nvPr/>
          </p:nvSpPr>
          <p:spPr bwMode="gray">
            <a:xfrm>
              <a:off x="10575511" y="1292751"/>
              <a:ext cx="125500" cy="125165"/>
            </a:xfrm>
            <a:custGeom>
              <a:avLst/>
              <a:gdLst>
                <a:gd name="connsiteX0" fmla="*/ 124824 w 125500"/>
                <a:gd name="connsiteY0" fmla="*/ 62333 h 125165"/>
                <a:gd name="connsiteX1" fmla="*/ 63864 w 125500"/>
                <a:gd name="connsiteY1" fmla="*/ 124913 h 125165"/>
                <a:gd name="connsiteX2" fmla="*/ -430 w 125500"/>
                <a:gd name="connsiteY2" fmla="*/ 58238 h 125165"/>
                <a:gd name="connsiteX3" fmla="*/ 65007 w 125500"/>
                <a:gd name="connsiteY3" fmla="*/ -151 h 125165"/>
                <a:gd name="connsiteX4" fmla="*/ 125014 w 125500"/>
                <a:gd name="connsiteY4" fmla="*/ 53999 h 125165"/>
                <a:gd name="connsiteX5" fmla="*/ 124824 w 125500"/>
                <a:gd name="connsiteY5" fmla="*/ 62333 h 125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00" h="125165">
                  <a:moveTo>
                    <a:pt x="124824" y="62333"/>
                  </a:moveTo>
                  <a:cubicBezTo>
                    <a:pt x="123776" y="99862"/>
                    <a:pt x="98440" y="125865"/>
                    <a:pt x="63864" y="124913"/>
                  </a:cubicBezTo>
                  <a:cubicBezTo>
                    <a:pt x="28240" y="123112"/>
                    <a:pt x="46" y="93937"/>
                    <a:pt x="-430" y="58238"/>
                  </a:cubicBezTo>
                  <a:cubicBezTo>
                    <a:pt x="236" y="24043"/>
                    <a:pt x="28145" y="-437"/>
                    <a:pt x="65007" y="-151"/>
                  </a:cubicBezTo>
                  <a:cubicBezTo>
                    <a:pt x="96534" y="-1770"/>
                    <a:pt x="123395" y="22481"/>
                    <a:pt x="125014" y="53999"/>
                  </a:cubicBezTo>
                  <a:cubicBezTo>
                    <a:pt x="125109" y="56780"/>
                    <a:pt x="125109" y="59562"/>
                    <a:pt x="124824" y="62333"/>
                  </a:cubicBezTo>
                  <a:close/>
                </a:path>
              </a:pathLst>
            </a:custGeom>
            <a:solidFill>
              <a:srgbClr val="000000"/>
            </a:solidFill>
            <a:ln w="9525" cap="flat">
              <a:noFill/>
              <a:prstDash val="solid"/>
              <a:miter/>
            </a:ln>
          </p:spPr>
          <p:txBody>
            <a:bodyPr rtlCol="0" anchor="ctr"/>
            <a:lstStyle/>
            <a:p>
              <a:endParaRPr lang="de-DE"/>
            </a:p>
          </p:txBody>
        </p:sp>
        <p:sp>
          <p:nvSpPr>
            <p:cNvPr id="94" name="Grafik 2">
              <a:extLst>
                <a:ext uri="{FF2B5EF4-FFF2-40B4-BE49-F238E27FC236}">
                  <a16:creationId xmlns:a16="http://schemas.microsoft.com/office/drawing/2014/main" id="{441187EC-D78B-4000-AB48-72CD6E1805B4}"/>
                </a:ext>
              </a:extLst>
            </p:cNvPr>
            <p:cNvSpPr/>
            <p:nvPr/>
          </p:nvSpPr>
          <p:spPr bwMode="gray">
            <a:xfrm>
              <a:off x="9749408" y="466232"/>
              <a:ext cx="125576" cy="125752"/>
            </a:xfrm>
            <a:custGeom>
              <a:avLst/>
              <a:gdLst>
                <a:gd name="connsiteX0" fmla="*/ 64530 w 125576"/>
                <a:gd name="connsiteY0" fmla="*/ 125519 h 125752"/>
                <a:gd name="connsiteX1" fmla="*/ -430 w 125576"/>
                <a:gd name="connsiteY1" fmla="*/ 58844 h 125752"/>
                <a:gd name="connsiteX2" fmla="*/ 64435 w 125576"/>
                <a:gd name="connsiteY2" fmla="*/ -116 h 125752"/>
                <a:gd name="connsiteX3" fmla="*/ 125014 w 125576"/>
                <a:gd name="connsiteY3" fmla="*/ 53386 h 125752"/>
                <a:gd name="connsiteX4" fmla="*/ 124918 w 125576"/>
                <a:gd name="connsiteY4" fmla="*/ 61797 h 125752"/>
                <a:gd name="connsiteX5" fmla="*/ 64530 w 125576"/>
                <a:gd name="connsiteY5" fmla="*/ 125519 h 125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76" h="125752">
                  <a:moveTo>
                    <a:pt x="64530" y="125519"/>
                  </a:moveTo>
                  <a:cubicBezTo>
                    <a:pt x="28716" y="123871"/>
                    <a:pt x="236" y="94705"/>
                    <a:pt x="-430" y="58844"/>
                  </a:cubicBezTo>
                  <a:cubicBezTo>
                    <a:pt x="-430" y="24554"/>
                    <a:pt x="27002" y="-116"/>
                    <a:pt x="64435" y="-116"/>
                  </a:cubicBezTo>
                  <a:cubicBezTo>
                    <a:pt x="95963" y="-2069"/>
                    <a:pt x="123014" y="21877"/>
                    <a:pt x="125014" y="53386"/>
                  </a:cubicBezTo>
                  <a:cubicBezTo>
                    <a:pt x="125204" y="56186"/>
                    <a:pt x="125204" y="58996"/>
                    <a:pt x="124918" y="61797"/>
                  </a:cubicBezTo>
                  <a:cubicBezTo>
                    <a:pt x="124157" y="99611"/>
                    <a:pt x="99010" y="125995"/>
                    <a:pt x="64530" y="125519"/>
                  </a:cubicBezTo>
                  <a:close/>
                </a:path>
              </a:pathLst>
            </a:custGeom>
            <a:solidFill>
              <a:srgbClr val="000000"/>
            </a:solidFill>
            <a:ln w="9525" cap="flat">
              <a:noFill/>
              <a:prstDash val="solid"/>
              <a:miter/>
            </a:ln>
          </p:spPr>
          <p:txBody>
            <a:bodyPr rtlCol="0" anchor="ctr"/>
            <a:lstStyle/>
            <a:p>
              <a:endParaRPr lang="de-DE"/>
            </a:p>
          </p:txBody>
        </p:sp>
        <p:sp>
          <p:nvSpPr>
            <p:cNvPr id="95" name="Grafik 2">
              <a:extLst>
                <a:ext uri="{FF2B5EF4-FFF2-40B4-BE49-F238E27FC236}">
                  <a16:creationId xmlns:a16="http://schemas.microsoft.com/office/drawing/2014/main" id="{92DCCF24-F94C-4C59-BEF5-FEFAE4FB1736}"/>
                </a:ext>
              </a:extLst>
            </p:cNvPr>
            <p:cNvSpPr/>
            <p:nvPr/>
          </p:nvSpPr>
          <p:spPr bwMode="gray">
            <a:xfrm>
              <a:off x="10162505" y="466550"/>
              <a:ext cx="125398" cy="125428"/>
            </a:xfrm>
            <a:custGeom>
              <a:avLst/>
              <a:gdLst>
                <a:gd name="connsiteX0" fmla="*/ 63389 w 125398"/>
                <a:gd name="connsiteY0" fmla="*/ -52 h 125428"/>
                <a:gd name="connsiteX1" fmla="*/ 124826 w 125398"/>
                <a:gd name="connsiteY1" fmla="*/ 52497 h 125428"/>
                <a:gd name="connsiteX2" fmla="*/ 124826 w 125398"/>
                <a:gd name="connsiteY2" fmla="*/ 60907 h 125428"/>
                <a:gd name="connsiteX3" fmla="*/ 65389 w 125398"/>
                <a:gd name="connsiteY3" fmla="*/ 125201 h 125428"/>
                <a:gd name="connsiteX4" fmla="*/ -428 w 125398"/>
                <a:gd name="connsiteY4" fmla="*/ 59860 h 125428"/>
                <a:gd name="connsiteX5" fmla="*/ 63389 w 125398"/>
                <a:gd name="connsiteY5" fmla="*/ -52 h 125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98" h="125428">
                  <a:moveTo>
                    <a:pt x="63389" y="-52"/>
                  </a:moveTo>
                  <a:cubicBezTo>
                    <a:pt x="94822" y="-2500"/>
                    <a:pt x="122350" y="21036"/>
                    <a:pt x="124826" y="52497"/>
                  </a:cubicBezTo>
                  <a:cubicBezTo>
                    <a:pt x="125016" y="55297"/>
                    <a:pt x="125016" y="58107"/>
                    <a:pt x="124826" y="60907"/>
                  </a:cubicBezTo>
                  <a:cubicBezTo>
                    <a:pt x="124826" y="98341"/>
                    <a:pt x="99775" y="125201"/>
                    <a:pt x="65389" y="125201"/>
                  </a:cubicBezTo>
                  <a:cubicBezTo>
                    <a:pt x="29670" y="124125"/>
                    <a:pt x="906" y="95560"/>
                    <a:pt x="-428" y="59860"/>
                  </a:cubicBezTo>
                  <a:cubicBezTo>
                    <a:pt x="-714" y="25094"/>
                    <a:pt x="25957" y="424"/>
                    <a:pt x="63389" y="-52"/>
                  </a:cubicBezTo>
                  <a:close/>
                </a:path>
              </a:pathLst>
            </a:custGeom>
            <a:solidFill>
              <a:srgbClr val="000000"/>
            </a:solidFill>
            <a:ln w="9525" cap="flat">
              <a:noFill/>
              <a:prstDash val="solid"/>
              <a:miter/>
            </a:ln>
          </p:spPr>
          <p:txBody>
            <a:bodyPr rtlCol="0" anchor="ctr"/>
            <a:lstStyle/>
            <a:p>
              <a:endParaRPr lang="de-DE"/>
            </a:p>
          </p:txBody>
        </p:sp>
        <p:sp>
          <p:nvSpPr>
            <p:cNvPr id="96" name="Grafik 2">
              <a:extLst>
                <a:ext uri="{FF2B5EF4-FFF2-40B4-BE49-F238E27FC236}">
                  <a16:creationId xmlns:a16="http://schemas.microsoft.com/office/drawing/2014/main" id="{4526E7B4-2E4C-41FF-A6A7-05004E171DCA}"/>
                </a:ext>
              </a:extLst>
            </p:cNvPr>
            <p:cNvSpPr/>
            <p:nvPr/>
          </p:nvSpPr>
          <p:spPr bwMode="gray">
            <a:xfrm>
              <a:off x="10368715" y="466480"/>
              <a:ext cx="125651" cy="125498"/>
            </a:xfrm>
            <a:custGeom>
              <a:avLst/>
              <a:gdLst>
                <a:gd name="connsiteX0" fmla="*/ 125118 w 125651"/>
                <a:gd name="connsiteY0" fmla="*/ 60406 h 125498"/>
                <a:gd name="connsiteX1" fmla="*/ 66254 w 125651"/>
                <a:gd name="connsiteY1" fmla="*/ 125271 h 125498"/>
                <a:gd name="connsiteX2" fmla="*/ -421 w 125651"/>
                <a:gd name="connsiteY2" fmla="*/ 60501 h 125498"/>
                <a:gd name="connsiteX3" fmla="*/ 62824 w 125651"/>
                <a:gd name="connsiteY3" fmla="*/ 17 h 125498"/>
                <a:gd name="connsiteX4" fmla="*/ 125023 w 125651"/>
                <a:gd name="connsiteY4" fmla="*/ 51672 h 125498"/>
                <a:gd name="connsiteX5" fmla="*/ 125118 w 125651"/>
                <a:gd name="connsiteY5" fmla="*/ 60406 h 12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51" h="125498">
                  <a:moveTo>
                    <a:pt x="125118" y="60406"/>
                  </a:moveTo>
                  <a:cubicBezTo>
                    <a:pt x="125118" y="97744"/>
                    <a:pt x="100544" y="124986"/>
                    <a:pt x="66254" y="125271"/>
                  </a:cubicBezTo>
                  <a:cubicBezTo>
                    <a:pt x="30440" y="124652"/>
                    <a:pt x="1198" y="96306"/>
                    <a:pt x="-421" y="60501"/>
                  </a:cubicBezTo>
                  <a:cubicBezTo>
                    <a:pt x="-993" y="26021"/>
                    <a:pt x="25296" y="779"/>
                    <a:pt x="62824" y="17"/>
                  </a:cubicBezTo>
                  <a:cubicBezTo>
                    <a:pt x="94257" y="-2878"/>
                    <a:pt x="122071" y="20248"/>
                    <a:pt x="125023" y="51672"/>
                  </a:cubicBezTo>
                  <a:cubicBezTo>
                    <a:pt x="125213" y="54577"/>
                    <a:pt x="125309" y="57501"/>
                    <a:pt x="125118" y="60406"/>
                  </a:cubicBezTo>
                  <a:close/>
                </a:path>
              </a:pathLst>
            </a:custGeom>
            <a:solidFill>
              <a:srgbClr val="000000"/>
            </a:solidFill>
            <a:ln w="9525" cap="flat">
              <a:noFill/>
              <a:prstDash val="solid"/>
              <a:miter/>
            </a:ln>
          </p:spPr>
          <p:txBody>
            <a:bodyPr rtlCol="0" anchor="ctr"/>
            <a:lstStyle/>
            <a:p>
              <a:endParaRPr lang="de-DE"/>
            </a:p>
          </p:txBody>
        </p:sp>
        <p:sp>
          <p:nvSpPr>
            <p:cNvPr id="97" name="Grafik 2">
              <a:extLst>
                <a:ext uri="{FF2B5EF4-FFF2-40B4-BE49-F238E27FC236}">
                  <a16:creationId xmlns:a16="http://schemas.microsoft.com/office/drawing/2014/main" id="{0852D142-D272-4C22-B43D-19E86BFD3A18}"/>
                </a:ext>
              </a:extLst>
            </p:cNvPr>
            <p:cNvSpPr/>
            <p:nvPr/>
          </p:nvSpPr>
          <p:spPr bwMode="gray">
            <a:xfrm>
              <a:off x="10575511" y="466543"/>
              <a:ext cx="125396" cy="125435"/>
            </a:xfrm>
            <a:custGeom>
              <a:avLst/>
              <a:gdLst>
                <a:gd name="connsiteX0" fmla="*/ 124824 w 125396"/>
                <a:gd name="connsiteY0" fmla="*/ 60819 h 125435"/>
                <a:gd name="connsiteX1" fmla="*/ 65482 w 125396"/>
                <a:gd name="connsiteY1" fmla="*/ 125208 h 125435"/>
                <a:gd name="connsiteX2" fmla="*/ -430 w 125396"/>
                <a:gd name="connsiteY2" fmla="*/ 59867 h 125435"/>
                <a:gd name="connsiteX3" fmla="*/ 63292 w 125396"/>
                <a:gd name="connsiteY3" fmla="*/ -46 h 125435"/>
                <a:gd name="connsiteX4" fmla="*/ 124824 w 125396"/>
                <a:gd name="connsiteY4" fmla="*/ 52409 h 125435"/>
                <a:gd name="connsiteX5" fmla="*/ 124824 w 125396"/>
                <a:gd name="connsiteY5" fmla="*/ 60819 h 125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96" h="125435">
                  <a:moveTo>
                    <a:pt x="124824" y="60819"/>
                  </a:moveTo>
                  <a:cubicBezTo>
                    <a:pt x="124824" y="98348"/>
                    <a:pt x="99869" y="125208"/>
                    <a:pt x="65482" y="125208"/>
                  </a:cubicBezTo>
                  <a:cubicBezTo>
                    <a:pt x="29764" y="124180"/>
                    <a:pt x="904" y="95605"/>
                    <a:pt x="-430" y="59867"/>
                  </a:cubicBezTo>
                  <a:cubicBezTo>
                    <a:pt x="-430" y="25481"/>
                    <a:pt x="25859" y="431"/>
                    <a:pt x="63292" y="-46"/>
                  </a:cubicBezTo>
                  <a:cubicBezTo>
                    <a:pt x="94725" y="-2541"/>
                    <a:pt x="122252" y="20947"/>
                    <a:pt x="124824" y="52409"/>
                  </a:cubicBezTo>
                  <a:cubicBezTo>
                    <a:pt x="125014" y="55209"/>
                    <a:pt x="125014" y="58019"/>
                    <a:pt x="124824" y="60819"/>
                  </a:cubicBezTo>
                  <a:close/>
                </a:path>
              </a:pathLst>
            </a:custGeom>
            <a:solidFill>
              <a:srgbClr val="000000"/>
            </a:solidFill>
            <a:ln w="9525" cap="flat">
              <a:noFill/>
              <a:prstDash val="solid"/>
              <a:miter/>
            </a:ln>
          </p:spPr>
          <p:txBody>
            <a:bodyPr rtlCol="0" anchor="ctr"/>
            <a:lstStyle/>
            <a:p>
              <a:endParaRPr lang="de-DE"/>
            </a:p>
          </p:txBody>
        </p:sp>
        <p:sp>
          <p:nvSpPr>
            <p:cNvPr id="98" name="Grafik 2">
              <a:extLst>
                <a:ext uri="{FF2B5EF4-FFF2-40B4-BE49-F238E27FC236}">
                  <a16:creationId xmlns:a16="http://schemas.microsoft.com/office/drawing/2014/main" id="{C239E89D-67D9-4F54-977C-D2475A5D8008}"/>
                </a:ext>
              </a:extLst>
            </p:cNvPr>
            <p:cNvSpPr/>
            <p:nvPr/>
          </p:nvSpPr>
          <p:spPr bwMode="gray">
            <a:xfrm>
              <a:off x="10369360" y="879564"/>
              <a:ext cx="125055" cy="125513"/>
            </a:xfrm>
            <a:custGeom>
              <a:avLst/>
              <a:gdLst>
                <a:gd name="connsiteX0" fmla="*/ 124569 w 125055"/>
                <a:gd name="connsiteY0" fmla="*/ 59754 h 125513"/>
                <a:gd name="connsiteX1" fmla="*/ 66276 w 125055"/>
                <a:gd name="connsiteY1" fmla="*/ 125286 h 125513"/>
                <a:gd name="connsiteX2" fmla="*/ -399 w 125055"/>
                <a:gd name="connsiteY2" fmla="*/ 61087 h 125513"/>
                <a:gd name="connsiteX3" fmla="*/ 62084 w 125055"/>
                <a:gd name="connsiteY3" fmla="*/ 32 h 125513"/>
                <a:gd name="connsiteX4" fmla="*/ 124378 w 125055"/>
                <a:gd name="connsiteY4" fmla="*/ 51524 h 125513"/>
                <a:gd name="connsiteX5" fmla="*/ 124569 w 125055"/>
                <a:gd name="connsiteY5" fmla="*/ 59754 h 12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055" h="125513">
                  <a:moveTo>
                    <a:pt x="124569" y="59754"/>
                  </a:moveTo>
                  <a:cubicBezTo>
                    <a:pt x="124569" y="97092"/>
                    <a:pt x="100470" y="124619"/>
                    <a:pt x="66276" y="125286"/>
                  </a:cubicBezTo>
                  <a:cubicBezTo>
                    <a:pt x="30652" y="124686"/>
                    <a:pt x="1505" y="96663"/>
                    <a:pt x="-399" y="61087"/>
                  </a:cubicBezTo>
                  <a:cubicBezTo>
                    <a:pt x="-1447" y="26512"/>
                    <a:pt x="24556" y="1080"/>
                    <a:pt x="62084" y="32"/>
                  </a:cubicBezTo>
                  <a:cubicBezTo>
                    <a:pt x="93517" y="-2949"/>
                    <a:pt x="121426" y="20101"/>
                    <a:pt x="124378" y="51524"/>
                  </a:cubicBezTo>
                  <a:cubicBezTo>
                    <a:pt x="124664" y="54258"/>
                    <a:pt x="124664" y="57011"/>
                    <a:pt x="124569" y="59754"/>
                  </a:cubicBezTo>
                  <a:close/>
                </a:path>
              </a:pathLst>
            </a:custGeom>
            <a:solidFill>
              <a:srgbClr val="000000"/>
            </a:solidFill>
            <a:ln w="9525" cap="flat">
              <a:noFill/>
              <a:prstDash val="solid"/>
              <a:miter/>
            </a:ln>
          </p:spPr>
          <p:txBody>
            <a:bodyPr rtlCol="0" anchor="ctr"/>
            <a:lstStyle/>
            <a:p>
              <a:endParaRPr lang="de-DE"/>
            </a:p>
          </p:txBody>
        </p:sp>
        <p:sp>
          <p:nvSpPr>
            <p:cNvPr id="99" name="Grafik 2">
              <a:extLst>
                <a:ext uri="{FF2B5EF4-FFF2-40B4-BE49-F238E27FC236}">
                  <a16:creationId xmlns:a16="http://schemas.microsoft.com/office/drawing/2014/main" id="{459DE331-D6CB-47B3-B78F-8AA18D99701C}"/>
                </a:ext>
              </a:extLst>
            </p:cNvPr>
            <p:cNvSpPr/>
            <p:nvPr/>
          </p:nvSpPr>
          <p:spPr bwMode="gray">
            <a:xfrm>
              <a:off x="9542906" y="672734"/>
              <a:ext cx="125577" cy="125752"/>
            </a:xfrm>
            <a:custGeom>
              <a:avLst/>
              <a:gdLst>
                <a:gd name="connsiteX0" fmla="*/ 64531 w 125577"/>
                <a:gd name="connsiteY0" fmla="*/ 125519 h 125752"/>
                <a:gd name="connsiteX1" fmla="*/ -430 w 125577"/>
                <a:gd name="connsiteY1" fmla="*/ 58844 h 125752"/>
                <a:gd name="connsiteX2" fmla="*/ 64436 w 125577"/>
                <a:gd name="connsiteY2" fmla="*/ -116 h 125752"/>
                <a:gd name="connsiteX3" fmla="*/ 125015 w 125577"/>
                <a:gd name="connsiteY3" fmla="*/ 53386 h 125752"/>
                <a:gd name="connsiteX4" fmla="*/ 124919 w 125577"/>
                <a:gd name="connsiteY4" fmla="*/ 61797 h 125752"/>
                <a:gd name="connsiteX5" fmla="*/ 64531 w 125577"/>
                <a:gd name="connsiteY5" fmla="*/ 125519 h 125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77" h="125752">
                  <a:moveTo>
                    <a:pt x="64531" y="125519"/>
                  </a:moveTo>
                  <a:cubicBezTo>
                    <a:pt x="28717" y="123919"/>
                    <a:pt x="237" y="94724"/>
                    <a:pt x="-430" y="58844"/>
                  </a:cubicBezTo>
                  <a:cubicBezTo>
                    <a:pt x="-430" y="24554"/>
                    <a:pt x="27002" y="-116"/>
                    <a:pt x="64436" y="-116"/>
                  </a:cubicBezTo>
                  <a:cubicBezTo>
                    <a:pt x="95963" y="-2068"/>
                    <a:pt x="123014" y="21877"/>
                    <a:pt x="125015" y="53386"/>
                  </a:cubicBezTo>
                  <a:cubicBezTo>
                    <a:pt x="125205" y="56186"/>
                    <a:pt x="125205" y="58996"/>
                    <a:pt x="124919" y="61797"/>
                  </a:cubicBezTo>
                  <a:cubicBezTo>
                    <a:pt x="124157" y="99611"/>
                    <a:pt x="99012" y="125995"/>
                    <a:pt x="64531" y="125519"/>
                  </a:cubicBezTo>
                  <a:close/>
                </a:path>
              </a:pathLst>
            </a:custGeom>
            <a:solidFill>
              <a:srgbClr val="000000"/>
            </a:solidFill>
            <a:ln w="9525" cap="flat">
              <a:noFill/>
              <a:prstDash val="solid"/>
              <a:miter/>
            </a:ln>
          </p:spPr>
          <p:txBody>
            <a:bodyPr rtlCol="0" anchor="ctr"/>
            <a:lstStyle/>
            <a:p>
              <a:endParaRPr lang="de-DE"/>
            </a:p>
          </p:txBody>
        </p:sp>
        <p:sp>
          <p:nvSpPr>
            <p:cNvPr id="100" name="Grafik 2">
              <a:extLst>
                <a:ext uri="{FF2B5EF4-FFF2-40B4-BE49-F238E27FC236}">
                  <a16:creationId xmlns:a16="http://schemas.microsoft.com/office/drawing/2014/main" id="{C731DA0D-A2D8-4AFF-9DAC-3EC958C70E20}"/>
                </a:ext>
              </a:extLst>
            </p:cNvPr>
            <p:cNvSpPr/>
            <p:nvPr/>
          </p:nvSpPr>
          <p:spPr bwMode="gray">
            <a:xfrm>
              <a:off x="9749597" y="673199"/>
              <a:ext cx="125148" cy="125250"/>
            </a:xfrm>
            <a:custGeom>
              <a:avLst/>
              <a:gdLst>
                <a:gd name="connsiteX0" fmla="*/ 124634 w 125148"/>
                <a:gd name="connsiteY0" fmla="*/ 63522 h 125250"/>
                <a:gd name="connsiteX1" fmla="*/ 62628 w 125148"/>
                <a:gd name="connsiteY1" fmla="*/ 124958 h 125250"/>
                <a:gd name="connsiteX2" fmla="*/ -428 w 125148"/>
                <a:gd name="connsiteY2" fmla="*/ 56950 h 125250"/>
                <a:gd name="connsiteX3" fmla="*/ 66247 w 125148"/>
                <a:gd name="connsiteY3" fmla="*/ -200 h 125250"/>
                <a:gd name="connsiteX4" fmla="*/ 124634 w 125148"/>
                <a:gd name="connsiteY4" fmla="*/ 63522 h 12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148" h="125250">
                  <a:moveTo>
                    <a:pt x="124634" y="63522"/>
                  </a:moveTo>
                  <a:cubicBezTo>
                    <a:pt x="123111" y="100860"/>
                    <a:pt x="97203" y="126483"/>
                    <a:pt x="62628" y="124958"/>
                  </a:cubicBezTo>
                  <a:cubicBezTo>
                    <a:pt x="26909" y="122539"/>
                    <a:pt x="-714" y="92735"/>
                    <a:pt x="-428" y="56950"/>
                  </a:cubicBezTo>
                  <a:cubicBezTo>
                    <a:pt x="905" y="22755"/>
                    <a:pt x="28147" y="-1152"/>
                    <a:pt x="66247" y="-200"/>
                  </a:cubicBezTo>
                  <a:cubicBezTo>
                    <a:pt x="104347" y="753"/>
                    <a:pt x="126254" y="26280"/>
                    <a:pt x="124634" y="63522"/>
                  </a:cubicBezTo>
                  <a:close/>
                </a:path>
              </a:pathLst>
            </a:custGeom>
            <a:solidFill>
              <a:srgbClr val="000000"/>
            </a:solidFill>
            <a:ln w="9525" cap="flat">
              <a:noFill/>
              <a:prstDash val="solid"/>
              <a:miter/>
            </a:ln>
          </p:spPr>
          <p:txBody>
            <a:bodyPr rtlCol="0" anchor="ctr"/>
            <a:lstStyle/>
            <a:p>
              <a:endParaRPr lang="de-DE"/>
            </a:p>
          </p:txBody>
        </p:sp>
        <p:sp>
          <p:nvSpPr>
            <p:cNvPr id="101" name="Grafik 2">
              <a:extLst>
                <a:ext uri="{FF2B5EF4-FFF2-40B4-BE49-F238E27FC236}">
                  <a16:creationId xmlns:a16="http://schemas.microsoft.com/office/drawing/2014/main" id="{4390A393-4A1C-46DC-826B-B6A1C6022025}"/>
                </a:ext>
              </a:extLst>
            </p:cNvPr>
            <p:cNvSpPr/>
            <p:nvPr/>
          </p:nvSpPr>
          <p:spPr bwMode="gray">
            <a:xfrm>
              <a:off x="9956005" y="673075"/>
              <a:ext cx="125480" cy="125345"/>
            </a:xfrm>
            <a:custGeom>
              <a:avLst/>
              <a:gdLst>
                <a:gd name="connsiteX0" fmla="*/ 63388 w 125480"/>
                <a:gd name="connsiteY0" fmla="*/ 125082 h 125345"/>
                <a:gd name="connsiteX1" fmla="*/ -430 w 125480"/>
                <a:gd name="connsiteY1" fmla="*/ 57740 h 125345"/>
                <a:gd name="connsiteX2" fmla="*/ 65388 w 125480"/>
                <a:gd name="connsiteY2" fmla="*/ -172 h 125345"/>
                <a:gd name="connsiteX3" fmla="*/ 125015 w 125480"/>
                <a:gd name="connsiteY3" fmla="*/ 54426 h 125345"/>
                <a:gd name="connsiteX4" fmla="*/ 124729 w 125480"/>
                <a:gd name="connsiteY4" fmla="*/ 62884 h 125345"/>
                <a:gd name="connsiteX5" fmla="*/ 63388 w 125480"/>
                <a:gd name="connsiteY5" fmla="*/ 125082 h 12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480" h="125345">
                  <a:moveTo>
                    <a:pt x="63388" y="125082"/>
                  </a:moveTo>
                  <a:cubicBezTo>
                    <a:pt x="27669" y="123015"/>
                    <a:pt x="-335" y="93526"/>
                    <a:pt x="-430" y="57740"/>
                  </a:cubicBezTo>
                  <a:cubicBezTo>
                    <a:pt x="522" y="23641"/>
                    <a:pt x="28145" y="-648"/>
                    <a:pt x="65388" y="-172"/>
                  </a:cubicBezTo>
                  <a:cubicBezTo>
                    <a:pt x="96915" y="-1553"/>
                    <a:pt x="123586" y="22888"/>
                    <a:pt x="125015" y="54426"/>
                  </a:cubicBezTo>
                  <a:cubicBezTo>
                    <a:pt x="125110" y="57245"/>
                    <a:pt x="125015" y="60074"/>
                    <a:pt x="124729" y="62884"/>
                  </a:cubicBezTo>
                  <a:cubicBezTo>
                    <a:pt x="123490" y="100317"/>
                    <a:pt x="97869" y="126225"/>
                    <a:pt x="63388" y="125082"/>
                  </a:cubicBezTo>
                  <a:close/>
                </a:path>
              </a:pathLst>
            </a:custGeom>
            <a:solidFill>
              <a:srgbClr val="000000"/>
            </a:solidFill>
            <a:ln w="9525" cap="flat">
              <a:noFill/>
              <a:prstDash val="solid"/>
              <a:miter/>
            </a:ln>
          </p:spPr>
          <p:txBody>
            <a:bodyPr rtlCol="0" anchor="ctr"/>
            <a:lstStyle/>
            <a:p>
              <a:endParaRPr lang="de-DE"/>
            </a:p>
          </p:txBody>
        </p:sp>
        <p:sp>
          <p:nvSpPr>
            <p:cNvPr id="102" name="Grafik 2">
              <a:extLst>
                <a:ext uri="{FF2B5EF4-FFF2-40B4-BE49-F238E27FC236}">
                  <a16:creationId xmlns:a16="http://schemas.microsoft.com/office/drawing/2014/main" id="{253B744D-AAF7-487D-B6B3-49AC6D247925}"/>
                </a:ext>
              </a:extLst>
            </p:cNvPr>
            <p:cNvSpPr/>
            <p:nvPr/>
          </p:nvSpPr>
          <p:spPr bwMode="gray">
            <a:xfrm>
              <a:off x="10162495" y="672983"/>
              <a:ext cx="125364" cy="125496"/>
            </a:xfrm>
            <a:custGeom>
              <a:avLst/>
              <a:gdLst>
                <a:gd name="connsiteX0" fmla="*/ 124836 w 125364"/>
                <a:gd name="connsiteY0" fmla="*/ 60119 h 125496"/>
                <a:gd name="connsiteX1" fmla="*/ 66257 w 125364"/>
                <a:gd name="connsiteY1" fmla="*/ 125270 h 125496"/>
                <a:gd name="connsiteX2" fmla="*/ -418 w 125364"/>
                <a:gd name="connsiteY2" fmla="*/ 60690 h 125496"/>
                <a:gd name="connsiteX3" fmla="*/ 62543 w 125364"/>
                <a:gd name="connsiteY3" fmla="*/ 16 h 125496"/>
                <a:gd name="connsiteX4" fmla="*/ 124646 w 125364"/>
                <a:gd name="connsiteY4" fmla="*/ 51689 h 125496"/>
                <a:gd name="connsiteX5" fmla="*/ 124836 w 125364"/>
                <a:gd name="connsiteY5" fmla="*/ 60119 h 125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64" h="125496">
                  <a:moveTo>
                    <a:pt x="124836" y="60119"/>
                  </a:moveTo>
                  <a:cubicBezTo>
                    <a:pt x="124836" y="97456"/>
                    <a:pt x="100452" y="124793"/>
                    <a:pt x="66257" y="125270"/>
                  </a:cubicBezTo>
                  <a:cubicBezTo>
                    <a:pt x="30539" y="124612"/>
                    <a:pt x="1392" y="96399"/>
                    <a:pt x="-418" y="60690"/>
                  </a:cubicBezTo>
                  <a:cubicBezTo>
                    <a:pt x="-1085" y="26210"/>
                    <a:pt x="25109" y="873"/>
                    <a:pt x="62543" y="16"/>
                  </a:cubicBezTo>
                  <a:cubicBezTo>
                    <a:pt x="93974" y="-2870"/>
                    <a:pt x="121788" y="20266"/>
                    <a:pt x="124646" y="51689"/>
                  </a:cubicBezTo>
                  <a:cubicBezTo>
                    <a:pt x="124931" y="54489"/>
                    <a:pt x="125026" y="57309"/>
                    <a:pt x="124836" y="60119"/>
                  </a:cubicBezTo>
                  <a:close/>
                </a:path>
              </a:pathLst>
            </a:custGeom>
            <a:solidFill>
              <a:srgbClr val="000000"/>
            </a:solidFill>
            <a:ln w="9525" cap="flat">
              <a:noFill/>
              <a:prstDash val="solid"/>
              <a:miter/>
            </a:ln>
          </p:spPr>
          <p:txBody>
            <a:bodyPr rtlCol="0" anchor="ctr"/>
            <a:lstStyle/>
            <a:p>
              <a:endParaRPr lang="de-DE"/>
            </a:p>
          </p:txBody>
        </p:sp>
        <p:sp>
          <p:nvSpPr>
            <p:cNvPr id="103" name="Grafik 2">
              <a:extLst>
                <a:ext uri="{FF2B5EF4-FFF2-40B4-BE49-F238E27FC236}">
                  <a16:creationId xmlns:a16="http://schemas.microsoft.com/office/drawing/2014/main" id="{CC6D2907-B781-4264-A79D-7C9FD6878C54}"/>
                </a:ext>
              </a:extLst>
            </p:cNvPr>
            <p:cNvSpPr/>
            <p:nvPr/>
          </p:nvSpPr>
          <p:spPr bwMode="gray">
            <a:xfrm>
              <a:off x="10368715" y="672982"/>
              <a:ext cx="125651" cy="125498"/>
            </a:xfrm>
            <a:custGeom>
              <a:avLst/>
              <a:gdLst>
                <a:gd name="connsiteX0" fmla="*/ 125118 w 125651"/>
                <a:gd name="connsiteY0" fmla="*/ 60406 h 125498"/>
                <a:gd name="connsiteX1" fmla="*/ 66254 w 125651"/>
                <a:gd name="connsiteY1" fmla="*/ 125271 h 125498"/>
                <a:gd name="connsiteX2" fmla="*/ -421 w 125651"/>
                <a:gd name="connsiteY2" fmla="*/ 60406 h 125498"/>
                <a:gd name="connsiteX3" fmla="*/ 62824 w 125651"/>
                <a:gd name="connsiteY3" fmla="*/ 17 h 125498"/>
                <a:gd name="connsiteX4" fmla="*/ 125023 w 125651"/>
                <a:gd name="connsiteY4" fmla="*/ 51681 h 125498"/>
                <a:gd name="connsiteX5" fmla="*/ 125118 w 125651"/>
                <a:gd name="connsiteY5" fmla="*/ 60406 h 12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51" h="125498">
                  <a:moveTo>
                    <a:pt x="125118" y="60406"/>
                  </a:moveTo>
                  <a:cubicBezTo>
                    <a:pt x="125118" y="97744"/>
                    <a:pt x="100449" y="124985"/>
                    <a:pt x="66254" y="125271"/>
                  </a:cubicBezTo>
                  <a:cubicBezTo>
                    <a:pt x="30345" y="124652"/>
                    <a:pt x="1198" y="96249"/>
                    <a:pt x="-421" y="60406"/>
                  </a:cubicBezTo>
                  <a:cubicBezTo>
                    <a:pt x="-993" y="25925"/>
                    <a:pt x="25392" y="779"/>
                    <a:pt x="62824" y="17"/>
                  </a:cubicBezTo>
                  <a:cubicBezTo>
                    <a:pt x="94257" y="-2878"/>
                    <a:pt x="122071" y="20248"/>
                    <a:pt x="125023" y="51681"/>
                  </a:cubicBezTo>
                  <a:cubicBezTo>
                    <a:pt x="125213" y="54577"/>
                    <a:pt x="125309" y="57501"/>
                    <a:pt x="125118" y="60406"/>
                  </a:cubicBezTo>
                  <a:close/>
                </a:path>
              </a:pathLst>
            </a:custGeom>
            <a:solidFill>
              <a:srgbClr val="000000"/>
            </a:solidFill>
            <a:ln w="9525" cap="flat">
              <a:noFill/>
              <a:prstDash val="solid"/>
              <a:miter/>
            </a:ln>
          </p:spPr>
          <p:txBody>
            <a:bodyPr rtlCol="0" anchor="ctr"/>
            <a:lstStyle/>
            <a:p>
              <a:endParaRPr lang="de-DE"/>
            </a:p>
          </p:txBody>
        </p:sp>
        <p:sp>
          <p:nvSpPr>
            <p:cNvPr id="104" name="Grafik 2">
              <a:extLst>
                <a:ext uri="{FF2B5EF4-FFF2-40B4-BE49-F238E27FC236}">
                  <a16:creationId xmlns:a16="http://schemas.microsoft.com/office/drawing/2014/main" id="{BCBC531B-704E-4D63-9A96-519BEE61ADFC}"/>
                </a:ext>
              </a:extLst>
            </p:cNvPr>
            <p:cNvSpPr/>
            <p:nvPr/>
          </p:nvSpPr>
          <p:spPr bwMode="gray">
            <a:xfrm>
              <a:off x="10368997" y="1292489"/>
              <a:ext cx="125365" cy="125497"/>
            </a:xfrm>
            <a:custGeom>
              <a:avLst/>
              <a:gdLst>
                <a:gd name="connsiteX0" fmla="*/ 124836 w 125365"/>
                <a:gd name="connsiteY0" fmla="*/ 60119 h 125497"/>
                <a:gd name="connsiteX1" fmla="*/ 66257 w 125365"/>
                <a:gd name="connsiteY1" fmla="*/ 125270 h 125497"/>
                <a:gd name="connsiteX2" fmla="*/ -418 w 125365"/>
                <a:gd name="connsiteY2" fmla="*/ 60690 h 125497"/>
                <a:gd name="connsiteX3" fmla="*/ 62543 w 125365"/>
                <a:gd name="connsiteY3" fmla="*/ 16 h 125497"/>
                <a:gd name="connsiteX4" fmla="*/ 124646 w 125365"/>
                <a:gd name="connsiteY4" fmla="*/ 51689 h 125497"/>
                <a:gd name="connsiteX5" fmla="*/ 124836 w 125365"/>
                <a:gd name="connsiteY5" fmla="*/ 60119 h 12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65" h="125497">
                  <a:moveTo>
                    <a:pt x="124836" y="60119"/>
                  </a:moveTo>
                  <a:cubicBezTo>
                    <a:pt x="124836" y="97457"/>
                    <a:pt x="100453" y="124793"/>
                    <a:pt x="66257" y="125270"/>
                  </a:cubicBezTo>
                  <a:cubicBezTo>
                    <a:pt x="30539" y="124613"/>
                    <a:pt x="1393" y="96399"/>
                    <a:pt x="-418" y="60690"/>
                  </a:cubicBezTo>
                  <a:cubicBezTo>
                    <a:pt x="-1084" y="26210"/>
                    <a:pt x="25110" y="968"/>
                    <a:pt x="62543" y="16"/>
                  </a:cubicBezTo>
                  <a:cubicBezTo>
                    <a:pt x="93976" y="-2870"/>
                    <a:pt x="121789" y="20266"/>
                    <a:pt x="124646" y="51689"/>
                  </a:cubicBezTo>
                  <a:cubicBezTo>
                    <a:pt x="124932" y="54489"/>
                    <a:pt x="125027" y="57309"/>
                    <a:pt x="124836" y="60119"/>
                  </a:cubicBezTo>
                  <a:close/>
                </a:path>
              </a:pathLst>
            </a:custGeom>
            <a:solidFill>
              <a:srgbClr val="000000"/>
            </a:solidFill>
            <a:ln w="9525" cap="flat">
              <a:noFill/>
              <a:prstDash val="solid"/>
              <a:miter/>
            </a:ln>
          </p:spPr>
          <p:txBody>
            <a:bodyPr rtlCol="0" anchor="ctr"/>
            <a:lstStyle/>
            <a:p>
              <a:endParaRPr lang="de-DE"/>
            </a:p>
          </p:txBody>
        </p:sp>
      </p:grpSp>
      <p:sp>
        <p:nvSpPr>
          <p:cNvPr id="107" name="Bildplatzhalter 106">
            <a:extLst>
              <a:ext uri="{FF2B5EF4-FFF2-40B4-BE49-F238E27FC236}">
                <a16:creationId xmlns:a16="http://schemas.microsoft.com/office/drawing/2014/main" id="{E7FADDC7-C21E-4735-8758-B47E1381EEB3}"/>
              </a:ext>
            </a:extLst>
          </p:cNvPr>
          <p:cNvSpPr>
            <a:spLocks noGrp="1"/>
          </p:cNvSpPr>
          <p:nvPr>
            <p:ph type="pic" sz="quarter" idx="15" hasCustomPrompt="1"/>
          </p:nvPr>
        </p:nvSpPr>
        <p:spPr bwMode="gray">
          <a:xfrm>
            <a:off x="6672064" y="836712"/>
            <a:ext cx="5184000" cy="5400000"/>
          </a:xfrm>
          <a:custGeom>
            <a:avLst/>
            <a:gdLst>
              <a:gd name="connsiteX0" fmla="*/ 1695405 w 5162452"/>
              <a:gd name="connsiteY0" fmla="*/ 259 h 5364217"/>
              <a:gd name="connsiteX1" fmla="*/ 2728321 w 5162452"/>
              <a:gd name="connsiteY1" fmla="*/ 14855 h 5364217"/>
              <a:gd name="connsiteX2" fmla="*/ 4193308 w 5162452"/>
              <a:gd name="connsiteY2" fmla="*/ 618724 h 5364217"/>
              <a:gd name="connsiteX3" fmla="*/ 5162318 w 5162452"/>
              <a:gd name="connsiteY3" fmla="*/ 2677512 h 5364217"/>
              <a:gd name="connsiteX4" fmla="*/ 4652650 w 5162452"/>
              <a:gd name="connsiteY4" fmla="*/ 4235897 h 5364217"/>
              <a:gd name="connsiteX5" fmla="*/ 2424779 w 5162452"/>
              <a:gd name="connsiteY5" fmla="*/ 5358288 h 5364217"/>
              <a:gd name="connsiteX6" fmla="*/ 851093 w 5162452"/>
              <a:gd name="connsiteY6" fmla="*/ 5363520 h 5364217"/>
              <a:gd name="connsiteX7" fmla="*/ 445 w 5162452"/>
              <a:gd name="connsiteY7" fmla="*/ 4521726 h 5364217"/>
              <a:gd name="connsiteX8" fmla="*/ 4874 w 5162452"/>
              <a:gd name="connsiteY8" fmla="*/ 2664228 h 5364217"/>
              <a:gd name="connsiteX9" fmla="*/ 6886 w 5162452"/>
              <a:gd name="connsiteY9" fmla="*/ 825246 h 5364217"/>
              <a:gd name="connsiteX10" fmla="*/ 49156 w 5162452"/>
              <a:gd name="connsiteY10" fmla="*/ 488690 h 5364217"/>
              <a:gd name="connsiteX11" fmla="*/ 661883 w 5162452"/>
              <a:gd name="connsiteY11" fmla="*/ 9217 h 5364217"/>
              <a:gd name="connsiteX12" fmla="*/ 1695405 w 5162452"/>
              <a:gd name="connsiteY12" fmla="*/ 259 h 5364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62452" h="5364217">
                <a:moveTo>
                  <a:pt x="1695405" y="259"/>
                </a:moveTo>
                <a:cubicBezTo>
                  <a:pt x="2039912" y="-948"/>
                  <a:pt x="2384318" y="1769"/>
                  <a:pt x="2728321" y="14855"/>
                </a:cubicBezTo>
                <a:cubicBezTo>
                  <a:pt x="3281062" y="35789"/>
                  <a:pt x="3772614" y="265257"/>
                  <a:pt x="4193308" y="618724"/>
                </a:cubicBezTo>
                <a:cubicBezTo>
                  <a:pt x="4828576" y="1153349"/>
                  <a:pt x="5154668" y="1849407"/>
                  <a:pt x="5162318" y="2677512"/>
                </a:cubicBezTo>
                <a:cubicBezTo>
                  <a:pt x="5168074" y="3238832"/>
                  <a:pt x="4988966" y="3786458"/>
                  <a:pt x="4652650" y="4235897"/>
                </a:cubicBezTo>
                <a:cubicBezTo>
                  <a:pt x="4101520" y="4990734"/>
                  <a:pt x="3348695" y="5347417"/>
                  <a:pt x="2424779" y="5358288"/>
                </a:cubicBezTo>
                <a:cubicBezTo>
                  <a:pt x="1901426" y="5364328"/>
                  <a:pt x="1375254" y="5344598"/>
                  <a:pt x="851093" y="5363520"/>
                </a:cubicBezTo>
                <a:cubicBezTo>
                  <a:pt x="326937" y="5382443"/>
                  <a:pt x="-14048" y="5014082"/>
                  <a:pt x="445" y="4521726"/>
                </a:cubicBezTo>
                <a:cubicBezTo>
                  <a:pt x="18560" y="3903364"/>
                  <a:pt x="4874" y="3283794"/>
                  <a:pt x="4874" y="2664228"/>
                </a:cubicBezTo>
                <a:cubicBezTo>
                  <a:pt x="4874" y="2051500"/>
                  <a:pt x="2862" y="1438375"/>
                  <a:pt x="6886" y="825246"/>
                </a:cubicBezTo>
                <a:cubicBezTo>
                  <a:pt x="6603" y="711716"/>
                  <a:pt x="20817" y="598635"/>
                  <a:pt x="49156" y="488690"/>
                </a:cubicBezTo>
                <a:cubicBezTo>
                  <a:pt x="122909" y="209623"/>
                  <a:pt x="373273" y="13726"/>
                  <a:pt x="661883" y="9217"/>
                </a:cubicBezTo>
                <a:cubicBezTo>
                  <a:pt x="1006290" y="6600"/>
                  <a:pt x="1350898" y="1467"/>
                  <a:pt x="1695405" y="259"/>
                </a:cubicBezTo>
                <a:close/>
              </a:path>
            </a:pathLst>
          </a:custGeom>
          <a:gradFill flip="none" rotWithShape="1">
            <a:gsLst>
              <a:gs pos="25000">
                <a:schemeClr val="bg2"/>
              </a:gs>
              <a:gs pos="100000">
                <a:srgbClr val="00C7D6"/>
              </a:gs>
            </a:gsLst>
            <a:lin ang="18900000" scaled="1"/>
            <a:tileRect/>
          </a:gradFill>
        </p:spPr>
        <p:txBody>
          <a:bodyPr wrap="square" bIns="720000" anchor="ctr">
            <a:noAutofit/>
          </a:bodyPr>
          <a:lstStyle>
            <a:lvl1pPr marL="0" algn="ctr">
              <a:spcAft>
                <a:spcPts val="0"/>
              </a:spcAft>
              <a:buFontTx/>
              <a:buNone/>
              <a:defRPr sz="1200" b="0"/>
            </a:lvl1pPr>
            <a:lvl2pPr marL="0" algn="ctr">
              <a:spcAft>
                <a:spcPts val="0"/>
              </a:spcAft>
              <a:buFontTx/>
              <a:buNone/>
              <a:defRPr sz="1200" b="0"/>
            </a:lvl2pPr>
            <a:lvl3pPr marL="0" indent="0" algn="ctr">
              <a:spcAft>
                <a:spcPts val="0"/>
              </a:spcAft>
              <a:buFontTx/>
              <a:buNone/>
              <a:defRPr sz="1200" b="0"/>
            </a:lvl3pPr>
            <a:lvl4pPr marL="0" indent="0" algn="ctr">
              <a:spcAft>
                <a:spcPts val="0"/>
              </a:spcAft>
              <a:buFontTx/>
              <a:buNone/>
              <a:defRPr sz="1200" b="0"/>
            </a:lvl4pPr>
            <a:lvl5pPr marL="0" indent="0" algn="ctr">
              <a:spcAft>
                <a:spcPts val="0"/>
              </a:spcAft>
              <a:buFontTx/>
              <a:buNone/>
              <a:defRPr sz="1200" b="0"/>
            </a:lvl5pPr>
            <a:lvl6pPr marL="0" indent="0" algn="ctr">
              <a:spcAft>
                <a:spcPts val="0"/>
              </a:spcAft>
              <a:buFontTx/>
              <a:buNone/>
              <a:defRPr sz="1200" b="0"/>
            </a:lvl6pPr>
            <a:lvl7pPr marL="0" indent="0" algn="ctr">
              <a:spcAft>
                <a:spcPts val="0"/>
              </a:spcAft>
              <a:buFontTx/>
              <a:buNone/>
              <a:defRPr sz="1200" b="0"/>
            </a:lvl7pPr>
            <a:lvl8pPr marL="0" indent="0" algn="ctr">
              <a:spcAft>
                <a:spcPts val="0"/>
              </a:spcAft>
              <a:buFontTx/>
              <a:buNone/>
              <a:defRPr sz="1200" b="0"/>
            </a:lvl8pPr>
            <a:lvl9pPr marL="0" indent="0" algn="ctr">
              <a:spcAft>
                <a:spcPts val="0"/>
              </a:spcAft>
              <a:buFontTx/>
              <a:buNone/>
              <a:defRPr sz="1200" b="0"/>
            </a:lvl9pPr>
          </a:lstStyle>
          <a:p>
            <a:pPr lvl="0"/>
            <a:r>
              <a:rPr lang="de-DE"/>
              <a:t>Bild durch Klick auf das Icon hinzufügen </a:t>
            </a:r>
            <a:br>
              <a:rPr lang="de-DE"/>
            </a:br>
            <a:r>
              <a:rPr lang="de-DE"/>
              <a:t>und ggf. zuschneiden</a:t>
            </a:r>
          </a:p>
        </p:txBody>
      </p:sp>
    </p:spTree>
    <p:extLst>
      <p:ext uri="{BB962C8B-B14F-4D97-AF65-F5344CB8AC3E}">
        <p14:creationId xmlns:p14="http://schemas.microsoft.com/office/powerpoint/2010/main" val="3371084673"/>
      </p:ext>
    </p:extLst>
  </p:cSld>
  <p:clrMapOvr>
    <a:masterClrMapping/>
  </p:clrMapOvr>
  <p:extLst>
    <p:ext uri="{DCECCB84-F9BA-43D5-87BE-67443E8EF086}">
      <p15:sldGuideLst xmlns:p15="http://schemas.microsoft.com/office/powerpoint/2012/main">
        <p15:guide id="1" orient="horz" pos="176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BEAD10-3DE7-42F9-8583-61BAFF3C3AC1}"/>
              </a:ext>
            </a:extLst>
          </p:cNvPr>
          <p:cNvSpPr>
            <a:spLocks noGrp="1"/>
          </p:cNvSpPr>
          <p:nvPr>
            <p:ph type="title"/>
          </p:nvPr>
        </p:nvSpPr>
        <p:spPr bwMode="gray"/>
        <p:txBody>
          <a:bodyPr/>
          <a:lstStyle/>
          <a:p>
            <a:r>
              <a:rPr lang="de-DE"/>
              <a:t>Mastertitelformat bearbeiten</a:t>
            </a:r>
          </a:p>
        </p:txBody>
      </p:sp>
      <p:sp>
        <p:nvSpPr>
          <p:cNvPr id="3" name="Inhaltsplatzhalter 2">
            <a:extLst>
              <a:ext uri="{FF2B5EF4-FFF2-40B4-BE49-F238E27FC236}">
                <a16:creationId xmlns:a16="http://schemas.microsoft.com/office/drawing/2014/main" id="{01C839CC-5632-454B-AAEF-DC22F7DFB0FB}"/>
              </a:ext>
            </a:extLst>
          </p:cNvPr>
          <p:cNvSpPr>
            <a:spLocks noGrp="1"/>
          </p:cNvSpPr>
          <p:nvPr>
            <p:ph idx="1"/>
          </p:nvPr>
        </p:nvSpPr>
        <p:spPr bwMode="gray"/>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BCA9A4C1-3442-4F48-9649-91A6B71F2791}"/>
              </a:ext>
            </a:extLst>
          </p:cNvPr>
          <p:cNvSpPr>
            <a:spLocks noGrp="1"/>
          </p:cNvSpPr>
          <p:nvPr>
            <p:ph type="ftr" sz="quarter" idx="11"/>
          </p:nvPr>
        </p:nvSpPr>
        <p:spPr bwMode="gray"/>
        <p:txBody>
          <a:bodyPr/>
          <a:lstStyle/>
          <a:p>
            <a:r>
              <a:rPr lang="de-DE"/>
              <a:t>DENEFF PowerPoint Master</a:t>
            </a:r>
          </a:p>
        </p:txBody>
      </p:sp>
      <p:sp>
        <p:nvSpPr>
          <p:cNvPr id="7" name="Foliennummernplatzhalter 5">
            <a:extLst>
              <a:ext uri="{FF2B5EF4-FFF2-40B4-BE49-F238E27FC236}">
                <a16:creationId xmlns:a16="http://schemas.microsoft.com/office/drawing/2014/main" id="{C03A25D8-7E8D-4B52-B96C-07AD13740152}"/>
              </a:ext>
            </a:extLst>
          </p:cNvPr>
          <p:cNvSpPr>
            <a:spLocks noGrp="1"/>
          </p:cNvSpPr>
          <p:nvPr>
            <p:ph type="sldNum" sz="quarter" idx="4"/>
          </p:nvPr>
        </p:nvSpPr>
        <p:spPr bwMode="gray">
          <a:xfrm>
            <a:off x="11676640" y="6498644"/>
            <a:ext cx="180000" cy="202222"/>
          </a:xfrm>
          <a:prstGeom prst="rect">
            <a:avLst/>
          </a:prstGeom>
        </p:spPr>
        <p:txBody>
          <a:bodyPr vert="horz" lIns="0" tIns="0" rIns="0" bIns="0" rtlCol="0" anchor="b"/>
          <a:lstStyle>
            <a:lvl1pPr algn="l">
              <a:defRPr sz="1000">
                <a:solidFill>
                  <a:schemeClr val="tx1"/>
                </a:solidFill>
              </a:defRPr>
            </a:lvl1pPr>
          </a:lstStyle>
          <a:p>
            <a:fld id="{596A2A10-B827-4CCE-9EB2-A13B5A721707}" type="slidenum">
              <a:rPr lang="de-DE" smtClean="0"/>
              <a:pPr/>
              <a:t>‹Nr.›</a:t>
            </a:fld>
            <a:endParaRPr lang="de-DE"/>
          </a:p>
        </p:txBody>
      </p:sp>
    </p:spTree>
    <p:extLst>
      <p:ext uri="{BB962C8B-B14F-4D97-AF65-F5344CB8AC3E}">
        <p14:creationId xmlns:p14="http://schemas.microsoft.com/office/powerpoint/2010/main" val="10596941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BEAD10-3DE7-42F9-8583-61BAFF3C3AC1}"/>
              </a:ext>
            </a:extLst>
          </p:cNvPr>
          <p:cNvSpPr>
            <a:spLocks noGrp="1"/>
          </p:cNvSpPr>
          <p:nvPr>
            <p:ph type="title"/>
          </p:nvPr>
        </p:nvSpPr>
        <p:spPr bwMode="gray"/>
        <p:txBody>
          <a:bodyPr/>
          <a:lstStyle/>
          <a:p>
            <a:r>
              <a:rPr lang="de-DE"/>
              <a:t>Mastertitelformat bearbeiten</a:t>
            </a:r>
          </a:p>
        </p:txBody>
      </p:sp>
      <p:sp>
        <p:nvSpPr>
          <p:cNvPr id="3" name="Inhaltsplatzhalter 2">
            <a:extLst>
              <a:ext uri="{FF2B5EF4-FFF2-40B4-BE49-F238E27FC236}">
                <a16:creationId xmlns:a16="http://schemas.microsoft.com/office/drawing/2014/main" id="{01C839CC-5632-454B-AAEF-DC22F7DFB0FB}"/>
              </a:ext>
            </a:extLst>
          </p:cNvPr>
          <p:cNvSpPr>
            <a:spLocks noGrp="1"/>
          </p:cNvSpPr>
          <p:nvPr>
            <p:ph idx="1"/>
          </p:nvPr>
        </p:nvSpPr>
        <p:spPr bwMode="gray">
          <a:xfrm>
            <a:off x="551384" y="1628800"/>
            <a:ext cx="5472000" cy="4608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BCA9A4C1-3442-4F48-9649-91A6B71F2791}"/>
              </a:ext>
            </a:extLst>
          </p:cNvPr>
          <p:cNvSpPr>
            <a:spLocks noGrp="1"/>
          </p:cNvSpPr>
          <p:nvPr>
            <p:ph type="ftr" sz="quarter" idx="11"/>
          </p:nvPr>
        </p:nvSpPr>
        <p:spPr bwMode="gray"/>
        <p:txBody>
          <a:bodyPr/>
          <a:lstStyle/>
          <a:p>
            <a:r>
              <a:rPr lang="de-DE"/>
              <a:t>DENEFF PowerPoint Master</a:t>
            </a:r>
          </a:p>
        </p:txBody>
      </p:sp>
      <p:sp>
        <p:nvSpPr>
          <p:cNvPr id="11" name="Inhaltsplatzhalter 10">
            <a:extLst>
              <a:ext uri="{FF2B5EF4-FFF2-40B4-BE49-F238E27FC236}">
                <a16:creationId xmlns:a16="http://schemas.microsoft.com/office/drawing/2014/main" id="{6BAC0736-9873-47ED-A125-B27F16955778}"/>
              </a:ext>
            </a:extLst>
          </p:cNvPr>
          <p:cNvSpPr>
            <a:spLocks noGrp="1"/>
          </p:cNvSpPr>
          <p:nvPr>
            <p:ph sz="quarter" idx="13"/>
          </p:nvPr>
        </p:nvSpPr>
        <p:spPr bwMode="gray">
          <a:xfrm>
            <a:off x="6384640" y="1628775"/>
            <a:ext cx="5472000" cy="460851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Foliennummernplatzhalter 5">
            <a:extLst>
              <a:ext uri="{FF2B5EF4-FFF2-40B4-BE49-F238E27FC236}">
                <a16:creationId xmlns:a16="http://schemas.microsoft.com/office/drawing/2014/main" id="{07AEC6CE-AADA-4991-B83A-96544CAE5E8D}"/>
              </a:ext>
            </a:extLst>
          </p:cNvPr>
          <p:cNvSpPr>
            <a:spLocks noGrp="1"/>
          </p:cNvSpPr>
          <p:nvPr>
            <p:ph type="sldNum" sz="quarter" idx="4"/>
          </p:nvPr>
        </p:nvSpPr>
        <p:spPr bwMode="gray">
          <a:xfrm>
            <a:off x="11676640" y="6498644"/>
            <a:ext cx="180000" cy="202222"/>
          </a:xfrm>
          <a:prstGeom prst="rect">
            <a:avLst/>
          </a:prstGeom>
        </p:spPr>
        <p:txBody>
          <a:bodyPr vert="horz" lIns="0" tIns="0" rIns="0" bIns="0" rtlCol="0" anchor="b"/>
          <a:lstStyle>
            <a:lvl1pPr algn="l">
              <a:defRPr sz="1000">
                <a:solidFill>
                  <a:schemeClr val="tx1"/>
                </a:solidFill>
              </a:defRPr>
            </a:lvl1pPr>
          </a:lstStyle>
          <a:p>
            <a:fld id="{596A2A10-B827-4CCE-9EB2-A13B5A721707}" type="slidenum">
              <a:rPr lang="de-DE" smtClean="0"/>
              <a:pPr/>
              <a:t>‹Nr.›</a:t>
            </a:fld>
            <a:endParaRPr lang="de-DE"/>
          </a:p>
        </p:txBody>
      </p:sp>
    </p:spTree>
    <p:extLst>
      <p:ext uri="{BB962C8B-B14F-4D97-AF65-F5344CB8AC3E}">
        <p14:creationId xmlns:p14="http://schemas.microsoft.com/office/powerpoint/2010/main" val="18803863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rei Inhalte mit Bilder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BEAD10-3DE7-42F9-8583-61BAFF3C3AC1}"/>
              </a:ext>
            </a:extLst>
          </p:cNvPr>
          <p:cNvSpPr>
            <a:spLocks noGrp="1"/>
          </p:cNvSpPr>
          <p:nvPr>
            <p:ph type="title"/>
          </p:nvPr>
        </p:nvSpPr>
        <p:spPr bwMode="gray">
          <a:xfrm>
            <a:off x="550863" y="549276"/>
            <a:ext cx="11306175" cy="792000"/>
          </a:xfrm>
        </p:spPr>
        <p:txBody>
          <a:bodyPr/>
          <a:lstStyle/>
          <a:p>
            <a:r>
              <a:rPr lang="de-DE"/>
              <a:t>Mastertitelformat bearbeiten</a:t>
            </a:r>
          </a:p>
        </p:txBody>
      </p:sp>
      <p:sp>
        <p:nvSpPr>
          <p:cNvPr id="3" name="Inhaltsplatzhalter 2">
            <a:extLst>
              <a:ext uri="{FF2B5EF4-FFF2-40B4-BE49-F238E27FC236}">
                <a16:creationId xmlns:a16="http://schemas.microsoft.com/office/drawing/2014/main" id="{01C839CC-5632-454B-AAEF-DC22F7DFB0FB}"/>
              </a:ext>
            </a:extLst>
          </p:cNvPr>
          <p:cNvSpPr>
            <a:spLocks noGrp="1"/>
          </p:cNvSpPr>
          <p:nvPr>
            <p:ph idx="1"/>
          </p:nvPr>
        </p:nvSpPr>
        <p:spPr bwMode="gray">
          <a:xfrm>
            <a:off x="551384" y="3068960"/>
            <a:ext cx="3528000" cy="3168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BCA9A4C1-3442-4F48-9649-91A6B71F2791}"/>
              </a:ext>
            </a:extLst>
          </p:cNvPr>
          <p:cNvSpPr>
            <a:spLocks noGrp="1"/>
          </p:cNvSpPr>
          <p:nvPr>
            <p:ph type="ftr" sz="quarter" idx="11"/>
          </p:nvPr>
        </p:nvSpPr>
        <p:spPr bwMode="gray"/>
        <p:txBody>
          <a:bodyPr/>
          <a:lstStyle/>
          <a:p>
            <a:r>
              <a:rPr lang="de-DE"/>
              <a:t>DENEFF PowerPoint Master</a:t>
            </a:r>
          </a:p>
        </p:txBody>
      </p:sp>
      <p:sp>
        <p:nvSpPr>
          <p:cNvPr id="11" name="Inhaltsplatzhalter 10">
            <a:extLst>
              <a:ext uri="{FF2B5EF4-FFF2-40B4-BE49-F238E27FC236}">
                <a16:creationId xmlns:a16="http://schemas.microsoft.com/office/drawing/2014/main" id="{6BAC0736-9873-47ED-A125-B27F16955778}"/>
              </a:ext>
            </a:extLst>
          </p:cNvPr>
          <p:cNvSpPr>
            <a:spLocks noGrp="1"/>
          </p:cNvSpPr>
          <p:nvPr>
            <p:ph sz="quarter" idx="13"/>
          </p:nvPr>
        </p:nvSpPr>
        <p:spPr bwMode="gray">
          <a:xfrm>
            <a:off x="4440211" y="3069064"/>
            <a:ext cx="3528000" cy="3168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Inhaltsplatzhalter 6">
            <a:extLst>
              <a:ext uri="{FF2B5EF4-FFF2-40B4-BE49-F238E27FC236}">
                <a16:creationId xmlns:a16="http://schemas.microsoft.com/office/drawing/2014/main" id="{541517CA-8DC0-456B-8F62-88055CEA9DBC}"/>
              </a:ext>
            </a:extLst>
          </p:cNvPr>
          <p:cNvSpPr>
            <a:spLocks noGrp="1"/>
          </p:cNvSpPr>
          <p:nvPr>
            <p:ph sz="quarter" idx="14"/>
          </p:nvPr>
        </p:nvSpPr>
        <p:spPr bwMode="gray">
          <a:xfrm>
            <a:off x="8329038" y="3069064"/>
            <a:ext cx="3528000" cy="3168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9">
            <a:extLst>
              <a:ext uri="{FF2B5EF4-FFF2-40B4-BE49-F238E27FC236}">
                <a16:creationId xmlns:a16="http://schemas.microsoft.com/office/drawing/2014/main" id="{580959BD-AC6C-4945-A763-A53F6A2116D9}"/>
              </a:ext>
            </a:extLst>
          </p:cNvPr>
          <p:cNvSpPr>
            <a:spLocks noGrp="1"/>
          </p:cNvSpPr>
          <p:nvPr>
            <p:ph type="pic" sz="quarter" idx="15" hasCustomPrompt="1"/>
          </p:nvPr>
        </p:nvSpPr>
        <p:spPr bwMode="gray">
          <a:xfrm>
            <a:off x="550863" y="1628774"/>
            <a:ext cx="3529012" cy="1249355"/>
          </a:xfrm>
          <a:prstGeom prst="roundRect">
            <a:avLst>
              <a:gd name="adj" fmla="val 10165"/>
            </a:avLst>
          </a:prstGeom>
        </p:spPr>
        <p:txBody>
          <a:bodyPr bIns="720000" anchor="ctr"/>
          <a:lstStyle>
            <a:lvl1pPr marL="0" indent="0" algn="ctr">
              <a:spcAft>
                <a:spcPts val="0"/>
              </a:spcAft>
              <a:buFont typeface="Arial" panose="020B0604020202020204" pitchFamily="34" charset="0"/>
              <a:buNone/>
              <a:defRPr sz="1200" b="0"/>
            </a:lvl1pPr>
            <a:lvl2pPr marL="0" indent="0" algn="ctr">
              <a:spcAft>
                <a:spcPts val="0"/>
              </a:spcAft>
              <a:buFont typeface="Arial" panose="020B0604020202020204" pitchFamily="34" charset="0"/>
              <a:buNone/>
              <a:defRPr sz="1200" b="0"/>
            </a:lvl2pPr>
            <a:lvl3pPr marL="0" indent="0" algn="ctr">
              <a:spcAft>
                <a:spcPts val="0"/>
              </a:spcAft>
              <a:buNone/>
              <a:defRPr sz="1200" b="0"/>
            </a:lvl3pPr>
            <a:lvl4pPr marL="0" indent="0" algn="ctr">
              <a:spcAft>
                <a:spcPts val="0"/>
              </a:spcAft>
              <a:buNone/>
              <a:defRPr sz="1200" b="0"/>
            </a:lvl4pPr>
            <a:lvl5pPr marL="0" indent="0" algn="ctr">
              <a:spcAft>
                <a:spcPts val="0"/>
              </a:spcAft>
              <a:buNone/>
              <a:defRPr sz="1200" b="0"/>
            </a:lvl5pPr>
            <a:lvl6pPr marL="0" indent="0" algn="ctr">
              <a:spcAft>
                <a:spcPts val="0"/>
              </a:spcAft>
              <a:buNone/>
              <a:defRPr sz="1200" b="0"/>
            </a:lvl6pPr>
            <a:lvl7pPr marL="0" indent="0" algn="ctr">
              <a:spcAft>
                <a:spcPts val="0"/>
              </a:spcAft>
              <a:buNone/>
              <a:defRPr sz="1200" b="0"/>
            </a:lvl7pPr>
            <a:lvl8pPr marL="0" indent="0" algn="ctr">
              <a:spcAft>
                <a:spcPts val="0"/>
              </a:spcAft>
              <a:buNone/>
              <a:defRPr sz="1200" b="0"/>
            </a:lvl8pPr>
            <a:lvl9pPr marL="0" indent="0" algn="ctr">
              <a:spcAft>
                <a:spcPts val="0"/>
              </a:spcAft>
              <a:buNone/>
              <a:defRPr sz="1200" b="0"/>
            </a:lvl9pPr>
          </a:lstStyle>
          <a:p>
            <a:pPr lvl="0"/>
            <a:r>
              <a:rPr lang="de-DE"/>
              <a:t>Bild durch Klick auf das Icon hinzufügen </a:t>
            </a:r>
            <a:br>
              <a:rPr lang="de-DE"/>
            </a:br>
            <a:r>
              <a:rPr lang="de-DE"/>
              <a:t>und ggf. zuschneiden</a:t>
            </a:r>
          </a:p>
        </p:txBody>
      </p:sp>
      <p:sp>
        <p:nvSpPr>
          <p:cNvPr id="13" name="Bildplatzhalter 9">
            <a:extLst>
              <a:ext uri="{FF2B5EF4-FFF2-40B4-BE49-F238E27FC236}">
                <a16:creationId xmlns:a16="http://schemas.microsoft.com/office/drawing/2014/main" id="{617073DF-12EB-47E1-8C8A-B16BDAB2AFF3}"/>
              </a:ext>
            </a:extLst>
          </p:cNvPr>
          <p:cNvSpPr>
            <a:spLocks noGrp="1"/>
          </p:cNvSpPr>
          <p:nvPr>
            <p:ph type="pic" sz="quarter" idx="16" hasCustomPrompt="1"/>
          </p:nvPr>
        </p:nvSpPr>
        <p:spPr bwMode="gray">
          <a:xfrm>
            <a:off x="4439199" y="1628774"/>
            <a:ext cx="3529012" cy="1249355"/>
          </a:xfrm>
          <a:prstGeom prst="roundRect">
            <a:avLst>
              <a:gd name="adj" fmla="val 10165"/>
            </a:avLst>
          </a:prstGeom>
        </p:spPr>
        <p:txBody>
          <a:bodyPr bIns="720000" anchor="ctr"/>
          <a:lstStyle>
            <a:lvl1pPr marL="0" indent="0" algn="ctr">
              <a:spcAft>
                <a:spcPts val="0"/>
              </a:spcAft>
              <a:buFont typeface="Arial" panose="020B0604020202020204" pitchFamily="34" charset="0"/>
              <a:buNone/>
              <a:defRPr sz="1200" b="0"/>
            </a:lvl1pPr>
            <a:lvl2pPr marL="0" indent="0" algn="ctr">
              <a:spcAft>
                <a:spcPts val="0"/>
              </a:spcAft>
              <a:buFont typeface="Arial" panose="020B0604020202020204" pitchFamily="34" charset="0"/>
              <a:buNone/>
              <a:defRPr sz="1200" b="0"/>
            </a:lvl2pPr>
            <a:lvl3pPr marL="0" indent="0" algn="ctr">
              <a:spcAft>
                <a:spcPts val="0"/>
              </a:spcAft>
              <a:buNone/>
              <a:defRPr sz="1200" b="0"/>
            </a:lvl3pPr>
            <a:lvl4pPr marL="0" indent="0" algn="ctr">
              <a:spcAft>
                <a:spcPts val="0"/>
              </a:spcAft>
              <a:buNone/>
              <a:defRPr sz="1200" b="0"/>
            </a:lvl4pPr>
            <a:lvl5pPr marL="0" indent="0" algn="ctr">
              <a:spcAft>
                <a:spcPts val="0"/>
              </a:spcAft>
              <a:buNone/>
              <a:defRPr sz="1200" b="0"/>
            </a:lvl5pPr>
            <a:lvl6pPr marL="0" indent="0" algn="ctr">
              <a:spcAft>
                <a:spcPts val="0"/>
              </a:spcAft>
              <a:buNone/>
              <a:defRPr sz="1200" b="0"/>
            </a:lvl6pPr>
            <a:lvl7pPr marL="0" indent="0" algn="ctr">
              <a:spcAft>
                <a:spcPts val="0"/>
              </a:spcAft>
              <a:buNone/>
              <a:defRPr sz="1200" b="0"/>
            </a:lvl7pPr>
            <a:lvl8pPr marL="0" indent="0" algn="ctr">
              <a:spcAft>
                <a:spcPts val="0"/>
              </a:spcAft>
              <a:buNone/>
              <a:defRPr sz="1200" b="0"/>
            </a:lvl8pPr>
            <a:lvl9pPr marL="0" indent="0" algn="ctr">
              <a:spcAft>
                <a:spcPts val="0"/>
              </a:spcAft>
              <a:buNone/>
              <a:defRPr sz="1200" b="0"/>
            </a:lvl9pPr>
          </a:lstStyle>
          <a:p>
            <a:pPr lvl="0"/>
            <a:r>
              <a:rPr lang="de-DE"/>
              <a:t>Bild durch Klick auf das Icon hinzufügen </a:t>
            </a:r>
            <a:br>
              <a:rPr lang="de-DE"/>
            </a:br>
            <a:r>
              <a:rPr lang="de-DE"/>
              <a:t>und ggf. zuschneiden</a:t>
            </a:r>
          </a:p>
        </p:txBody>
      </p:sp>
      <p:sp>
        <p:nvSpPr>
          <p:cNvPr id="14" name="Bildplatzhalter 9">
            <a:extLst>
              <a:ext uri="{FF2B5EF4-FFF2-40B4-BE49-F238E27FC236}">
                <a16:creationId xmlns:a16="http://schemas.microsoft.com/office/drawing/2014/main" id="{3D59546F-D13C-4D1A-9AFC-056F43C76C8E}"/>
              </a:ext>
            </a:extLst>
          </p:cNvPr>
          <p:cNvSpPr>
            <a:spLocks noGrp="1"/>
          </p:cNvSpPr>
          <p:nvPr>
            <p:ph type="pic" sz="quarter" idx="17" hasCustomPrompt="1"/>
          </p:nvPr>
        </p:nvSpPr>
        <p:spPr bwMode="gray">
          <a:xfrm>
            <a:off x="8328026" y="1628774"/>
            <a:ext cx="3529012" cy="1249355"/>
          </a:xfrm>
          <a:prstGeom prst="roundRect">
            <a:avLst>
              <a:gd name="adj" fmla="val 10165"/>
            </a:avLst>
          </a:prstGeom>
        </p:spPr>
        <p:txBody>
          <a:bodyPr bIns="720000" anchor="ctr"/>
          <a:lstStyle>
            <a:lvl1pPr marL="0" indent="0" algn="ctr">
              <a:spcAft>
                <a:spcPts val="0"/>
              </a:spcAft>
              <a:buFont typeface="Arial" panose="020B0604020202020204" pitchFamily="34" charset="0"/>
              <a:buNone/>
              <a:defRPr sz="1200" b="0"/>
            </a:lvl1pPr>
            <a:lvl2pPr marL="0" indent="0" algn="ctr">
              <a:spcAft>
                <a:spcPts val="0"/>
              </a:spcAft>
              <a:buFont typeface="Arial" panose="020B0604020202020204" pitchFamily="34" charset="0"/>
              <a:buNone/>
              <a:defRPr sz="1200" b="0"/>
            </a:lvl2pPr>
            <a:lvl3pPr marL="0" indent="0" algn="ctr">
              <a:spcAft>
                <a:spcPts val="0"/>
              </a:spcAft>
              <a:buNone/>
              <a:defRPr sz="1200" b="0"/>
            </a:lvl3pPr>
            <a:lvl4pPr marL="0" indent="0" algn="ctr">
              <a:spcAft>
                <a:spcPts val="0"/>
              </a:spcAft>
              <a:buNone/>
              <a:defRPr sz="1200" b="0"/>
            </a:lvl4pPr>
            <a:lvl5pPr marL="0" indent="0" algn="ctr">
              <a:spcAft>
                <a:spcPts val="0"/>
              </a:spcAft>
              <a:buNone/>
              <a:defRPr sz="1200" b="0"/>
            </a:lvl5pPr>
            <a:lvl6pPr marL="0" indent="0" algn="ctr">
              <a:spcAft>
                <a:spcPts val="0"/>
              </a:spcAft>
              <a:buNone/>
              <a:defRPr sz="1200" b="0"/>
            </a:lvl6pPr>
            <a:lvl7pPr marL="0" indent="0" algn="ctr">
              <a:spcAft>
                <a:spcPts val="0"/>
              </a:spcAft>
              <a:buNone/>
              <a:defRPr sz="1200" b="0"/>
            </a:lvl7pPr>
            <a:lvl8pPr marL="0" indent="0" algn="ctr">
              <a:spcAft>
                <a:spcPts val="0"/>
              </a:spcAft>
              <a:buNone/>
              <a:defRPr sz="1200" b="0"/>
            </a:lvl8pPr>
            <a:lvl9pPr marL="0" indent="0" algn="ctr">
              <a:spcAft>
                <a:spcPts val="0"/>
              </a:spcAft>
              <a:buNone/>
              <a:defRPr sz="1200" b="0"/>
            </a:lvl9pPr>
          </a:lstStyle>
          <a:p>
            <a:pPr lvl="0"/>
            <a:r>
              <a:rPr lang="de-DE"/>
              <a:t>Bild durch Klick auf das Icon hinzufügen </a:t>
            </a:r>
            <a:br>
              <a:rPr lang="de-DE"/>
            </a:br>
            <a:r>
              <a:rPr lang="de-DE"/>
              <a:t>und ggf. zuschneiden</a:t>
            </a:r>
          </a:p>
        </p:txBody>
      </p:sp>
      <p:sp>
        <p:nvSpPr>
          <p:cNvPr id="12" name="Foliennummernplatzhalter 5">
            <a:extLst>
              <a:ext uri="{FF2B5EF4-FFF2-40B4-BE49-F238E27FC236}">
                <a16:creationId xmlns:a16="http://schemas.microsoft.com/office/drawing/2014/main" id="{8D06E499-CE28-4AD8-9DCE-3A48D2DC9BE5}"/>
              </a:ext>
            </a:extLst>
          </p:cNvPr>
          <p:cNvSpPr>
            <a:spLocks noGrp="1"/>
          </p:cNvSpPr>
          <p:nvPr>
            <p:ph type="sldNum" sz="quarter" idx="4"/>
          </p:nvPr>
        </p:nvSpPr>
        <p:spPr bwMode="gray">
          <a:xfrm>
            <a:off x="11676640" y="6498644"/>
            <a:ext cx="180000" cy="202222"/>
          </a:xfrm>
          <a:prstGeom prst="rect">
            <a:avLst/>
          </a:prstGeom>
        </p:spPr>
        <p:txBody>
          <a:bodyPr vert="horz" lIns="0" tIns="0" rIns="0" bIns="0" rtlCol="0" anchor="b"/>
          <a:lstStyle>
            <a:lvl1pPr algn="l">
              <a:defRPr sz="1000">
                <a:solidFill>
                  <a:schemeClr val="tx1"/>
                </a:solidFill>
              </a:defRPr>
            </a:lvl1pPr>
          </a:lstStyle>
          <a:p>
            <a:fld id="{596A2A10-B827-4CCE-9EB2-A13B5A721707}" type="slidenum">
              <a:rPr lang="de-DE" smtClean="0"/>
              <a:pPr/>
              <a:t>‹Nr.›</a:t>
            </a:fld>
            <a:endParaRPr lang="de-DE"/>
          </a:p>
        </p:txBody>
      </p:sp>
    </p:spTree>
    <p:extLst>
      <p:ext uri="{BB962C8B-B14F-4D97-AF65-F5344CB8AC3E}">
        <p14:creationId xmlns:p14="http://schemas.microsoft.com/office/powerpoint/2010/main" val="1523645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mit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BEAD10-3DE7-42F9-8583-61BAFF3C3AC1}"/>
              </a:ext>
            </a:extLst>
          </p:cNvPr>
          <p:cNvSpPr>
            <a:spLocks noGrp="1"/>
          </p:cNvSpPr>
          <p:nvPr>
            <p:ph type="title"/>
          </p:nvPr>
        </p:nvSpPr>
        <p:spPr bwMode="gray">
          <a:xfrm>
            <a:off x="550863" y="549276"/>
            <a:ext cx="11306175" cy="792000"/>
          </a:xfrm>
        </p:spPr>
        <p:txBody>
          <a:bodyPr/>
          <a:lstStyle/>
          <a:p>
            <a:r>
              <a:rPr lang="de-DE"/>
              <a:t>Mastertitelformat bearbeiten</a:t>
            </a:r>
          </a:p>
        </p:txBody>
      </p:sp>
      <p:sp>
        <p:nvSpPr>
          <p:cNvPr id="3" name="Inhaltsplatzhalter 2">
            <a:extLst>
              <a:ext uri="{FF2B5EF4-FFF2-40B4-BE49-F238E27FC236}">
                <a16:creationId xmlns:a16="http://schemas.microsoft.com/office/drawing/2014/main" id="{01C839CC-5632-454B-AAEF-DC22F7DFB0FB}"/>
              </a:ext>
            </a:extLst>
          </p:cNvPr>
          <p:cNvSpPr>
            <a:spLocks noGrp="1"/>
          </p:cNvSpPr>
          <p:nvPr>
            <p:ph idx="1"/>
          </p:nvPr>
        </p:nvSpPr>
        <p:spPr bwMode="gray">
          <a:xfrm>
            <a:off x="551384" y="1628800"/>
            <a:ext cx="7416000" cy="4608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BCA9A4C1-3442-4F48-9649-91A6B71F2791}"/>
              </a:ext>
            </a:extLst>
          </p:cNvPr>
          <p:cNvSpPr>
            <a:spLocks noGrp="1"/>
          </p:cNvSpPr>
          <p:nvPr>
            <p:ph type="ftr" sz="quarter" idx="11"/>
          </p:nvPr>
        </p:nvSpPr>
        <p:spPr bwMode="gray"/>
        <p:txBody>
          <a:bodyPr/>
          <a:lstStyle/>
          <a:p>
            <a:r>
              <a:rPr lang="de-DE"/>
              <a:t>DENEFF PowerPoint Master</a:t>
            </a:r>
          </a:p>
        </p:txBody>
      </p:sp>
      <p:sp>
        <p:nvSpPr>
          <p:cNvPr id="8" name="Bildplatzhalter 7">
            <a:extLst>
              <a:ext uri="{FF2B5EF4-FFF2-40B4-BE49-F238E27FC236}">
                <a16:creationId xmlns:a16="http://schemas.microsoft.com/office/drawing/2014/main" id="{345DAA3B-5723-449C-BA62-D84E7CCA54FB}"/>
              </a:ext>
            </a:extLst>
          </p:cNvPr>
          <p:cNvSpPr>
            <a:spLocks noGrp="1"/>
          </p:cNvSpPr>
          <p:nvPr>
            <p:ph type="pic" sz="quarter" idx="13" hasCustomPrompt="1"/>
          </p:nvPr>
        </p:nvSpPr>
        <p:spPr bwMode="gray">
          <a:xfrm>
            <a:off x="8328248" y="1628775"/>
            <a:ext cx="3528000" cy="4608513"/>
          </a:xfrm>
          <a:prstGeom prst="roundRect">
            <a:avLst>
              <a:gd name="adj" fmla="val 3600"/>
            </a:avLst>
          </a:prstGeom>
        </p:spPr>
        <p:txBody>
          <a:bodyPr bIns="720000" anchor="ctr"/>
          <a:lstStyle>
            <a:lvl1pPr marL="0" algn="ctr">
              <a:spcAft>
                <a:spcPts val="0"/>
              </a:spcAft>
              <a:buFontTx/>
              <a:buNone/>
              <a:defRPr sz="1200" b="0">
                <a:solidFill>
                  <a:schemeClr val="tx1"/>
                </a:solidFill>
              </a:defRPr>
            </a:lvl1pPr>
            <a:lvl2pPr marL="0" algn="ctr">
              <a:spcAft>
                <a:spcPts val="0"/>
              </a:spcAft>
              <a:buFontTx/>
              <a:buNone/>
              <a:defRPr sz="1200" b="0">
                <a:solidFill>
                  <a:schemeClr val="tx1"/>
                </a:solidFill>
              </a:defRPr>
            </a:lvl2pPr>
            <a:lvl3pPr marL="0" indent="0" algn="ctr">
              <a:spcAft>
                <a:spcPts val="0"/>
              </a:spcAft>
              <a:buFontTx/>
              <a:buNone/>
              <a:defRPr sz="1200" b="0">
                <a:solidFill>
                  <a:schemeClr val="tx1"/>
                </a:solidFill>
              </a:defRPr>
            </a:lvl3pPr>
            <a:lvl4pPr marL="0" indent="0" algn="ctr">
              <a:spcAft>
                <a:spcPts val="0"/>
              </a:spcAft>
              <a:buFontTx/>
              <a:buNone/>
              <a:defRPr sz="1200" b="0">
                <a:solidFill>
                  <a:schemeClr val="tx1"/>
                </a:solidFill>
              </a:defRPr>
            </a:lvl4pPr>
            <a:lvl5pPr marL="0" indent="0" algn="ctr">
              <a:spcAft>
                <a:spcPts val="0"/>
              </a:spcAft>
              <a:buFontTx/>
              <a:buNone/>
              <a:defRPr sz="1200" b="0">
                <a:solidFill>
                  <a:schemeClr val="tx1"/>
                </a:solidFill>
              </a:defRPr>
            </a:lvl5pPr>
            <a:lvl6pPr marL="0" indent="0" algn="ctr">
              <a:spcAft>
                <a:spcPts val="0"/>
              </a:spcAft>
              <a:buFontTx/>
              <a:buNone/>
              <a:defRPr sz="1200" b="0">
                <a:solidFill>
                  <a:schemeClr val="tx1"/>
                </a:solidFill>
              </a:defRPr>
            </a:lvl6pPr>
            <a:lvl7pPr marL="0" indent="0" algn="ctr">
              <a:spcAft>
                <a:spcPts val="0"/>
              </a:spcAft>
              <a:buFontTx/>
              <a:buNone/>
              <a:defRPr sz="1200" b="0">
                <a:solidFill>
                  <a:schemeClr val="tx1"/>
                </a:solidFill>
              </a:defRPr>
            </a:lvl7pPr>
            <a:lvl8pPr marL="0" indent="0" algn="ctr">
              <a:spcAft>
                <a:spcPts val="0"/>
              </a:spcAft>
              <a:buFontTx/>
              <a:buNone/>
              <a:defRPr sz="1200" b="0">
                <a:solidFill>
                  <a:schemeClr val="tx1"/>
                </a:solidFill>
              </a:defRPr>
            </a:lvl8pPr>
            <a:lvl9pPr marL="0" indent="0" algn="ctr">
              <a:spcAft>
                <a:spcPts val="0"/>
              </a:spcAft>
              <a:buFontTx/>
              <a:buNone/>
              <a:defRPr sz="1200" b="0">
                <a:solidFill>
                  <a:schemeClr val="tx1"/>
                </a:solidFill>
              </a:defRPr>
            </a:lvl9pPr>
          </a:lstStyle>
          <a:p>
            <a:pPr lvl="0"/>
            <a:r>
              <a:rPr lang="de-DE"/>
              <a:t>Bild durch Klick auf das Icon hinzufügen </a:t>
            </a:r>
            <a:br>
              <a:rPr lang="de-DE"/>
            </a:br>
            <a:r>
              <a:rPr lang="de-DE"/>
              <a:t>und ggf. zuschneiden</a:t>
            </a:r>
          </a:p>
        </p:txBody>
      </p:sp>
      <p:sp>
        <p:nvSpPr>
          <p:cNvPr id="7" name="Foliennummernplatzhalter 5">
            <a:extLst>
              <a:ext uri="{FF2B5EF4-FFF2-40B4-BE49-F238E27FC236}">
                <a16:creationId xmlns:a16="http://schemas.microsoft.com/office/drawing/2014/main" id="{557E5618-5B32-42AD-BCA4-ED4E84F85CE7}"/>
              </a:ext>
            </a:extLst>
          </p:cNvPr>
          <p:cNvSpPr>
            <a:spLocks noGrp="1"/>
          </p:cNvSpPr>
          <p:nvPr>
            <p:ph type="sldNum" sz="quarter" idx="4"/>
          </p:nvPr>
        </p:nvSpPr>
        <p:spPr bwMode="gray">
          <a:xfrm>
            <a:off x="11676640" y="6498644"/>
            <a:ext cx="180000" cy="202222"/>
          </a:xfrm>
          <a:prstGeom prst="rect">
            <a:avLst/>
          </a:prstGeom>
        </p:spPr>
        <p:txBody>
          <a:bodyPr vert="horz" lIns="0" tIns="0" rIns="0" bIns="0" rtlCol="0" anchor="b"/>
          <a:lstStyle>
            <a:lvl1pPr algn="l">
              <a:defRPr sz="1000">
                <a:solidFill>
                  <a:schemeClr val="tx1"/>
                </a:solidFill>
              </a:defRPr>
            </a:lvl1pPr>
          </a:lstStyle>
          <a:p>
            <a:fld id="{596A2A10-B827-4CCE-9EB2-A13B5A721707}" type="slidenum">
              <a:rPr lang="de-DE" smtClean="0"/>
              <a:pPr/>
              <a:t>‹Nr.›</a:t>
            </a:fld>
            <a:endParaRPr lang="de-DE"/>
          </a:p>
        </p:txBody>
      </p:sp>
    </p:spTree>
    <p:extLst>
      <p:ext uri="{BB962C8B-B14F-4D97-AF65-F5344CB8AC3E}">
        <p14:creationId xmlns:p14="http://schemas.microsoft.com/office/powerpoint/2010/main" val="19676412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30525062-7923-5668-5878-D785F9D27EAF}"/>
              </a:ext>
            </a:extLst>
          </p:cNvPr>
          <p:cNvGraphicFramePr>
            <a:graphicFrameLocks noChangeAspect="1"/>
          </p:cNvGraphicFramePr>
          <p:nvPr userDrawn="1">
            <p:custDataLst>
              <p:tags r:id="rId27"/>
            </p:custDataLst>
            <p:extLst>
              <p:ext uri="{D42A27DB-BD31-4B8C-83A1-F6EECF244321}">
                <p14:modId xmlns:p14="http://schemas.microsoft.com/office/powerpoint/2010/main" val="3698628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8" imgW="306" imgH="306" progId="TCLayout.ActiveDocument.1">
                  <p:embed/>
                </p:oleObj>
              </mc:Choice>
              <mc:Fallback>
                <p:oleObj name="think-cell Folie" r:id="rId28" imgW="306" imgH="306" progId="TCLayout.ActiveDocument.1">
                  <p:embed/>
                  <p:pic>
                    <p:nvPicPr>
                      <p:cNvPr id="12" name="Objekt 11" hidden="1">
                        <a:extLst>
                          <a:ext uri="{FF2B5EF4-FFF2-40B4-BE49-F238E27FC236}">
                            <a16:creationId xmlns:a16="http://schemas.microsoft.com/office/drawing/2014/main" id="{30525062-7923-5668-5878-D785F9D27EAF}"/>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606EEF14-D7F4-4DCB-BC11-4C25228E7B50}"/>
              </a:ext>
            </a:extLst>
          </p:cNvPr>
          <p:cNvSpPr>
            <a:spLocks noGrp="1"/>
          </p:cNvSpPr>
          <p:nvPr>
            <p:ph type="title"/>
          </p:nvPr>
        </p:nvSpPr>
        <p:spPr bwMode="gray">
          <a:xfrm>
            <a:off x="550863" y="549276"/>
            <a:ext cx="11306175" cy="792000"/>
          </a:xfrm>
          <a:prstGeom prst="rect">
            <a:avLst/>
          </a:prstGeom>
        </p:spPr>
        <p:txBody>
          <a:bodyPr vert="horz" lIns="0" tIns="0" rIns="0" bIns="0" rtlCol="0" anchor="t">
            <a:noAutofit/>
          </a:bodyPr>
          <a:lstStyle/>
          <a:p>
            <a:r>
              <a:rPr lang="de-DE"/>
              <a:t>Titel maximal zweizeilig</a:t>
            </a:r>
          </a:p>
        </p:txBody>
      </p:sp>
      <p:sp>
        <p:nvSpPr>
          <p:cNvPr id="3" name="Textplatzhalter 2">
            <a:extLst>
              <a:ext uri="{FF2B5EF4-FFF2-40B4-BE49-F238E27FC236}">
                <a16:creationId xmlns:a16="http://schemas.microsoft.com/office/drawing/2014/main" id="{A85D3B61-E0F0-42EC-8429-20183167830F}"/>
              </a:ext>
            </a:extLst>
          </p:cNvPr>
          <p:cNvSpPr>
            <a:spLocks noGrp="1"/>
          </p:cNvSpPr>
          <p:nvPr>
            <p:ph type="body" idx="1"/>
          </p:nvPr>
        </p:nvSpPr>
        <p:spPr bwMode="gray">
          <a:xfrm>
            <a:off x="550863" y="1628800"/>
            <a:ext cx="11304000" cy="4608000"/>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
        <p:nvSpPr>
          <p:cNvPr id="5" name="Fußzeilenplatzhalter 4">
            <a:extLst>
              <a:ext uri="{FF2B5EF4-FFF2-40B4-BE49-F238E27FC236}">
                <a16:creationId xmlns:a16="http://schemas.microsoft.com/office/drawing/2014/main" id="{9FCE5A9A-3DB1-4636-94BE-DAA91B3A7ADE}"/>
              </a:ext>
            </a:extLst>
          </p:cNvPr>
          <p:cNvSpPr>
            <a:spLocks noGrp="1"/>
          </p:cNvSpPr>
          <p:nvPr>
            <p:ph type="ftr" sz="quarter" idx="3"/>
          </p:nvPr>
        </p:nvSpPr>
        <p:spPr bwMode="gray">
          <a:xfrm>
            <a:off x="1775520" y="6499942"/>
            <a:ext cx="9216000" cy="200896"/>
          </a:xfrm>
          <a:prstGeom prst="rect">
            <a:avLst/>
          </a:prstGeom>
        </p:spPr>
        <p:txBody>
          <a:bodyPr vert="horz" lIns="0" tIns="0" rIns="0" bIns="0" rtlCol="0" anchor="b"/>
          <a:lstStyle>
            <a:lvl1pPr algn="l">
              <a:defRPr sz="800">
                <a:solidFill>
                  <a:schemeClr val="tx1"/>
                </a:solidFill>
              </a:defRPr>
            </a:lvl1pPr>
          </a:lstStyle>
          <a:p>
            <a:r>
              <a:rPr lang="de-DE">
                <a:solidFill>
                  <a:schemeClr val="bg2"/>
                </a:solidFill>
              </a:rPr>
              <a:t>DISCLAIMER:</a:t>
            </a:r>
            <a:r>
              <a:rPr lang="de-DE"/>
              <a:t> Die Informationen in dieser Förderübersicht werden ständig geprüft und aktualisiert. Trotz aller Sorgfalt können sich Angaben inzwischen geändert haben. Eine Haftung oder Garantie für die Aktualität, Richtigkeit und Vollständigkeit der zur Verfügung gestellten Informationen kann deshalb nicht übernommen werden. Die Deutsche Unternehmensinitiative Energieeffizienz e. V. (DENEFF) übernimmt keine Haftung für Informationen auf Webseiten Dritter, die per Link mit dieser Präsentation verbunden sind.</a:t>
            </a:r>
          </a:p>
        </p:txBody>
      </p:sp>
      <p:sp>
        <p:nvSpPr>
          <p:cNvPr id="6" name="Foliennummernplatzhalter 5">
            <a:extLst>
              <a:ext uri="{FF2B5EF4-FFF2-40B4-BE49-F238E27FC236}">
                <a16:creationId xmlns:a16="http://schemas.microsoft.com/office/drawing/2014/main" id="{A85E9D0E-212B-4357-905F-06D3565FC1DE}"/>
              </a:ext>
            </a:extLst>
          </p:cNvPr>
          <p:cNvSpPr>
            <a:spLocks noGrp="1"/>
          </p:cNvSpPr>
          <p:nvPr>
            <p:ph type="sldNum" sz="quarter" idx="4"/>
          </p:nvPr>
        </p:nvSpPr>
        <p:spPr bwMode="gray">
          <a:xfrm>
            <a:off x="11676640" y="6498644"/>
            <a:ext cx="180000" cy="202222"/>
          </a:xfrm>
          <a:prstGeom prst="rect">
            <a:avLst/>
          </a:prstGeom>
        </p:spPr>
        <p:txBody>
          <a:bodyPr vert="horz" lIns="0" tIns="0" rIns="0" bIns="0" rtlCol="0" anchor="b"/>
          <a:lstStyle>
            <a:lvl1pPr algn="l">
              <a:defRPr sz="1000">
                <a:solidFill>
                  <a:schemeClr val="tx1"/>
                </a:solidFill>
              </a:defRPr>
            </a:lvl1pPr>
          </a:lstStyle>
          <a:p>
            <a:fld id="{596A2A10-B827-4CCE-9EB2-A13B5A721707}" type="slidenum">
              <a:rPr lang="de-DE" smtClean="0"/>
              <a:pPr/>
              <a:t>‹Nr.›</a:t>
            </a:fld>
            <a:endParaRPr lang="de-DE"/>
          </a:p>
        </p:txBody>
      </p:sp>
      <p:cxnSp>
        <p:nvCxnSpPr>
          <p:cNvPr id="11" name="Gerader Verbinder 10">
            <a:extLst>
              <a:ext uri="{FF2B5EF4-FFF2-40B4-BE49-F238E27FC236}">
                <a16:creationId xmlns:a16="http://schemas.microsoft.com/office/drawing/2014/main" id="{3CC4911D-C827-4429-8E39-50AD591D1582}"/>
              </a:ext>
            </a:extLst>
          </p:cNvPr>
          <p:cNvCxnSpPr>
            <a:cxnSpLocks/>
          </p:cNvCxnSpPr>
          <p:nvPr userDrawn="1"/>
        </p:nvCxnSpPr>
        <p:spPr bwMode="gray">
          <a:xfrm>
            <a:off x="11676640" y="6487244"/>
            <a:ext cx="51536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132D245C-0A52-98D7-B839-77116399A467}"/>
              </a:ext>
            </a:extLst>
          </p:cNvPr>
          <p:cNvPicPr>
            <a:picLocks noChangeAspect="1"/>
          </p:cNvPicPr>
          <p:nvPr userDrawn="1"/>
        </p:nvPicPr>
        <p:blipFill>
          <a:blip r:embed="rId30">
            <a:extLst>
              <a:ext uri="{96DAC541-7B7A-43D3-8B79-37D633B846F1}">
                <asvg:svgBlip xmlns:asvg="http://schemas.microsoft.com/office/drawing/2016/SVG/main" r:embed="rId31"/>
              </a:ext>
            </a:extLst>
          </a:blip>
          <a:stretch>
            <a:fillRect/>
          </a:stretch>
        </p:blipFill>
        <p:spPr>
          <a:xfrm>
            <a:off x="550863" y="6415983"/>
            <a:ext cx="725776" cy="252832"/>
          </a:xfrm>
          <a:prstGeom prst="rect">
            <a:avLst/>
          </a:prstGeom>
        </p:spPr>
      </p:pic>
    </p:spTree>
    <p:extLst>
      <p:ext uri="{BB962C8B-B14F-4D97-AF65-F5344CB8AC3E}">
        <p14:creationId xmlns:p14="http://schemas.microsoft.com/office/powerpoint/2010/main" val="57294083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Lst>
  <p:hf hdr="0" dt="0"/>
  <p:txStyles>
    <p:titleStyle>
      <a:lvl1pPr algn="l" defTabSz="914400" rtl="0" eaLnBrk="1" latinLnBrk="0" hangingPunct="1">
        <a:lnSpc>
          <a:spcPct val="90000"/>
        </a:lnSpc>
        <a:spcBef>
          <a:spcPct val="0"/>
        </a:spcBef>
        <a:buNone/>
        <a:defRPr sz="26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bg2"/>
        </a:buClr>
        <a:buFont typeface="Arial" panose="020B0604020202020204" pitchFamily="34" charset="0"/>
        <a:buChar char="•"/>
        <a:defRPr sz="1600" kern="1200">
          <a:solidFill>
            <a:schemeClr val="tx1"/>
          </a:solidFill>
          <a:latin typeface="+mn-lt"/>
          <a:ea typeface="+mn-ea"/>
          <a:cs typeface="+mn-cs"/>
        </a:defRPr>
      </a:lvl3pPr>
      <a:lvl4pPr marL="432000" indent="-216000" algn="l" defTabSz="914400" rtl="0" eaLnBrk="1" latinLnBrk="0" hangingPunct="1">
        <a:lnSpc>
          <a:spcPct val="100000"/>
        </a:lnSpc>
        <a:spcBef>
          <a:spcPts val="0"/>
        </a:spcBef>
        <a:spcAft>
          <a:spcPts val="600"/>
        </a:spcAft>
        <a:buClr>
          <a:schemeClr val="bg2"/>
        </a:buClr>
        <a:buFont typeface="Arial" panose="020B0604020202020204" pitchFamily="34" charset="0"/>
        <a:buChar char="•"/>
        <a:defRPr sz="1600" kern="1200">
          <a:solidFill>
            <a:schemeClr val="tx1"/>
          </a:solidFill>
          <a:latin typeface="+mn-lt"/>
          <a:ea typeface="+mn-ea"/>
          <a:cs typeface="+mn-cs"/>
        </a:defRPr>
      </a:lvl4pPr>
      <a:lvl5pPr marL="648000" indent="-216000" algn="l" defTabSz="914400" rtl="0" eaLnBrk="1" latinLnBrk="0" hangingPunct="1">
        <a:lnSpc>
          <a:spcPct val="100000"/>
        </a:lnSpc>
        <a:spcBef>
          <a:spcPts val="0"/>
        </a:spcBef>
        <a:spcAft>
          <a:spcPts val="600"/>
        </a:spcAft>
        <a:buClr>
          <a:schemeClr val="bg2"/>
        </a:buClr>
        <a:buFont typeface="Arial" panose="020B0604020202020204" pitchFamily="34" charset="0"/>
        <a:buChar char="•"/>
        <a:defRPr sz="1600" kern="1200">
          <a:solidFill>
            <a:schemeClr val="tx1"/>
          </a:solidFill>
          <a:latin typeface="+mn-lt"/>
          <a:ea typeface="+mn-ea"/>
          <a:cs typeface="+mn-cs"/>
        </a:defRPr>
      </a:lvl5pPr>
      <a:lvl6pPr marL="864000" indent="-216000" algn="l" defTabSz="914400" rtl="0" eaLnBrk="1" latinLnBrk="0" hangingPunct="1">
        <a:lnSpc>
          <a:spcPct val="100000"/>
        </a:lnSpc>
        <a:spcBef>
          <a:spcPts val="0"/>
        </a:spcBef>
        <a:spcAft>
          <a:spcPts val="600"/>
        </a:spcAft>
        <a:buClr>
          <a:schemeClr val="bg2"/>
        </a:buClr>
        <a:buFont typeface="Arial" panose="020B0604020202020204" pitchFamily="34" charset="0"/>
        <a:buChar char="•"/>
        <a:defRPr sz="1600" kern="1200">
          <a:solidFill>
            <a:schemeClr val="tx1"/>
          </a:solidFill>
          <a:latin typeface="+mn-lt"/>
          <a:ea typeface="+mn-ea"/>
          <a:cs typeface="+mn-cs"/>
        </a:defRPr>
      </a:lvl6pPr>
      <a:lvl7pPr marL="1080000" indent="-216000" algn="l" defTabSz="914400" rtl="0" eaLnBrk="1" latinLnBrk="0" hangingPunct="1">
        <a:lnSpc>
          <a:spcPct val="100000"/>
        </a:lnSpc>
        <a:spcBef>
          <a:spcPts val="0"/>
        </a:spcBef>
        <a:spcAft>
          <a:spcPts val="600"/>
        </a:spcAft>
        <a:buClr>
          <a:schemeClr val="bg2"/>
        </a:buClr>
        <a:buFont typeface="Arial" panose="020B0604020202020204" pitchFamily="34" charset="0"/>
        <a:buChar char="•"/>
        <a:defRPr sz="1600" kern="1200">
          <a:solidFill>
            <a:schemeClr val="tx1"/>
          </a:solidFill>
          <a:latin typeface="+mn-lt"/>
          <a:ea typeface="+mn-ea"/>
          <a:cs typeface="+mn-cs"/>
        </a:defRPr>
      </a:lvl7pPr>
      <a:lvl8pPr marL="1296000" indent="-216000" algn="l" defTabSz="914400" rtl="0" eaLnBrk="1" latinLnBrk="0" hangingPunct="1">
        <a:lnSpc>
          <a:spcPct val="100000"/>
        </a:lnSpc>
        <a:spcBef>
          <a:spcPts val="0"/>
        </a:spcBef>
        <a:spcAft>
          <a:spcPts val="600"/>
        </a:spcAft>
        <a:buClr>
          <a:schemeClr val="bg2"/>
        </a:buClr>
        <a:buFont typeface="Arial" panose="020B0604020202020204" pitchFamily="34" charset="0"/>
        <a:buChar char="•"/>
        <a:defRPr sz="1600" kern="1200">
          <a:solidFill>
            <a:schemeClr val="tx1"/>
          </a:solidFill>
          <a:latin typeface="+mn-lt"/>
          <a:ea typeface="+mn-ea"/>
          <a:cs typeface="+mn-cs"/>
        </a:defRPr>
      </a:lvl8pPr>
      <a:lvl9pPr marL="1512000" indent="-216000" algn="l" defTabSz="914400" rtl="0" eaLnBrk="1" latinLnBrk="0" hangingPunct="1">
        <a:lnSpc>
          <a:spcPct val="100000"/>
        </a:lnSpc>
        <a:spcBef>
          <a:spcPts val="0"/>
        </a:spcBef>
        <a:spcAft>
          <a:spcPts val="600"/>
        </a:spcAft>
        <a:buClr>
          <a:schemeClr val="bg2"/>
        </a:buClr>
        <a:buFont typeface="Arial" panose="020B060402020202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47">
          <p15:clr>
            <a:srgbClr val="F26B43"/>
          </p15:clr>
        </p15:guide>
        <p15:guide id="3" pos="7469">
          <p15:clr>
            <a:srgbClr val="F26B43"/>
          </p15:clr>
        </p15:guide>
        <p15:guide id="4" orient="horz" pos="1026">
          <p15:clr>
            <a:srgbClr val="F26B43"/>
          </p15:clr>
        </p15:guide>
        <p15:guide id="5" orient="horz" pos="845">
          <p15:clr>
            <a:srgbClr val="F26B43"/>
          </p15:clr>
        </p15:guide>
        <p15:guide id="6" orient="horz" pos="346">
          <p15:clr>
            <a:srgbClr val="F26B43"/>
          </p15:clr>
        </p15:guide>
        <p15:guide id="7" orient="horz" pos="392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2.xml"/><Relationship Id="rId5" Type="http://schemas.openxmlformats.org/officeDocument/2006/relationships/hyperlink" Target="https://unsplash.com/de/fotos/sortiertes-munzlos-im-klarglasgefass-0htQSq0TVB0?utm_content=creditCopyText&amp;utm_medium=referral&amp;utm_source=unsplash" TargetMode="External"/><Relationship Id="rId4" Type="http://schemas.openxmlformats.org/officeDocument/2006/relationships/hyperlink" Target="https://unsplash.com/de/@joshappel?utm_content=creditCopyText&amp;utm_medium=referral&amp;utm_source=unsplash" TargetMode="External"/></Relationships>
</file>

<file path=ppt/slides/_rels/slide10.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6.png"/><Relationship Id="rId3" Type="http://schemas.openxmlformats.org/officeDocument/2006/relationships/diagramData" Target="../diagrams/data7.xml"/><Relationship Id="rId7" Type="http://schemas.microsoft.com/office/2007/relationships/diagramDrawing" Target="../diagrams/drawing7.xml"/><Relationship Id="rId12" Type="http://schemas.openxmlformats.org/officeDocument/2006/relationships/image" Target="../media/image8.sv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diagramColors" Target="../diagrams/colors7.xml"/><Relationship Id="rId11" Type="http://schemas.openxmlformats.org/officeDocument/2006/relationships/image" Target="../media/image7.png"/><Relationship Id="rId5" Type="http://schemas.openxmlformats.org/officeDocument/2006/relationships/diagramQuickStyle" Target="../diagrams/quickStyle7.xml"/><Relationship Id="rId10" Type="http://schemas.openxmlformats.org/officeDocument/2006/relationships/slide" Target="slide2.xml"/><Relationship Id="rId4" Type="http://schemas.openxmlformats.org/officeDocument/2006/relationships/diagramLayout" Target="../diagrams/layout7.xml"/><Relationship Id="rId9" Type="http://schemas.openxmlformats.org/officeDocument/2006/relationships/image" Target="../media/image10.svg"/></Relationships>
</file>

<file path=ppt/slides/_rels/slide1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diagramData" Target="../diagrams/data8.xml"/><Relationship Id="rId7" Type="http://schemas.microsoft.com/office/2007/relationships/diagramDrawing" Target="../diagrams/drawing8.xml"/><Relationship Id="rId12"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diagramColors" Target="../diagrams/colors8.xml"/><Relationship Id="rId11" Type="http://schemas.openxmlformats.org/officeDocument/2006/relationships/image" Target="../media/image8.svg"/><Relationship Id="rId5" Type="http://schemas.openxmlformats.org/officeDocument/2006/relationships/diagramQuickStyle" Target="../diagrams/quickStyle8.xml"/><Relationship Id="rId10" Type="http://schemas.openxmlformats.org/officeDocument/2006/relationships/image" Target="../media/image7.png"/><Relationship Id="rId4" Type="http://schemas.openxmlformats.org/officeDocument/2006/relationships/diagramLayout" Target="../diagrams/layout8.xml"/><Relationship Id="rId9" Type="http://schemas.openxmlformats.org/officeDocument/2006/relationships/image" Target="../media/image10.svg"/></Relationships>
</file>

<file path=ppt/slides/_rels/slide12.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6.png"/><Relationship Id="rId3" Type="http://schemas.openxmlformats.org/officeDocument/2006/relationships/diagramData" Target="../diagrams/data9.xml"/><Relationship Id="rId7" Type="http://schemas.microsoft.com/office/2007/relationships/diagramDrawing" Target="../diagrams/drawing9.xml"/><Relationship Id="rId12" Type="http://schemas.openxmlformats.org/officeDocument/2006/relationships/image" Target="../media/image8.sv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diagramColors" Target="../diagrams/colors9.xml"/><Relationship Id="rId11" Type="http://schemas.openxmlformats.org/officeDocument/2006/relationships/image" Target="../media/image7.png"/><Relationship Id="rId5" Type="http://schemas.openxmlformats.org/officeDocument/2006/relationships/diagramQuickStyle" Target="../diagrams/quickStyle9.xml"/><Relationship Id="rId10" Type="http://schemas.openxmlformats.org/officeDocument/2006/relationships/slide" Target="slide2.xml"/><Relationship Id="rId4" Type="http://schemas.openxmlformats.org/officeDocument/2006/relationships/diagramLayout" Target="../diagrams/layout9.xml"/><Relationship Id="rId9" Type="http://schemas.openxmlformats.org/officeDocument/2006/relationships/image" Target="../media/image10.svg"/></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www.deneff.org/" TargetMode="Externa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slide" Target="slide8.xml"/><Relationship Id="rId3" Type="http://schemas.openxmlformats.org/officeDocument/2006/relationships/slide" Target="slide3.xml"/><Relationship Id="rId7" Type="http://schemas.openxmlformats.org/officeDocument/2006/relationships/slide" Target="slide7.xml"/><Relationship Id="rId2" Type="http://schemas.openxmlformats.org/officeDocument/2006/relationships/slide" Target="slide2.xml"/><Relationship Id="rId1" Type="http://schemas.openxmlformats.org/officeDocument/2006/relationships/slideLayout" Target="../slideLayouts/slideLayout3.xml"/><Relationship Id="rId6" Type="http://schemas.openxmlformats.org/officeDocument/2006/relationships/slide" Target="slide6.xml"/><Relationship Id="rId5" Type="http://schemas.openxmlformats.org/officeDocument/2006/relationships/slide" Target="slide5.xml"/><Relationship Id="rId10" Type="http://schemas.openxmlformats.org/officeDocument/2006/relationships/slide" Target="slide12.xml"/><Relationship Id="rId4" Type="http://schemas.openxmlformats.org/officeDocument/2006/relationships/slide" Target="slide4.xml"/><Relationship Id="rId9" Type="http://schemas.openxmlformats.org/officeDocument/2006/relationships/slide" Target="slide11.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image" Target="../media/image6.png"/><Relationship Id="rId3" Type="http://schemas.openxmlformats.org/officeDocument/2006/relationships/image" Target="../media/image7.png"/><Relationship Id="rId7" Type="http://schemas.openxmlformats.org/officeDocument/2006/relationships/slide" Target="slide2.xml"/><Relationship Id="rId12"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10.svg"/><Relationship Id="rId11" Type="http://schemas.openxmlformats.org/officeDocument/2006/relationships/diagramColors" Target="../diagrams/colors1.xml"/><Relationship Id="rId5" Type="http://schemas.openxmlformats.org/officeDocument/2006/relationships/image" Target="../media/image9.png"/><Relationship Id="rId10" Type="http://schemas.openxmlformats.org/officeDocument/2006/relationships/diagramQuickStyle" Target="../diagrams/quickStyle1.xml"/><Relationship Id="rId4" Type="http://schemas.openxmlformats.org/officeDocument/2006/relationships/image" Target="../media/image8.svg"/><Relationship Id="rId9"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hyperlink" Target="https://eur-lex.europa.eu/legal-content/DE/TXT/PDF/?uri=CELEX:32003H0361" TargetMode="External"/><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8.sv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diagramColors" Target="../diagrams/colors2.xml"/><Relationship Id="rId11" Type="http://schemas.openxmlformats.org/officeDocument/2006/relationships/image" Target="../media/image7.png"/><Relationship Id="rId5" Type="http://schemas.openxmlformats.org/officeDocument/2006/relationships/diagramQuickStyle" Target="../diagrams/quickStyle2.xml"/><Relationship Id="rId10" Type="http://schemas.openxmlformats.org/officeDocument/2006/relationships/image" Target="../media/image6.png"/><Relationship Id="rId4" Type="http://schemas.openxmlformats.org/officeDocument/2006/relationships/diagramLayout" Target="../diagrams/layout2.xml"/><Relationship Id="rId9" Type="http://schemas.openxmlformats.org/officeDocument/2006/relationships/image" Target="../media/image10.svg"/></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hyperlink" Target="https://eur-lex.europa.eu/legal-content/DE/TXT/PDF/?uri=CELEX:32003H0361" TargetMode="External"/><Relationship Id="rId3" Type="http://schemas.openxmlformats.org/officeDocument/2006/relationships/diagramData" Target="../diagrams/data3.xml"/><Relationship Id="rId7" Type="http://schemas.microsoft.com/office/2007/relationships/diagramDrawing" Target="../diagrams/drawing3.xml"/><Relationship Id="rId12"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diagramColors" Target="../diagrams/colors3.xml"/><Relationship Id="rId11" Type="http://schemas.openxmlformats.org/officeDocument/2006/relationships/image" Target="../media/image8.svg"/><Relationship Id="rId5" Type="http://schemas.openxmlformats.org/officeDocument/2006/relationships/diagramQuickStyle" Target="../diagrams/quickStyle3.xml"/><Relationship Id="rId10" Type="http://schemas.openxmlformats.org/officeDocument/2006/relationships/image" Target="../media/image7.png"/><Relationship Id="rId4" Type="http://schemas.openxmlformats.org/officeDocument/2006/relationships/diagramLayout" Target="../diagrams/layout3.xml"/><Relationship Id="rId9" Type="http://schemas.openxmlformats.org/officeDocument/2006/relationships/image" Target="../media/image10.svg"/></Relationships>
</file>

<file path=ppt/slides/_rels/slide6.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hyperlink" Target="https://eur-lex.europa.eu/legal-content/DE/TXT/PDF/?uri=CELEX:32003H0361" TargetMode="External"/><Relationship Id="rId3" Type="http://schemas.openxmlformats.org/officeDocument/2006/relationships/diagramData" Target="../diagrams/data4.xml"/><Relationship Id="rId7" Type="http://schemas.microsoft.com/office/2007/relationships/diagramDrawing" Target="../diagrams/drawing4.xml"/><Relationship Id="rId12"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diagramColors" Target="../diagrams/colors4.xml"/><Relationship Id="rId11" Type="http://schemas.openxmlformats.org/officeDocument/2006/relationships/image" Target="../media/image8.svg"/><Relationship Id="rId5" Type="http://schemas.openxmlformats.org/officeDocument/2006/relationships/diagramQuickStyle" Target="../diagrams/quickStyle4.xml"/><Relationship Id="rId10" Type="http://schemas.openxmlformats.org/officeDocument/2006/relationships/image" Target="../media/image7.png"/><Relationship Id="rId4" Type="http://schemas.openxmlformats.org/officeDocument/2006/relationships/diagramLayout" Target="../diagrams/layout4.xml"/><Relationship Id="rId9" Type="http://schemas.openxmlformats.org/officeDocument/2006/relationships/image" Target="../media/image10.svg"/></Relationships>
</file>

<file path=ppt/slides/_rels/slide7.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hyperlink" Target="https://www.bafa.de/DE/Energie/Energieeffizienz/Energieeffizienz_und_Prozesswaerme/Modul4_Energiebezogene_Optimierung_Basisfoerderung/modul4_energiebezogene_optimierung_basisfoerderung_node.html" TargetMode="External"/><Relationship Id="rId7"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hyperlink" Target="https://eur-lex.europa.eu/legal-content/DE/TXT/PDF/?uri=CELEX:32003H0361" TargetMode="External"/><Relationship Id="rId4" Type="http://schemas.openxmlformats.org/officeDocument/2006/relationships/hyperlink" Target="https://www.bafa.de/DE/Energie/Energieeffizienz/Energieeffizienz_und_Prozesswaerme/Modul4_Energiebezogene_Optimierung_Premiumfoerderung/modul4_energiebezogene_optimierung_premiumfoerderung.html" TargetMode="External"/><Relationship Id="rId9" Type="http://schemas.openxmlformats.org/officeDocument/2006/relationships/image" Target="../media/image6.png"/></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hyperlink" Target="https://eur-lex.europa.eu/legal-content/DE/TXT/PDF/?uri=CELEX:32003H0361" TargetMode="External"/><Relationship Id="rId3" Type="http://schemas.openxmlformats.org/officeDocument/2006/relationships/diagramData" Target="../diagrams/data5.xml"/><Relationship Id="rId7" Type="http://schemas.microsoft.com/office/2007/relationships/diagramDrawing" Target="../diagrams/drawing5.xml"/><Relationship Id="rId12"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diagramColors" Target="../diagrams/colors5.xml"/><Relationship Id="rId11" Type="http://schemas.openxmlformats.org/officeDocument/2006/relationships/image" Target="../media/image8.svg"/><Relationship Id="rId5" Type="http://schemas.openxmlformats.org/officeDocument/2006/relationships/diagramQuickStyle" Target="../diagrams/quickStyle5.xml"/><Relationship Id="rId10" Type="http://schemas.openxmlformats.org/officeDocument/2006/relationships/image" Target="../media/image7.png"/><Relationship Id="rId4" Type="http://schemas.openxmlformats.org/officeDocument/2006/relationships/diagramLayout" Target="../diagrams/layout5.xml"/><Relationship Id="rId9" Type="http://schemas.openxmlformats.org/officeDocument/2006/relationships/image" Target="../media/image10.svg"/></Relationships>
</file>

<file path=ppt/slides/_rels/slide9.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hyperlink" Target="https://eur-lex.europa.eu/legal-content/DE/TXT/PDF/?uri=CELEX:32003H0361" TargetMode="External"/><Relationship Id="rId3" Type="http://schemas.openxmlformats.org/officeDocument/2006/relationships/diagramData" Target="../diagrams/data6.xml"/><Relationship Id="rId7" Type="http://schemas.microsoft.com/office/2007/relationships/diagramDrawing" Target="../diagrams/drawing6.xml"/><Relationship Id="rId12"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diagramColors" Target="../diagrams/colors6.xml"/><Relationship Id="rId11" Type="http://schemas.openxmlformats.org/officeDocument/2006/relationships/image" Target="../media/image8.svg"/><Relationship Id="rId5" Type="http://schemas.openxmlformats.org/officeDocument/2006/relationships/diagramQuickStyle" Target="../diagrams/quickStyle6.xml"/><Relationship Id="rId10" Type="http://schemas.openxmlformats.org/officeDocument/2006/relationships/image" Target="../media/image7.png"/><Relationship Id="rId4" Type="http://schemas.openxmlformats.org/officeDocument/2006/relationships/diagramLayout" Target="../diagrams/layout6.xml"/><Relationship Id="rId9" Type="http://schemas.openxmlformats.org/officeDocument/2006/relationships/image" Target="../media/image1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platzhalter 10">
            <a:extLst>
              <a:ext uri="{FF2B5EF4-FFF2-40B4-BE49-F238E27FC236}">
                <a16:creationId xmlns:a16="http://schemas.microsoft.com/office/drawing/2014/main" id="{D26345C0-216B-45B5-9C9F-60952E6E56FA}"/>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t="8927" b="8927"/>
          <a:stretch/>
        </p:blipFill>
        <p:spPr/>
      </p:pic>
      <p:sp>
        <p:nvSpPr>
          <p:cNvPr id="3" name="Titel 2">
            <a:extLst>
              <a:ext uri="{FF2B5EF4-FFF2-40B4-BE49-F238E27FC236}">
                <a16:creationId xmlns:a16="http://schemas.microsoft.com/office/drawing/2014/main" id="{4ED128CF-244F-4B17-94C9-83C4288CE3D1}"/>
              </a:ext>
            </a:extLst>
          </p:cNvPr>
          <p:cNvSpPr>
            <a:spLocks noGrp="1"/>
          </p:cNvSpPr>
          <p:nvPr>
            <p:ph type="ctrTitle"/>
          </p:nvPr>
        </p:nvSpPr>
        <p:spPr>
          <a:xfrm>
            <a:off x="983432" y="2852936"/>
            <a:ext cx="6336704" cy="2880264"/>
          </a:xfrm>
        </p:spPr>
        <p:txBody>
          <a:bodyPr/>
          <a:lstStyle/>
          <a:p>
            <a:r>
              <a:rPr lang="de-DE" dirty="0"/>
              <a:t>Energieeffizienz: Übersicht über die Förderprogramme des Bundes</a:t>
            </a:r>
            <a:endParaRPr lang="en-GB" dirty="0"/>
          </a:p>
        </p:txBody>
      </p:sp>
      <p:sp>
        <p:nvSpPr>
          <p:cNvPr id="5" name="Textplatzhalter 4">
            <a:extLst>
              <a:ext uri="{FF2B5EF4-FFF2-40B4-BE49-F238E27FC236}">
                <a16:creationId xmlns:a16="http://schemas.microsoft.com/office/drawing/2014/main" id="{33C8CF32-7599-495D-8E59-900CF767924C}"/>
              </a:ext>
            </a:extLst>
          </p:cNvPr>
          <p:cNvSpPr>
            <a:spLocks noGrp="1"/>
          </p:cNvSpPr>
          <p:nvPr>
            <p:ph type="body" sz="quarter" idx="10"/>
          </p:nvPr>
        </p:nvSpPr>
        <p:spPr/>
        <p:txBody>
          <a:bodyPr/>
          <a:lstStyle/>
          <a:p>
            <a:r>
              <a:rPr lang="de-DE" dirty="0"/>
              <a:t>Berlin | März 2026</a:t>
            </a:r>
            <a:endParaRPr lang="en-GB" dirty="0"/>
          </a:p>
        </p:txBody>
      </p:sp>
      <p:pic>
        <p:nvPicPr>
          <p:cNvPr id="4" name="Grafik 3">
            <a:extLst>
              <a:ext uri="{FF2B5EF4-FFF2-40B4-BE49-F238E27FC236}">
                <a16:creationId xmlns:a16="http://schemas.microsoft.com/office/drawing/2014/main" id="{B47597FB-5B29-979B-7E36-228EF13512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56097" y="548681"/>
            <a:ext cx="1341781" cy="779099"/>
          </a:xfrm>
          <a:prstGeom prst="rect">
            <a:avLst/>
          </a:prstGeom>
        </p:spPr>
      </p:pic>
      <p:sp>
        <p:nvSpPr>
          <p:cNvPr id="13" name="Rectangle 5">
            <a:extLst>
              <a:ext uri="{FF2B5EF4-FFF2-40B4-BE49-F238E27FC236}">
                <a16:creationId xmlns:a16="http://schemas.microsoft.com/office/drawing/2014/main" id="{8B208BD4-70B1-3A74-25F2-08DDA5A3C8D7}"/>
              </a:ext>
            </a:extLst>
          </p:cNvPr>
          <p:cNvSpPr>
            <a:spLocks noChangeArrowheads="1"/>
          </p:cNvSpPr>
          <p:nvPr/>
        </p:nvSpPr>
        <p:spPr bwMode="auto">
          <a:xfrm rot="10800000" flipV="1">
            <a:off x="8868308" y="6207268"/>
            <a:ext cx="237626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a:ln>
                  <a:noFill/>
                </a:ln>
                <a:solidFill>
                  <a:schemeClr val="tx1"/>
                </a:solidFill>
                <a:effectLst/>
                <a:latin typeface="+mj-lt"/>
              </a:rPr>
              <a:t>Foto von </a:t>
            </a:r>
            <a:r>
              <a:rPr kumimoji="0" lang="de-DE" altLang="de-DE" sz="1000" b="0" i="0" u="none" strike="noStrike" cap="none" normalizeH="0" baseline="0">
                <a:ln>
                  <a:noFill/>
                </a:ln>
                <a:solidFill>
                  <a:schemeClr val="tx1"/>
                </a:solidFill>
                <a:effectLst/>
                <a:latin typeface="+mj-lt"/>
                <a:hlinkClick r:id="rId4"/>
              </a:rPr>
              <a:t>Josh Appel</a:t>
            </a:r>
            <a:r>
              <a:rPr kumimoji="0" lang="de-DE" altLang="de-DE" sz="1000" b="0" i="0" u="none" strike="noStrike" cap="none" normalizeH="0" baseline="0">
                <a:ln>
                  <a:noFill/>
                </a:ln>
                <a:solidFill>
                  <a:schemeClr val="tx1"/>
                </a:solidFill>
                <a:effectLst/>
                <a:latin typeface="+mj-lt"/>
              </a:rPr>
              <a:t> auf </a:t>
            </a:r>
            <a:r>
              <a:rPr kumimoji="0" lang="de-DE" altLang="de-DE" sz="1000" b="0" i="0" u="none" strike="noStrike" cap="none" normalizeH="0" baseline="0" err="1">
                <a:ln>
                  <a:noFill/>
                </a:ln>
                <a:solidFill>
                  <a:schemeClr val="tx1"/>
                </a:solidFill>
                <a:effectLst/>
                <a:latin typeface="+mj-lt"/>
                <a:hlinkClick r:id="rId5"/>
              </a:rPr>
              <a:t>Unsplash</a:t>
            </a:r>
            <a:r>
              <a:rPr kumimoji="0" lang="de-DE" altLang="de-DE" sz="1000" b="0" i="0" u="none" strike="noStrike" cap="none" normalizeH="0" baseline="0">
                <a:ln>
                  <a:noFill/>
                </a:ln>
                <a:solidFill>
                  <a:schemeClr val="tx1"/>
                </a:solidFill>
                <a:effectLst/>
                <a:latin typeface="+mj-lt"/>
              </a:rPr>
              <a:t> </a:t>
            </a:r>
          </a:p>
        </p:txBody>
      </p:sp>
      <p:sp>
        <p:nvSpPr>
          <p:cNvPr id="2" name="Textplatzhalter 4">
            <a:extLst>
              <a:ext uri="{FF2B5EF4-FFF2-40B4-BE49-F238E27FC236}">
                <a16:creationId xmlns:a16="http://schemas.microsoft.com/office/drawing/2014/main" id="{5863DC1C-1768-33A0-AD5E-3E684008E5DE}"/>
              </a:ext>
            </a:extLst>
          </p:cNvPr>
          <p:cNvSpPr txBox="1">
            <a:spLocks/>
          </p:cNvSpPr>
          <p:nvPr/>
        </p:nvSpPr>
        <p:spPr bwMode="gray">
          <a:xfrm>
            <a:off x="983432" y="5445256"/>
            <a:ext cx="5472000" cy="360000"/>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0"/>
              </a:spcAft>
              <a:buFontTx/>
              <a:buNone/>
              <a:defRPr sz="1600" b="0"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0"/>
              </a:spcAft>
              <a:buFontTx/>
              <a:buNone/>
              <a:defRPr sz="1600" b="0" kern="1200">
                <a:solidFill>
                  <a:schemeClr val="tx1"/>
                </a:solidFill>
                <a:latin typeface="+mn-lt"/>
                <a:ea typeface="+mn-ea"/>
                <a:cs typeface="+mn-cs"/>
              </a:defRPr>
            </a:lvl2pPr>
            <a:lvl3pPr marL="0" indent="0" algn="l" defTabSz="914400" rtl="0" eaLnBrk="1" latinLnBrk="0" hangingPunct="1">
              <a:lnSpc>
                <a:spcPct val="100000"/>
              </a:lnSpc>
              <a:spcBef>
                <a:spcPts val="0"/>
              </a:spcBef>
              <a:spcAft>
                <a:spcPts val="0"/>
              </a:spcAft>
              <a:buClr>
                <a:schemeClr val="bg2"/>
              </a:buClr>
              <a:buFontTx/>
              <a:buNone/>
              <a:defRPr sz="1600" b="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0"/>
              </a:spcAft>
              <a:buClr>
                <a:schemeClr val="bg2"/>
              </a:buClr>
              <a:buFontTx/>
              <a:buNone/>
              <a:defRPr sz="1600" b="0"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0"/>
              </a:spcAft>
              <a:buClr>
                <a:schemeClr val="bg2"/>
              </a:buClr>
              <a:buFontTx/>
              <a:buNone/>
              <a:defRPr sz="1600" b="0" kern="120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Clr>
                <a:schemeClr val="bg2"/>
              </a:buClr>
              <a:buFontTx/>
              <a:buNone/>
              <a:defRPr sz="1600" b="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0"/>
              </a:spcAft>
              <a:buClr>
                <a:schemeClr val="bg2"/>
              </a:buClr>
              <a:buFontTx/>
              <a:buNone/>
              <a:defRPr sz="1600" b="0" kern="1200">
                <a:solidFill>
                  <a:schemeClr val="tx1"/>
                </a:solidFill>
                <a:latin typeface="+mn-lt"/>
                <a:ea typeface="+mn-ea"/>
                <a:cs typeface="+mn-cs"/>
              </a:defRPr>
            </a:lvl7pPr>
            <a:lvl8pPr marL="0" indent="0" algn="l" defTabSz="914400" rtl="0" eaLnBrk="1" latinLnBrk="0" hangingPunct="1">
              <a:lnSpc>
                <a:spcPct val="100000"/>
              </a:lnSpc>
              <a:spcBef>
                <a:spcPts val="0"/>
              </a:spcBef>
              <a:spcAft>
                <a:spcPts val="0"/>
              </a:spcAft>
              <a:buClr>
                <a:schemeClr val="bg2"/>
              </a:buClr>
              <a:buFontTx/>
              <a:buNone/>
              <a:defRPr sz="1600" b="0" kern="1200">
                <a:solidFill>
                  <a:schemeClr val="tx1"/>
                </a:solidFill>
                <a:latin typeface="+mn-lt"/>
                <a:ea typeface="+mn-ea"/>
                <a:cs typeface="+mn-cs"/>
              </a:defRPr>
            </a:lvl8pPr>
            <a:lvl9pPr marL="0" indent="0" algn="l" defTabSz="914400" rtl="0" eaLnBrk="1" latinLnBrk="0" hangingPunct="1">
              <a:lnSpc>
                <a:spcPct val="100000"/>
              </a:lnSpc>
              <a:spcBef>
                <a:spcPts val="0"/>
              </a:spcBef>
              <a:spcAft>
                <a:spcPts val="0"/>
              </a:spcAft>
              <a:buClr>
                <a:schemeClr val="bg2"/>
              </a:buClr>
              <a:buFontTx/>
              <a:buNone/>
              <a:defRPr sz="1600" b="0" kern="1200">
                <a:solidFill>
                  <a:schemeClr val="tx1"/>
                </a:solidFill>
                <a:latin typeface="+mn-lt"/>
                <a:ea typeface="+mn-ea"/>
                <a:cs typeface="+mn-cs"/>
              </a:defRPr>
            </a:lvl9pPr>
          </a:lstStyle>
          <a:p>
            <a:r>
              <a:rPr lang="de-DE" b="1" dirty="0"/>
              <a:t>Aktualisierung der Industrie-relevanten Programme</a:t>
            </a:r>
            <a:endParaRPr lang="en-GB" b="1" dirty="0"/>
          </a:p>
        </p:txBody>
      </p:sp>
    </p:spTree>
    <p:extLst>
      <p:ext uri="{BB962C8B-B14F-4D97-AF65-F5344CB8AC3E}">
        <p14:creationId xmlns:p14="http://schemas.microsoft.com/office/powerpoint/2010/main" val="7425778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92885E-3D97-45EE-8081-154E4201EA01}"/>
              </a:ext>
            </a:extLst>
          </p:cNvPr>
          <p:cNvSpPr>
            <a:spLocks noGrp="1"/>
          </p:cNvSpPr>
          <p:nvPr>
            <p:ph type="title"/>
          </p:nvPr>
        </p:nvSpPr>
        <p:spPr/>
        <p:txBody>
          <a:bodyPr/>
          <a:lstStyle/>
          <a:p>
            <a:r>
              <a:rPr lang="de-DE"/>
              <a:t>BMWE-Förderwettbewerb Energie und Ressourceneffizienz (EEW)</a:t>
            </a:r>
            <a:endParaRPr lang="en-GB"/>
          </a:p>
        </p:txBody>
      </p:sp>
      <p:graphicFrame>
        <p:nvGraphicFramePr>
          <p:cNvPr id="8" name="Inhaltsplatzhalter 7">
            <a:hlinkClick r:id="" action="ppaction://noaction" highlightClick="1"/>
            <a:extLst>
              <a:ext uri="{FF2B5EF4-FFF2-40B4-BE49-F238E27FC236}">
                <a16:creationId xmlns:a16="http://schemas.microsoft.com/office/drawing/2014/main" id="{A436C903-3416-4159-9C9C-162FE01CA096}"/>
              </a:ext>
            </a:extLst>
          </p:cNvPr>
          <p:cNvGraphicFramePr>
            <a:graphicFrameLocks noGrp="1"/>
          </p:cNvGraphicFramePr>
          <p:nvPr>
            <p:ph idx="1"/>
          </p:nvPr>
        </p:nvGraphicFramePr>
        <p:xfrm>
          <a:off x="547360" y="2168737"/>
          <a:ext cx="11309680" cy="40685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Foliennummernplatzhalter 4">
            <a:extLst>
              <a:ext uri="{FF2B5EF4-FFF2-40B4-BE49-F238E27FC236}">
                <a16:creationId xmlns:a16="http://schemas.microsoft.com/office/drawing/2014/main" id="{956B46B6-DB94-4332-977B-B2D3BB8D6063}"/>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6A2A10-B827-4CCE-9EB2-A13B5A721707}" type="slidenum">
              <a:rPr kumimoji="0" lang="de-DE" sz="10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de-DE" sz="1000" b="0" i="0" u="none" strike="noStrike" kern="1200" cap="none" spc="0" normalizeH="0" baseline="0" noProof="0">
              <a:ln>
                <a:noFill/>
              </a:ln>
              <a:solidFill>
                <a:prstClr val="black"/>
              </a:solidFill>
              <a:effectLst/>
              <a:uLnTx/>
              <a:uFillTx/>
              <a:latin typeface="Segoe UI"/>
              <a:ea typeface="+mn-ea"/>
              <a:cs typeface="+mn-cs"/>
            </a:endParaRPr>
          </a:p>
        </p:txBody>
      </p:sp>
      <p:sp>
        <p:nvSpPr>
          <p:cNvPr id="15" name="Rechteck: abgerundete Ecken 14">
            <a:extLst>
              <a:ext uri="{FF2B5EF4-FFF2-40B4-BE49-F238E27FC236}">
                <a16:creationId xmlns:a16="http://schemas.microsoft.com/office/drawing/2014/main" id="{E251C655-D0ED-4A17-AFC8-9A676441433F}"/>
              </a:ext>
            </a:extLst>
          </p:cNvPr>
          <p:cNvSpPr/>
          <p:nvPr/>
        </p:nvSpPr>
        <p:spPr bwMode="gray">
          <a:xfrm>
            <a:off x="623392" y="1700809"/>
            <a:ext cx="3096344" cy="372194"/>
          </a:xfrm>
          <a:prstGeom prst="roundRect">
            <a:avLst>
              <a:gd name="adj" fmla="val 19599"/>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 </a:t>
            </a:r>
            <a:r>
              <a:rPr kumimoji="0" lang="de-DE" sz="1800" b="1"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rPr>
              <a:t>C.Noll</a:t>
            </a:r>
            <a:endParaRPr kumimoji="0" lang="de-DE" sz="18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nvGrpSpPr>
          <p:cNvPr id="16" name="Gruppieren 15">
            <a:extLst>
              <a:ext uri="{FF2B5EF4-FFF2-40B4-BE49-F238E27FC236}">
                <a16:creationId xmlns:a16="http://schemas.microsoft.com/office/drawing/2014/main" id="{D290039D-AD81-428B-AB88-801BB15DE96C}"/>
              </a:ext>
            </a:extLst>
          </p:cNvPr>
          <p:cNvGrpSpPr/>
          <p:nvPr/>
        </p:nvGrpSpPr>
        <p:grpSpPr>
          <a:xfrm>
            <a:off x="547359" y="1628775"/>
            <a:ext cx="504056" cy="504056"/>
            <a:chOff x="2208090" y="3644203"/>
            <a:chExt cx="504056" cy="504056"/>
          </a:xfrm>
        </p:grpSpPr>
        <p:sp>
          <p:nvSpPr>
            <p:cNvPr id="17" name="Ellipse 16">
              <a:extLst>
                <a:ext uri="{FF2B5EF4-FFF2-40B4-BE49-F238E27FC236}">
                  <a16:creationId xmlns:a16="http://schemas.microsoft.com/office/drawing/2014/main" id="{8BE80A81-6B9A-4C8F-91B3-FD817ABDF367}"/>
                </a:ext>
              </a:extLst>
            </p:cNvPr>
            <p:cNvSpPr/>
            <p:nvPr/>
          </p:nvSpPr>
          <p:spPr>
            <a:xfrm>
              <a:off x="2208090" y="3644203"/>
              <a:ext cx="504056" cy="504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8" name="Grafik 17" descr="Held männlich mit einfarbiger Füllung">
              <a:extLst>
                <a:ext uri="{FF2B5EF4-FFF2-40B4-BE49-F238E27FC236}">
                  <a16:creationId xmlns:a16="http://schemas.microsoft.com/office/drawing/2014/main" id="{15515342-63C0-435C-97D4-64F95D1902D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280098" y="3724140"/>
              <a:ext cx="345800" cy="345800"/>
            </a:xfrm>
            <a:prstGeom prst="rect">
              <a:avLst/>
            </a:prstGeom>
          </p:spPr>
        </p:pic>
      </p:grpSp>
      <p:cxnSp>
        <p:nvCxnSpPr>
          <p:cNvPr id="19" name="Gerader Verbinder 18">
            <a:extLst>
              <a:ext uri="{FF2B5EF4-FFF2-40B4-BE49-F238E27FC236}">
                <a16:creationId xmlns:a16="http://schemas.microsoft.com/office/drawing/2014/main" id="{4C32347F-3977-47FD-8189-AE49A44DA932}"/>
              </a:ext>
            </a:extLst>
          </p:cNvPr>
          <p:cNvCxnSpPr>
            <a:cxnSpLocks/>
          </p:cNvCxnSpPr>
          <p:nvPr/>
        </p:nvCxnSpPr>
        <p:spPr>
          <a:xfrm>
            <a:off x="0" y="404664"/>
            <a:ext cx="407368"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982BB180-EFC3-4ADD-A169-DB5E93678ADE}"/>
              </a:ext>
            </a:extLst>
          </p:cNvPr>
          <p:cNvSpPr txBox="1"/>
          <p:nvPr/>
        </p:nvSpPr>
        <p:spPr>
          <a:xfrm>
            <a:off x="568375" y="310364"/>
            <a:ext cx="914400" cy="284908"/>
          </a:xfrm>
          <a:prstGeom prst="rect">
            <a:avLst/>
          </a:prstGeom>
          <a:noFill/>
        </p:spPr>
        <p:txBody>
          <a:bodyPr wrap="none" lIns="0" tIns="0" rIns="0" bIns="0" rtlCol="0" anchor="t">
            <a:noAutofit/>
          </a:bodyPr>
          <a:lstStyle/>
          <a:p>
            <a:pPr marL="0" marR="0" lvl="0" indent="0" algn="l" defTabSz="914400" rtl="0" eaLnBrk="1" fontAlgn="auto" latinLnBrk="0" hangingPunct="1">
              <a:lnSpc>
                <a:spcPct val="100000"/>
              </a:lnSpc>
              <a:spcBef>
                <a:spcPts val="0"/>
              </a:spcBef>
              <a:spcAft>
                <a:spcPts val="0"/>
              </a:spcAft>
              <a:buClr>
                <a:srgbClr val="008795"/>
              </a:buClr>
              <a:buSzTx/>
              <a:buFontTx/>
              <a:buNone/>
              <a:tabLst/>
              <a:defRPr/>
            </a:pPr>
            <a:r>
              <a:rPr kumimoji="0" lang="de-DE" sz="1000" b="0" i="0" u="none" strike="noStrike" kern="1200" cap="none" spc="0" normalizeH="0" baseline="0" noProof="0">
                <a:ln>
                  <a:noFill/>
                </a:ln>
                <a:solidFill>
                  <a:prstClr val="black"/>
                </a:solidFill>
                <a:effectLst/>
                <a:uLnTx/>
                <a:uFillTx/>
                <a:latin typeface="Segoe UI"/>
                <a:ea typeface="+mn-ea"/>
                <a:cs typeface="+mn-cs"/>
                <a:hlinkClick r:id="rId10" action="ppaction://hlinksldjump">
                  <a:extLst>
                    <a:ext uri="{A12FA001-AC4F-418D-AE19-62706E023703}">
                      <ahyp:hlinkClr xmlns:ahyp="http://schemas.microsoft.com/office/drawing/2018/hyperlinkcolor" val="tx"/>
                    </a:ext>
                  </a:extLst>
                </a:hlinkClick>
              </a:rPr>
              <a:t>Industrie &amp; Gewerbe</a:t>
            </a:r>
            <a:endParaRPr kumimoji="0" lang="en-GB" sz="1000" b="0" i="0" u="none" strike="noStrike" kern="1200" cap="none" spc="0" normalizeH="0" baseline="0" noProof="0" err="1">
              <a:ln>
                <a:noFill/>
              </a:ln>
              <a:solidFill>
                <a:prstClr val="black"/>
              </a:solidFill>
              <a:effectLst/>
              <a:uLnTx/>
              <a:uFillTx/>
              <a:latin typeface="Segoe UI"/>
              <a:ea typeface="+mn-ea"/>
              <a:cs typeface="+mn-cs"/>
            </a:endParaRPr>
          </a:p>
        </p:txBody>
      </p:sp>
      <p:sp>
        <p:nvSpPr>
          <p:cNvPr id="21" name="Rechteck: abgerundete Ecken 20">
            <a:extLst>
              <a:ext uri="{FF2B5EF4-FFF2-40B4-BE49-F238E27FC236}">
                <a16:creationId xmlns:a16="http://schemas.microsoft.com/office/drawing/2014/main" id="{7AF18943-B257-4344-80CE-26DC9546AA51}"/>
              </a:ext>
            </a:extLst>
          </p:cNvPr>
          <p:cNvSpPr/>
          <p:nvPr/>
        </p:nvSpPr>
        <p:spPr bwMode="gray">
          <a:xfrm>
            <a:off x="3874331" y="1700809"/>
            <a:ext cx="7977299" cy="372194"/>
          </a:xfrm>
          <a:prstGeom prst="roundRect">
            <a:avLst>
              <a:gd name="adj" fmla="val 19599"/>
            </a:avLst>
          </a:prstGeom>
          <a:solidFill>
            <a:srgbClr val="D94291"/>
          </a:solidFill>
          <a:ln w="2540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Zuschuss</a:t>
            </a:r>
          </a:p>
        </p:txBody>
      </p:sp>
      <p:grpSp>
        <p:nvGrpSpPr>
          <p:cNvPr id="12" name="Gruppieren 11">
            <a:extLst>
              <a:ext uri="{FF2B5EF4-FFF2-40B4-BE49-F238E27FC236}">
                <a16:creationId xmlns:a16="http://schemas.microsoft.com/office/drawing/2014/main" id="{6F20FC64-4C77-4F39-B834-757526CF3E26}"/>
              </a:ext>
            </a:extLst>
          </p:cNvPr>
          <p:cNvGrpSpPr/>
          <p:nvPr/>
        </p:nvGrpSpPr>
        <p:grpSpPr>
          <a:xfrm>
            <a:off x="3795769" y="1625525"/>
            <a:ext cx="504056" cy="504056"/>
            <a:chOff x="2246051" y="5974"/>
            <a:chExt cx="504056" cy="504056"/>
          </a:xfrm>
        </p:grpSpPr>
        <p:sp>
          <p:nvSpPr>
            <p:cNvPr id="13" name="Ellipse 12">
              <a:extLst>
                <a:ext uri="{FF2B5EF4-FFF2-40B4-BE49-F238E27FC236}">
                  <a16:creationId xmlns:a16="http://schemas.microsoft.com/office/drawing/2014/main" id="{1D0A46DF-5AAD-476E-A7CC-581D587D7267}"/>
                </a:ext>
              </a:extLst>
            </p:cNvPr>
            <p:cNvSpPr/>
            <p:nvPr/>
          </p:nvSpPr>
          <p:spPr>
            <a:xfrm>
              <a:off x="2246051" y="5974"/>
              <a:ext cx="504056" cy="504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4" name="Grafik 13" descr="Geld mit einfarbiger Füllung">
              <a:extLst>
                <a:ext uri="{FF2B5EF4-FFF2-40B4-BE49-F238E27FC236}">
                  <a16:creationId xmlns:a16="http://schemas.microsoft.com/office/drawing/2014/main" id="{5BA272F9-4A80-4CE0-BF06-ED0EBC7520D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324613" y="62894"/>
              <a:ext cx="353486" cy="353486"/>
            </a:xfrm>
            <a:prstGeom prst="rect">
              <a:avLst/>
            </a:prstGeom>
          </p:spPr>
        </p:pic>
      </p:grpSp>
      <p:sp>
        <p:nvSpPr>
          <p:cNvPr id="3" name="Fußzeilenplatzhalter 3">
            <a:extLst>
              <a:ext uri="{FF2B5EF4-FFF2-40B4-BE49-F238E27FC236}">
                <a16:creationId xmlns:a16="http://schemas.microsoft.com/office/drawing/2014/main" id="{4047CA0F-72BF-CF26-2007-CEF467DF858A}"/>
              </a:ext>
            </a:extLst>
          </p:cNvPr>
          <p:cNvSpPr>
            <a:spLocks noGrp="1"/>
          </p:cNvSpPr>
          <p:nvPr>
            <p:ph type="ftr" sz="quarter" idx="11"/>
          </p:nvPr>
        </p:nvSpPr>
        <p:spPr>
          <a:xfrm>
            <a:off x="2279576" y="6373552"/>
            <a:ext cx="9216000" cy="3678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Segoe UI"/>
                <a:ea typeface="+mn-ea"/>
                <a:cs typeface="+mn-cs"/>
              </a:rPr>
              <a:t>DISCLAIMER: Die Informationen in dieser Förderübersicht werden ständig geprüft und aktualisiert. Trotz aller Sorgfalt können sich Angaben inzwischen geändert haben. Eine Haftung oder Garantie für die Aktualität, Richtigkeit und Vollständigkeit der zur Verfügung gestellten Informationen kann deshalb nicht übernommen werden. Die Deutsche Unternehmensinitiative Energieeffizienz e. V. (DENEFF) übernimmt keine Haftung für Informationen auf Webseiten Dritter, die per Link mit dieser Präsentation verbunden sind</a:t>
            </a:r>
          </a:p>
        </p:txBody>
      </p:sp>
      <p:pic>
        <p:nvPicPr>
          <p:cNvPr id="6" name="Grafik 5">
            <a:extLst>
              <a:ext uri="{FF2B5EF4-FFF2-40B4-BE49-F238E27FC236}">
                <a16:creationId xmlns:a16="http://schemas.microsoft.com/office/drawing/2014/main" id="{C680E726-B603-A195-13D3-98C71C452FD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466359" y="6408284"/>
            <a:ext cx="525185" cy="304946"/>
          </a:xfrm>
          <a:prstGeom prst="rect">
            <a:avLst/>
          </a:prstGeom>
        </p:spPr>
      </p:pic>
    </p:spTree>
    <p:extLst>
      <p:ext uri="{BB962C8B-B14F-4D97-AF65-F5344CB8AC3E}">
        <p14:creationId xmlns:p14="http://schemas.microsoft.com/office/powerpoint/2010/main" val="2204415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92885E-3D97-45EE-8081-154E4201EA01}"/>
              </a:ext>
            </a:extLst>
          </p:cNvPr>
          <p:cNvSpPr>
            <a:spLocks noGrp="1"/>
          </p:cNvSpPr>
          <p:nvPr>
            <p:ph type="title"/>
          </p:nvPr>
        </p:nvSpPr>
        <p:spPr/>
        <p:txBody>
          <a:bodyPr/>
          <a:lstStyle/>
          <a:p>
            <a:r>
              <a:rPr lang="de-DE"/>
              <a:t>Bundesförderung Industrie und Klimaschutz (BIK) – Förderung zur Dekarbonisierung der Industrie (Modul 1)</a:t>
            </a:r>
            <a:endParaRPr lang="en-GB"/>
          </a:p>
        </p:txBody>
      </p:sp>
      <p:graphicFrame>
        <p:nvGraphicFramePr>
          <p:cNvPr id="8" name="Inhaltsplatzhalter 7">
            <a:hlinkClick r:id="" action="ppaction://noaction" highlightClick="1"/>
            <a:extLst>
              <a:ext uri="{FF2B5EF4-FFF2-40B4-BE49-F238E27FC236}">
                <a16:creationId xmlns:a16="http://schemas.microsoft.com/office/drawing/2014/main" id="{A436C903-3416-4159-9C9C-162FE01CA096}"/>
              </a:ext>
            </a:extLst>
          </p:cNvPr>
          <p:cNvGraphicFramePr>
            <a:graphicFrameLocks noGrp="1"/>
          </p:cNvGraphicFramePr>
          <p:nvPr>
            <p:ph idx="1"/>
          </p:nvPr>
        </p:nvGraphicFramePr>
        <p:xfrm>
          <a:off x="547360" y="2168737"/>
          <a:ext cx="11309680" cy="40685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Foliennummernplatzhalter 4">
            <a:extLst>
              <a:ext uri="{FF2B5EF4-FFF2-40B4-BE49-F238E27FC236}">
                <a16:creationId xmlns:a16="http://schemas.microsoft.com/office/drawing/2014/main" id="{956B46B6-DB94-4332-977B-B2D3BB8D6063}"/>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6A2A10-B827-4CCE-9EB2-A13B5A721707}" type="slidenum">
              <a:rPr kumimoji="0" lang="de-DE" sz="10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de-DE" sz="1000" b="0" i="0" u="none" strike="noStrike" kern="1200" cap="none" spc="0" normalizeH="0" baseline="0" noProof="0">
              <a:ln>
                <a:noFill/>
              </a:ln>
              <a:solidFill>
                <a:prstClr val="black"/>
              </a:solidFill>
              <a:effectLst/>
              <a:uLnTx/>
              <a:uFillTx/>
              <a:latin typeface="Segoe UI"/>
              <a:ea typeface="+mn-ea"/>
              <a:cs typeface="+mn-cs"/>
            </a:endParaRPr>
          </a:p>
        </p:txBody>
      </p:sp>
      <p:sp>
        <p:nvSpPr>
          <p:cNvPr id="15" name="Rechteck: abgerundete Ecken 14">
            <a:extLst>
              <a:ext uri="{FF2B5EF4-FFF2-40B4-BE49-F238E27FC236}">
                <a16:creationId xmlns:a16="http://schemas.microsoft.com/office/drawing/2014/main" id="{E251C655-D0ED-4A17-AFC8-9A676441433F}"/>
              </a:ext>
            </a:extLst>
          </p:cNvPr>
          <p:cNvSpPr/>
          <p:nvPr/>
        </p:nvSpPr>
        <p:spPr bwMode="gray">
          <a:xfrm>
            <a:off x="623392" y="1700809"/>
            <a:ext cx="3096344" cy="372194"/>
          </a:xfrm>
          <a:prstGeom prst="roundRect">
            <a:avLst>
              <a:gd name="adj" fmla="val 19599"/>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 </a:t>
            </a:r>
            <a:r>
              <a:rPr kumimoji="0" lang="de-DE" sz="1800" b="1"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rPr>
              <a:t>C.Noll</a:t>
            </a:r>
            <a:endParaRPr kumimoji="0" lang="de-DE" sz="18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nvGrpSpPr>
          <p:cNvPr id="16" name="Gruppieren 15">
            <a:extLst>
              <a:ext uri="{FF2B5EF4-FFF2-40B4-BE49-F238E27FC236}">
                <a16:creationId xmlns:a16="http://schemas.microsoft.com/office/drawing/2014/main" id="{D290039D-AD81-428B-AB88-801BB15DE96C}"/>
              </a:ext>
            </a:extLst>
          </p:cNvPr>
          <p:cNvGrpSpPr/>
          <p:nvPr/>
        </p:nvGrpSpPr>
        <p:grpSpPr>
          <a:xfrm>
            <a:off x="547359" y="1628775"/>
            <a:ext cx="504056" cy="504056"/>
            <a:chOff x="2208090" y="3644203"/>
            <a:chExt cx="504056" cy="504056"/>
          </a:xfrm>
        </p:grpSpPr>
        <p:sp>
          <p:nvSpPr>
            <p:cNvPr id="17" name="Ellipse 16">
              <a:extLst>
                <a:ext uri="{FF2B5EF4-FFF2-40B4-BE49-F238E27FC236}">
                  <a16:creationId xmlns:a16="http://schemas.microsoft.com/office/drawing/2014/main" id="{8BE80A81-6B9A-4C8F-91B3-FD817ABDF367}"/>
                </a:ext>
              </a:extLst>
            </p:cNvPr>
            <p:cNvSpPr/>
            <p:nvPr/>
          </p:nvSpPr>
          <p:spPr>
            <a:xfrm>
              <a:off x="2208090" y="3644203"/>
              <a:ext cx="504056" cy="504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8" name="Grafik 17" descr="Held männlich mit einfarbiger Füllung">
              <a:extLst>
                <a:ext uri="{FF2B5EF4-FFF2-40B4-BE49-F238E27FC236}">
                  <a16:creationId xmlns:a16="http://schemas.microsoft.com/office/drawing/2014/main" id="{15515342-63C0-435C-97D4-64F95D1902D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280098" y="3724140"/>
              <a:ext cx="345800" cy="345800"/>
            </a:xfrm>
            <a:prstGeom prst="rect">
              <a:avLst/>
            </a:prstGeom>
          </p:spPr>
        </p:pic>
      </p:grpSp>
      <p:cxnSp>
        <p:nvCxnSpPr>
          <p:cNvPr id="19" name="Gerader Verbinder 18">
            <a:extLst>
              <a:ext uri="{FF2B5EF4-FFF2-40B4-BE49-F238E27FC236}">
                <a16:creationId xmlns:a16="http://schemas.microsoft.com/office/drawing/2014/main" id="{4C32347F-3977-47FD-8189-AE49A44DA932}"/>
              </a:ext>
            </a:extLst>
          </p:cNvPr>
          <p:cNvCxnSpPr>
            <a:cxnSpLocks/>
          </p:cNvCxnSpPr>
          <p:nvPr/>
        </p:nvCxnSpPr>
        <p:spPr>
          <a:xfrm>
            <a:off x="0" y="404664"/>
            <a:ext cx="407368"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982BB180-EFC3-4ADD-A169-DB5E93678ADE}"/>
              </a:ext>
            </a:extLst>
          </p:cNvPr>
          <p:cNvSpPr txBox="1"/>
          <p:nvPr/>
        </p:nvSpPr>
        <p:spPr>
          <a:xfrm>
            <a:off x="568375" y="310364"/>
            <a:ext cx="914400" cy="284908"/>
          </a:xfrm>
          <a:prstGeom prst="rect">
            <a:avLst/>
          </a:prstGeom>
          <a:noFill/>
        </p:spPr>
        <p:txBody>
          <a:bodyPr wrap="none" lIns="0" tIns="0" rIns="0" bIns="0" rtlCol="0" anchor="t">
            <a:noAutofit/>
          </a:bodyPr>
          <a:lstStyle/>
          <a:p>
            <a:pPr marL="0" marR="0" lvl="0" indent="0" algn="l" defTabSz="914400" rtl="0" eaLnBrk="1" fontAlgn="auto" latinLnBrk="0" hangingPunct="1">
              <a:lnSpc>
                <a:spcPct val="100000"/>
              </a:lnSpc>
              <a:spcBef>
                <a:spcPts val="0"/>
              </a:spcBef>
              <a:spcAft>
                <a:spcPts val="0"/>
              </a:spcAft>
              <a:buClr>
                <a:srgbClr val="008795"/>
              </a:buClr>
              <a:buSzTx/>
              <a:buFontTx/>
              <a:buNone/>
              <a:tabLst/>
              <a:defRPr/>
            </a:pPr>
            <a:r>
              <a:rPr kumimoji="0" lang="de-DE" sz="1000" b="0" i="0" u="none" strike="noStrike" kern="1200" cap="none" spc="0" normalizeH="0" baseline="0" noProof="0">
                <a:ln>
                  <a:noFill/>
                </a:ln>
                <a:solidFill>
                  <a:prstClr val="black"/>
                </a:solidFill>
                <a:effectLst/>
                <a:uLnTx/>
                <a:uFillTx/>
                <a:latin typeface="Segoe UI"/>
                <a:ea typeface="+mn-ea"/>
                <a:cs typeface="+mn-cs"/>
                <a:hlinkClick r:id="" action="ppaction://noaction">
                  <a:extLst>
                    <a:ext uri="{A12FA001-AC4F-418D-AE19-62706E023703}">
                      <ahyp:hlinkClr xmlns:ahyp="http://schemas.microsoft.com/office/drawing/2018/hyperlinkcolor" val="tx"/>
                    </a:ext>
                  </a:extLst>
                </a:hlinkClick>
              </a:rPr>
              <a:t>Industrie &amp; Gewerbe</a:t>
            </a:r>
            <a:endParaRPr kumimoji="0" lang="en-GB" sz="1000" b="0" i="0" u="none" strike="noStrike" kern="1200" cap="none" spc="0" normalizeH="0" baseline="0" noProof="0" err="1">
              <a:ln>
                <a:noFill/>
              </a:ln>
              <a:solidFill>
                <a:prstClr val="black"/>
              </a:solidFill>
              <a:effectLst/>
              <a:uLnTx/>
              <a:uFillTx/>
              <a:latin typeface="Segoe UI"/>
              <a:ea typeface="+mn-ea"/>
              <a:cs typeface="+mn-cs"/>
            </a:endParaRPr>
          </a:p>
        </p:txBody>
      </p:sp>
      <p:sp>
        <p:nvSpPr>
          <p:cNvPr id="21" name="Rechteck: abgerundete Ecken 20">
            <a:extLst>
              <a:ext uri="{FF2B5EF4-FFF2-40B4-BE49-F238E27FC236}">
                <a16:creationId xmlns:a16="http://schemas.microsoft.com/office/drawing/2014/main" id="{7AF18943-B257-4344-80CE-26DC9546AA51}"/>
              </a:ext>
            </a:extLst>
          </p:cNvPr>
          <p:cNvSpPr/>
          <p:nvPr/>
        </p:nvSpPr>
        <p:spPr bwMode="gray">
          <a:xfrm>
            <a:off x="3874331" y="1700809"/>
            <a:ext cx="7977299" cy="372194"/>
          </a:xfrm>
          <a:prstGeom prst="roundRect">
            <a:avLst>
              <a:gd name="adj" fmla="val 19599"/>
            </a:avLst>
          </a:prstGeom>
          <a:solidFill>
            <a:srgbClr val="D94291"/>
          </a:solidFill>
          <a:ln w="2540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Zuschuss</a:t>
            </a:r>
          </a:p>
        </p:txBody>
      </p:sp>
      <p:grpSp>
        <p:nvGrpSpPr>
          <p:cNvPr id="12" name="Gruppieren 11">
            <a:extLst>
              <a:ext uri="{FF2B5EF4-FFF2-40B4-BE49-F238E27FC236}">
                <a16:creationId xmlns:a16="http://schemas.microsoft.com/office/drawing/2014/main" id="{6F20FC64-4C77-4F39-B834-757526CF3E26}"/>
              </a:ext>
            </a:extLst>
          </p:cNvPr>
          <p:cNvGrpSpPr/>
          <p:nvPr/>
        </p:nvGrpSpPr>
        <p:grpSpPr>
          <a:xfrm>
            <a:off x="3795769" y="1625525"/>
            <a:ext cx="504056" cy="504056"/>
            <a:chOff x="2246051" y="5974"/>
            <a:chExt cx="504056" cy="504056"/>
          </a:xfrm>
        </p:grpSpPr>
        <p:sp>
          <p:nvSpPr>
            <p:cNvPr id="13" name="Ellipse 12">
              <a:extLst>
                <a:ext uri="{FF2B5EF4-FFF2-40B4-BE49-F238E27FC236}">
                  <a16:creationId xmlns:a16="http://schemas.microsoft.com/office/drawing/2014/main" id="{1D0A46DF-5AAD-476E-A7CC-581D587D7267}"/>
                </a:ext>
              </a:extLst>
            </p:cNvPr>
            <p:cNvSpPr/>
            <p:nvPr/>
          </p:nvSpPr>
          <p:spPr>
            <a:xfrm>
              <a:off x="2246051" y="5974"/>
              <a:ext cx="504056" cy="504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4" name="Grafik 13" descr="Geld mit einfarbiger Füllung">
              <a:extLst>
                <a:ext uri="{FF2B5EF4-FFF2-40B4-BE49-F238E27FC236}">
                  <a16:creationId xmlns:a16="http://schemas.microsoft.com/office/drawing/2014/main" id="{5BA272F9-4A80-4CE0-BF06-ED0EBC7520D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324613" y="62894"/>
              <a:ext cx="353486" cy="353486"/>
            </a:xfrm>
            <a:prstGeom prst="rect">
              <a:avLst/>
            </a:prstGeom>
          </p:spPr>
        </p:pic>
      </p:grpSp>
      <p:sp>
        <p:nvSpPr>
          <p:cNvPr id="3" name="Fußzeilenplatzhalter 3">
            <a:extLst>
              <a:ext uri="{FF2B5EF4-FFF2-40B4-BE49-F238E27FC236}">
                <a16:creationId xmlns:a16="http://schemas.microsoft.com/office/drawing/2014/main" id="{4047CA0F-72BF-CF26-2007-CEF467DF858A}"/>
              </a:ext>
            </a:extLst>
          </p:cNvPr>
          <p:cNvSpPr>
            <a:spLocks noGrp="1"/>
          </p:cNvSpPr>
          <p:nvPr>
            <p:ph type="ftr" sz="quarter" idx="11"/>
          </p:nvPr>
        </p:nvSpPr>
        <p:spPr>
          <a:xfrm>
            <a:off x="2279576" y="6481840"/>
            <a:ext cx="9216000" cy="3678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Segoe UI"/>
                <a:ea typeface="+mn-ea"/>
                <a:cs typeface="+mn-cs"/>
              </a:rPr>
              <a:t>DISCLAIMER: Die Informationen in dieser Förderübersicht werden ständig geprüft und aktualisiert. Trotz aller Sorgfalt können sich Angaben inzwischen geändert haben. Eine Haftung oder Garantie für die Aktualität, Richtigkeit und Vollständigkeit der zur Verfügung gestellten Informationen kann deshalb nicht übernommen werden. Die Deutsche Unternehmensinitiative Energieeffizienz e. V. (DENEFF) übernimmt keine Haftung für Informationen auf Webseiten Dritter, die per Link mit dieser Präsentation verbunden sind</a:t>
            </a:r>
          </a:p>
        </p:txBody>
      </p:sp>
      <p:pic>
        <p:nvPicPr>
          <p:cNvPr id="6" name="Grafik 5">
            <a:extLst>
              <a:ext uri="{FF2B5EF4-FFF2-40B4-BE49-F238E27FC236}">
                <a16:creationId xmlns:a16="http://schemas.microsoft.com/office/drawing/2014/main" id="{C680E726-B603-A195-13D3-98C71C452FD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466359" y="6408284"/>
            <a:ext cx="525185" cy="304946"/>
          </a:xfrm>
          <a:prstGeom prst="rect">
            <a:avLst/>
          </a:prstGeom>
        </p:spPr>
      </p:pic>
    </p:spTree>
    <p:extLst>
      <p:ext uri="{BB962C8B-B14F-4D97-AF65-F5344CB8AC3E}">
        <p14:creationId xmlns:p14="http://schemas.microsoft.com/office/powerpoint/2010/main" val="9729443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92885E-3D97-45EE-8081-154E4201EA01}"/>
              </a:ext>
            </a:extLst>
          </p:cNvPr>
          <p:cNvSpPr>
            <a:spLocks noGrp="1"/>
          </p:cNvSpPr>
          <p:nvPr>
            <p:ph type="title"/>
          </p:nvPr>
        </p:nvSpPr>
        <p:spPr/>
        <p:txBody>
          <a:bodyPr/>
          <a:lstStyle/>
          <a:p>
            <a:r>
              <a:rPr lang="de-DE"/>
              <a:t>Förderprogramm Klimaschutzverträge </a:t>
            </a:r>
            <a:endParaRPr lang="en-GB"/>
          </a:p>
        </p:txBody>
      </p:sp>
      <p:graphicFrame>
        <p:nvGraphicFramePr>
          <p:cNvPr id="8" name="Inhaltsplatzhalter 7">
            <a:hlinkClick r:id="" action="ppaction://noaction" highlightClick="1"/>
            <a:extLst>
              <a:ext uri="{FF2B5EF4-FFF2-40B4-BE49-F238E27FC236}">
                <a16:creationId xmlns:a16="http://schemas.microsoft.com/office/drawing/2014/main" id="{A436C903-3416-4159-9C9C-162FE01CA096}"/>
              </a:ext>
            </a:extLst>
          </p:cNvPr>
          <p:cNvGraphicFramePr>
            <a:graphicFrameLocks noGrp="1"/>
          </p:cNvGraphicFramePr>
          <p:nvPr>
            <p:ph idx="1"/>
          </p:nvPr>
        </p:nvGraphicFramePr>
        <p:xfrm>
          <a:off x="547360" y="2168737"/>
          <a:ext cx="11309680" cy="40685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Foliennummernplatzhalter 4">
            <a:extLst>
              <a:ext uri="{FF2B5EF4-FFF2-40B4-BE49-F238E27FC236}">
                <a16:creationId xmlns:a16="http://schemas.microsoft.com/office/drawing/2014/main" id="{956B46B6-DB94-4332-977B-B2D3BB8D6063}"/>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6A2A10-B827-4CCE-9EB2-A13B5A721707}" type="slidenum">
              <a:rPr kumimoji="0" lang="de-DE" sz="10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de-DE" sz="1000" b="0" i="0" u="none" strike="noStrike" kern="1200" cap="none" spc="0" normalizeH="0" baseline="0" noProof="0">
              <a:ln>
                <a:noFill/>
              </a:ln>
              <a:solidFill>
                <a:prstClr val="black"/>
              </a:solidFill>
              <a:effectLst/>
              <a:uLnTx/>
              <a:uFillTx/>
              <a:latin typeface="Segoe UI"/>
              <a:ea typeface="+mn-ea"/>
              <a:cs typeface="+mn-cs"/>
            </a:endParaRPr>
          </a:p>
        </p:txBody>
      </p:sp>
      <p:sp>
        <p:nvSpPr>
          <p:cNvPr id="15" name="Rechteck: abgerundete Ecken 14">
            <a:extLst>
              <a:ext uri="{FF2B5EF4-FFF2-40B4-BE49-F238E27FC236}">
                <a16:creationId xmlns:a16="http://schemas.microsoft.com/office/drawing/2014/main" id="{E251C655-D0ED-4A17-AFC8-9A676441433F}"/>
              </a:ext>
            </a:extLst>
          </p:cNvPr>
          <p:cNvSpPr/>
          <p:nvPr/>
        </p:nvSpPr>
        <p:spPr bwMode="gray">
          <a:xfrm>
            <a:off x="623392" y="1700809"/>
            <a:ext cx="3096344" cy="372194"/>
          </a:xfrm>
          <a:prstGeom prst="roundRect">
            <a:avLst>
              <a:gd name="adj" fmla="val 19599"/>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 </a:t>
            </a:r>
            <a:r>
              <a:rPr kumimoji="0" lang="de-DE" sz="1800" b="1"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rPr>
              <a:t>C.Noll</a:t>
            </a:r>
            <a:endParaRPr kumimoji="0" lang="de-DE" sz="18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nvGrpSpPr>
          <p:cNvPr id="16" name="Gruppieren 15">
            <a:extLst>
              <a:ext uri="{FF2B5EF4-FFF2-40B4-BE49-F238E27FC236}">
                <a16:creationId xmlns:a16="http://schemas.microsoft.com/office/drawing/2014/main" id="{D290039D-AD81-428B-AB88-801BB15DE96C}"/>
              </a:ext>
            </a:extLst>
          </p:cNvPr>
          <p:cNvGrpSpPr/>
          <p:nvPr/>
        </p:nvGrpSpPr>
        <p:grpSpPr>
          <a:xfrm>
            <a:off x="547359" y="1628775"/>
            <a:ext cx="504056" cy="504056"/>
            <a:chOff x="2208090" y="3644203"/>
            <a:chExt cx="504056" cy="504056"/>
          </a:xfrm>
        </p:grpSpPr>
        <p:sp>
          <p:nvSpPr>
            <p:cNvPr id="17" name="Ellipse 16">
              <a:extLst>
                <a:ext uri="{FF2B5EF4-FFF2-40B4-BE49-F238E27FC236}">
                  <a16:creationId xmlns:a16="http://schemas.microsoft.com/office/drawing/2014/main" id="{8BE80A81-6B9A-4C8F-91B3-FD817ABDF367}"/>
                </a:ext>
              </a:extLst>
            </p:cNvPr>
            <p:cNvSpPr/>
            <p:nvPr/>
          </p:nvSpPr>
          <p:spPr>
            <a:xfrm>
              <a:off x="2208090" y="3644203"/>
              <a:ext cx="504056" cy="504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8" name="Grafik 17" descr="Held männlich mit einfarbiger Füllung">
              <a:extLst>
                <a:ext uri="{FF2B5EF4-FFF2-40B4-BE49-F238E27FC236}">
                  <a16:creationId xmlns:a16="http://schemas.microsoft.com/office/drawing/2014/main" id="{15515342-63C0-435C-97D4-64F95D1902D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280098" y="3724140"/>
              <a:ext cx="345800" cy="345800"/>
            </a:xfrm>
            <a:prstGeom prst="rect">
              <a:avLst/>
            </a:prstGeom>
          </p:spPr>
        </p:pic>
      </p:grpSp>
      <p:cxnSp>
        <p:nvCxnSpPr>
          <p:cNvPr id="19" name="Gerader Verbinder 18">
            <a:extLst>
              <a:ext uri="{FF2B5EF4-FFF2-40B4-BE49-F238E27FC236}">
                <a16:creationId xmlns:a16="http://schemas.microsoft.com/office/drawing/2014/main" id="{4C32347F-3977-47FD-8189-AE49A44DA932}"/>
              </a:ext>
            </a:extLst>
          </p:cNvPr>
          <p:cNvCxnSpPr>
            <a:cxnSpLocks/>
          </p:cNvCxnSpPr>
          <p:nvPr/>
        </p:nvCxnSpPr>
        <p:spPr>
          <a:xfrm>
            <a:off x="0" y="404664"/>
            <a:ext cx="407368"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982BB180-EFC3-4ADD-A169-DB5E93678ADE}"/>
              </a:ext>
            </a:extLst>
          </p:cNvPr>
          <p:cNvSpPr txBox="1"/>
          <p:nvPr/>
        </p:nvSpPr>
        <p:spPr>
          <a:xfrm>
            <a:off x="568375" y="310364"/>
            <a:ext cx="914400" cy="284908"/>
          </a:xfrm>
          <a:prstGeom prst="rect">
            <a:avLst/>
          </a:prstGeom>
          <a:noFill/>
        </p:spPr>
        <p:txBody>
          <a:bodyPr wrap="none" lIns="0" tIns="0" rIns="0" bIns="0" rtlCol="0" anchor="t">
            <a:noAutofit/>
          </a:bodyPr>
          <a:lstStyle/>
          <a:p>
            <a:pPr marL="0" marR="0" lvl="0" indent="0" algn="l" defTabSz="914400" rtl="0" eaLnBrk="1" fontAlgn="auto" latinLnBrk="0" hangingPunct="1">
              <a:lnSpc>
                <a:spcPct val="100000"/>
              </a:lnSpc>
              <a:spcBef>
                <a:spcPts val="0"/>
              </a:spcBef>
              <a:spcAft>
                <a:spcPts val="0"/>
              </a:spcAft>
              <a:buClr>
                <a:srgbClr val="008795"/>
              </a:buClr>
              <a:buSzTx/>
              <a:buFontTx/>
              <a:buNone/>
              <a:tabLst/>
              <a:defRPr/>
            </a:pPr>
            <a:r>
              <a:rPr kumimoji="0" lang="de-DE" sz="1000" b="0" i="0" u="none" strike="noStrike" kern="1200" cap="none" spc="0" normalizeH="0" baseline="0" noProof="0">
                <a:ln>
                  <a:noFill/>
                </a:ln>
                <a:solidFill>
                  <a:prstClr val="black"/>
                </a:solidFill>
                <a:effectLst/>
                <a:uLnTx/>
                <a:uFillTx/>
                <a:latin typeface="Segoe UI"/>
                <a:ea typeface="+mn-ea"/>
                <a:cs typeface="+mn-cs"/>
                <a:hlinkClick r:id="rId10" action="ppaction://hlinksldjump">
                  <a:extLst>
                    <a:ext uri="{A12FA001-AC4F-418D-AE19-62706E023703}">
                      <ahyp:hlinkClr xmlns:ahyp="http://schemas.microsoft.com/office/drawing/2018/hyperlinkcolor" val="tx"/>
                    </a:ext>
                  </a:extLst>
                </a:hlinkClick>
              </a:rPr>
              <a:t>Industrie &amp; Gewerbe</a:t>
            </a:r>
            <a:endParaRPr kumimoji="0" lang="en-GB" sz="1000" b="0" i="0" u="none" strike="noStrike" kern="1200" cap="none" spc="0" normalizeH="0" baseline="0" noProof="0" err="1">
              <a:ln>
                <a:noFill/>
              </a:ln>
              <a:solidFill>
                <a:prstClr val="black"/>
              </a:solidFill>
              <a:effectLst/>
              <a:uLnTx/>
              <a:uFillTx/>
              <a:latin typeface="Segoe UI"/>
              <a:ea typeface="+mn-ea"/>
              <a:cs typeface="+mn-cs"/>
            </a:endParaRPr>
          </a:p>
        </p:txBody>
      </p:sp>
      <p:sp>
        <p:nvSpPr>
          <p:cNvPr id="21" name="Rechteck: abgerundete Ecken 20">
            <a:extLst>
              <a:ext uri="{FF2B5EF4-FFF2-40B4-BE49-F238E27FC236}">
                <a16:creationId xmlns:a16="http://schemas.microsoft.com/office/drawing/2014/main" id="{7AF18943-B257-4344-80CE-26DC9546AA51}"/>
              </a:ext>
            </a:extLst>
          </p:cNvPr>
          <p:cNvSpPr/>
          <p:nvPr/>
        </p:nvSpPr>
        <p:spPr bwMode="gray">
          <a:xfrm>
            <a:off x="3874331" y="1700809"/>
            <a:ext cx="7977299" cy="372194"/>
          </a:xfrm>
          <a:prstGeom prst="roundRect">
            <a:avLst>
              <a:gd name="adj" fmla="val 19599"/>
            </a:avLst>
          </a:prstGeom>
          <a:solidFill>
            <a:srgbClr val="D94291"/>
          </a:solidFill>
          <a:ln w="2540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Zuschuss</a:t>
            </a:r>
          </a:p>
        </p:txBody>
      </p:sp>
      <p:grpSp>
        <p:nvGrpSpPr>
          <p:cNvPr id="12" name="Gruppieren 11">
            <a:extLst>
              <a:ext uri="{FF2B5EF4-FFF2-40B4-BE49-F238E27FC236}">
                <a16:creationId xmlns:a16="http://schemas.microsoft.com/office/drawing/2014/main" id="{6F20FC64-4C77-4F39-B834-757526CF3E26}"/>
              </a:ext>
            </a:extLst>
          </p:cNvPr>
          <p:cNvGrpSpPr/>
          <p:nvPr/>
        </p:nvGrpSpPr>
        <p:grpSpPr>
          <a:xfrm>
            <a:off x="3795769" y="1625525"/>
            <a:ext cx="504056" cy="504056"/>
            <a:chOff x="2246051" y="5974"/>
            <a:chExt cx="504056" cy="504056"/>
          </a:xfrm>
        </p:grpSpPr>
        <p:sp>
          <p:nvSpPr>
            <p:cNvPr id="13" name="Ellipse 12">
              <a:extLst>
                <a:ext uri="{FF2B5EF4-FFF2-40B4-BE49-F238E27FC236}">
                  <a16:creationId xmlns:a16="http://schemas.microsoft.com/office/drawing/2014/main" id="{1D0A46DF-5AAD-476E-A7CC-581D587D7267}"/>
                </a:ext>
              </a:extLst>
            </p:cNvPr>
            <p:cNvSpPr/>
            <p:nvPr/>
          </p:nvSpPr>
          <p:spPr>
            <a:xfrm>
              <a:off x="2246051" y="5974"/>
              <a:ext cx="504056" cy="504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4" name="Grafik 13" descr="Geld mit einfarbiger Füllung">
              <a:extLst>
                <a:ext uri="{FF2B5EF4-FFF2-40B4-BE49-F238E27FC236}">
                  <a16:creationId xmlns:a16="http://schemas.microsoft.com/office/drawing/2014/main" id="{5BA272F9-4A80-4CE0-BF06-ED0EBC7520D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324613" y="62894"/>
              <a:ext cx="353486" cy="353486"/>
            </a:xfrm>
            <a:prstGeom prst="rect">
              <a:avLst/>
            </a:prstGeom>
          </p:spPr>
        </p:pic>
      </p:grpSp>
      <p:sp>
        <p:nvSpPr>
          <p:cNvPr id="3" name="Fußzeilenplatzhalter 3">
            <a:extLst>
              <a:ext uri="{FF2B5EF4-FFF2-40B4-BE49-F238E27FC236}">
                <a16:creationId xmlns:a16="http://schemas.microsoft.com/office/drawing/2014/main" id="{4047CA0F-72BF-CF26-2007-CEF467DF858A}"/>
              </a:ext>
            </a:extLst>
          </p:cNvPr>
          <p:cNvSpPr>
            <a:spLocks noGrp="1"/>
          </p:cNvSpPr>
          <p:nvPr>
            <p:ph type="ftr" sz="quarter" idx="11"/>
          </p:nvPr>
        </p:nvSpPr>
        <p:spPr>
          <a:xfrm>
            <a:off x="2279576" y="6373552"/>
            <a:ext cx="9216000" cy="3678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Segoe UI"/>
                <a:ea typeface="+mn-ea"/>
                <a:cs typeface="+mn-cs"/>
              </a:rPr>
              <a:t>DISCLAIMER: Die Informationen in dieser Förderübersicht werden ständig geprüft und aktualisiert. Trotz aller Sorgfalt können sich Angaben inzwischen geändert haben. Eine Haftung oder Garantie für die Aktualität, Richtigkeit und Vollständigkeit der zur Verfügung gestellten Informationen kann deshalb nicht übernommen werden. Die Deutsche Unternehmensinitiative Energieeffizienz e. V. (DENEFF) übernimmt keine Haftung für Informationen auf Webseiten Dritter, die per Link mit dieser Präsentation verbunden sind</a:t>
            </a:r>
          </a:p>
        </p:txBody>
      </p:sp>
      <p:pic>
        <p:nvPicPr>
          <p:cNvPr id="6" name="Grafik 5">
            <a:extLst>
              <a:ext uri="{FF2B5EF4-FFF2-40B4-BE49-F238E27FC236}">
                <a16:creationId xmlns:a16="http://schemas.microsoft.com/office/drawing/2014/main" id="{C680E726-B603-A195-13D3-98C71C452FD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466359" y="6408284"/>
            <a:ext cx="525185" cy="304946"/>
          </a:xfrm>
          <a:prstGeom prst="rect">
            <a:avLst/>
          </a:prstGeom>
        </p:spPr>
      </p:pic>
    </p:spTree>
    <p:extLst>
      <p:ext uri="{BB962C8B-B14F-4D97-AF65-F5344CB8AC3E}">
        <p14:creationId xmlns:p14="http://schemas.microsoft.com/office/powerpoint/2010/main" val="30788063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5BAD0A-7329-4C56-9E67-BAA58F2D68F3}"/>
              </a:ext>
            </a:extLst>
          </p:cNvPr>
          <p:cNvSpPr>
            <a:spLocks noGrp="1"/>
          </p:cNvSpPr>
          <p:nvPr>
            <p:ph type="ctrTitle"/>
          </p:nvPr>
        </p:nvSpPr>
        <p:spPr>
          <a:xfrm>
            <a:off x="911424" y="2132856"/>
            <a:ext cx="5616624" cy="3744416"/>
          </a:xfrm>
        </p:spPr>
        <p:txBody>
          <a:bodyPr/>
          <a:lstStyle/>
          <a:p>
            <a:r>
              <a:rPr lang="de-DE"/>
              <a:t>Impressum</a:t>
            </a:r>
            <a:br>
              <a:rPr lang="de-DE"/>
            </a:br>
            <a:br>
              <a:rPr lang="de-DE"/>
            </a:br>
            <a:r>
              <a:rPr lang="de-DE" sz="1800" b="0"/>
              <a:t>Deutsche Unternehmensinitiative</a:t>
            </a:r>
            <a:br>
              <a:rPr lang="de-DE" sz="1800" b="0"/>
            </a:br>
            <a:r>
              <a:rPr lang="de-DE" sz="1800" b="0"/>
              <a:t>Energieeffizienz e.V. (DENEFF)</a:t>
            </a:r>
            <a:br>
              <a:rPr lang="de-DE" sz="1800" b="0"/>
            </a:br>
            <a:r>
              <a:rPr lang="de-DE" sz="1800" b="0"/>
              <a:t>Alt-Moabit 103</a:t>
            </a:r>
            <a:br>
              <a:rPr lang="de-DE" sz="1800" b="0"/>
            </a:br>
            <a:r>
              <a:rPr lang="de-DE" sz="1800" b="0"/>
              <a:t>10559 Berlin</a:t>
            </a:r>
            <a:br>
              <a:rPr lang="de-DE" sz="1800" b="0"/>
            </a:br>
            <a:r>
              <a:rPr lang="de-DE" sz="1800" b="0">
                <a:hlinkClick r:id="rId2">
                  <a:extLst>
                    <a:ext uri="{A12FA001-AC4F-418D-AE19-62706E023703}">
                      <ahyp:hlinkClr xmlns:ahyp="http://schemas.microsoft.com/office/drawing/2018/hyperlinkcolor" val="tx"/>
                    </a:ext>
                  </a:extLst>
                </a:hlinkClick>
              </a:rPr>
              <a:t>www.deneff.org</a:t>
            </a:r>
            <a:br>
              <a:rPr lang="de-DE" sz="1800" b="0"/>
            </a:br>
            <a:br>
              <a:rPr lang="de-DE" sz="1800" b="0"/>
            </a:br>
            <a:r>
              <a:rPr lang="de-DE" sz="1800" b="0"/>
              <a:t>DENEFF EDL_HUB gGmbH</a:t>
            </a:r>
            <a:br>
              <a:rPr lang="de-DE" sz="1800" b="0"/>
            </a:br>
            <a:r>
              <a:rPr lang="de-DE" sz="1800" b="0"/>
              <a:t>Alt-Moabit 103</a:t>
            </a:r>
            <a:br>
              <a:rPr lang="de-DE" sz="1800" b="0"/>
            </a:br>
            <a:r>
              <a:rPr lang="de-DE" sz="1800" b="0"/>
              <a:t>10559 Berlin</a:t>
            </a:r>
            <a:br>
              <a:rPr lang="de-DE" sz="1800" b="0"/>
            </a:br>
            <a:r>
              <a:rPr lang="de-DE" sz="1800" b="0">
                <a:hlinkClick r:id="rId2">
                  <a:extLst>
                    <a:ext uri="{A12FA001-AC4F-418D-AE19-62706E023703}">
                      <ahyp:hlinkClr xmlns:ahyp="http://schemas.microsoft.com/office/drawing/2018/hyperlinkcolor" val="tx"/>
                    </a:ext>
                  </a:extLst>
                </a:hlinkClick>
              </a:rPr>
              <a:t>www.deneff.org</a:t>
            </a:r>
            <a:br>
              <a:rPr lang="de-DE" sz="1800" b="0"/>
            </a:br>
            <a:br>
              <a:rPr lang="de-DE"/>
            </a:br>
            <a:br>
              <a:rPr lang="de-DE"/>
            </a:br>
            <a:br>
              <a:rPr lang="de-DE"/>
            </a:br>
            <a:endParaRPr lang="en-GB"/>
          </a:p>
        </p:txBody>
      </p:sp>
      <p:pic>
        <p:nvPicPr>
          <p:cNvPr id="3" name="Grafik 2">
            <a:extLst>
              <a:ext uri="{FF2B5EF4-FFF2-40B4-BE49-F238E27FC236}">
                <a16:creationId xmlns:a16="http://schemas.microsoft.com/office/drawing/2014/main" id="{B3F3D62B-C66F-77B2-A541-0B777A6D476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56097" y="548681"/>
            <a:ext cx="1341781" cy="779099"/>
          </a:xfrm>
          <a:prstGeom prst="rect">
            <a:avLst/>
          </a:prstGeom>
        </p:spPr>
      </p:pic>
    </p:spTree>
    <p:extLst>
      <p:ext uri="{BB962C8B-B14F-4D97-AF65-F5344CB8AC3E}">
        <p14:creationId xmlns:p14="http://schemas.microsoft.com/office/powerpoint/2010/main" val="17463906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354CCF-1267-48F2-865C-19E9AB6D387D}"/>
              </a:ext>
            </a:extLst>
          </p:cNvPr>
          <p:cNvSpPr>
            <a:spLocks noGrp="1"/>
          </p:cNvSpPr>
          <p:nvPr>
            <p:ph type="title"/>
          </p:nvPr>
        </p:nvSpPr>
        <p:spPr/>
        <p:txBody>
          <a:bodyPr/>
          <a:lstStyle/>
          <a:p>
            <a:r>
              <a:rPr lang="de-DE">
                <a:sym typeface="Wingdings" panose="05000000000000000000" pitchFamily="2" charset="2"/>
                <a:hlinkClick r:id="rId2" action="ppaction://hlinksldjump">
                  <a:extLst>
                    <a:ext uri="{A12FA001-AC4F-418D-AE19-62706E023703}">
                      <ahyp:hlinkClr xmlns:ahyp="http://schemas.microsoft.com/office/drawing/2018/hyperlinkcolor" val="tx"/>
                    </a:ext>
                  </a:extLst>
                </a:hlinkClick>
              </a:rPr>
              <a:t> </a:t>
            </a:r>
            <a:r>
              <a:rPr lang="de-DE">
                <a:hlinkClick r:id="rId2" action="ppaction://hlinksldjump">
                  <a:extLst>
                    <a:ext uri="{A12FA001-AC4F-418D-AE19-62706E023703}">
                      <ahyp:hlinkClr xmlns:ahyp="http://schemas.microsoft.com/office/drawing/2018/hyperlinkcolor" val="tx"/>
                    </a:ext>
                  </a:extLst>
                </a:hlinkClick>
              </a:rPr>
              <a:t>Übersicht</a:t>
            </a:r>
            <a:endParaRPr lang="en-GB"/>
          </a:p>
        </p:txBody>
      </p:sp>
      <p:sp>
        <p:nvSpPr>
          <p:cNvPr id="5" name="Textplatzhalter 4">
            <a:extLst>
              <a:ext uri="{FF2B5EF4-FFF2-40B4-BE49-F238E27FC236}">
                <a16:creationId xmlns:a16="http://schemas.microsoft.com/office/drawing/2014/main" id="{13E1CA33-D056-46EF-967B-9DA626154877}"/>
              </a:ext>
            </a:extLst>
          </p:cNvPr>
          <p:cNvSpPr>
            <a:spLocks noGrp="1"/>
          </p:cNvSpPr>
          <p:nvPr>
            <p:ph type="body" sz="quarter" idx="15"/>
          </p:nvPr>
        </p:nvSpPr>
        <p:spPr>
          <a:xfrm>
            <a:off x="4656640" y="1341438"/>
            <a:ext cx="7200000" cy="3556932"/>
          </a:xfrm>
        </p:spPr>
        <p:txBody>
          <a:bodyPr vert="horz" lIns="0" tIns="36000" rIns="0" bIns="0" rtlCol="0" anchor="t">
            <a:noAutofit/>
          </a:bodyPr>
          <a:lstStyle/>
          <a:p>
            <a:pPr>
              <a:spcAft>
                <a:spcPts val="600"/>
              </a:spcAft>
            </a:pPr>
            <a:r>
              <a:rPr lang="de-DE" dirty="0"/>
              <a:t>Industrie &amp; Gewerbe</a:t>
            </a:r>
          </a:p>
          <a:p>
            <a:pPr marL="285750" indent="-285750">
              <a:spcAft>
                <a:spcPts val="600"/>
              </a:spcAft>
              <a:buFont typeface="Arial" panose="020B0604020202020204" pitchFamily="34" charset="0"/>
              <a:buChar char="•"/>
            </a:pPr>
            <a:r>
              <a:rPr lang="de-DE" sz="1400" dirty="0">
                <a:hlinkClick r:id="rId3" action="ppaction://hlinksldjump">
                  <a:extLst>
                    <a:ext uri="{A12FA001-AC4F-418D-AE19-62706E023703}">
                      <ahyp:hlinkClr xmlns:ahyp="http://schemas.microsoft.com/office/drawing/2018/hyperlinkcolor" val="tx"/>
                    </a:ext>
                  </a:extLst>
                </a:hlinkClick>
              </a:rPr>
              <a:t>Energieeffizienzprogramm für Produktionsanlagen und Prozesse</a:t>
            </a:r>
            <a:r>
              <a:rPr lang="de-DE" sz="1400" dirty="0"/>
              <a:t>: KfW</a:t>
            </a:r>
            <a:endParaRPr lang="de-DE" sz="1400" dirty="0">
              <a:cs typeface="Segoe UI"/>
            </a:endParaRPr>
          </a:p>
          <a:p>
            <a:pPr marL="285750" indent="-285750">
              <a:spcAft>
                <a:spcPts val="600"/>
              </a:spcAft>
              <a:buFont typeface="Arial" panose="020B0604020202020204" pitchFamily="34" charset="0"/>
              <a:buChar char="•"/>
            </a:pPr>
            <a:r>
              <a:rPr lang="de-DE" sz="1400" dirty="0">
                <a:hlinkClick r:id="rId4" action="ppaction://hlinksldjump">
                  <a:extLst>
                    <a:ext uri="{A12FA001-AC4F-418D-AE19-62706E023703}">
                      <ahyp:hlinkClr xmlns:ahyp="http://schemas.microsoft.com/office/drawing/2018/hyperlinkcolor" val="tx"/>
                    </a:ext>
                  </a:extLst>
                </a:hlinkClick>
              </a:rPr>
              <a:t>Energieeffizienzprogramm für Produktionsanlagen und Prozesse –            Ergänzende Länderprogramme</a:t>
            </a:r>
            <a:endParaRPr lang="de-DE" sz="1400" dirty="0"/>
          </a:p>
          <a:p>
            <a:pPr marL="285750" indent="-285750">
              <a:spcAft>
                <a:spcPts val="600"/>
              </a:spcAft>
              <a:buFont typeface="Arial" panose="020B0604020202020204" pitchFamily="34" charset="0"/>
              <a:buChar char="•"/>
            </a:pPr>
            <a:r>
              <a:rPr lang="de-DE" sz="1400" dirty="0">
                <a:hlinkClick r:id="rId4" action="ppaction://hlinksldjump">
                  <a:extLst>
                    <a:ext uri="{A12FA001-AC4F-418D-AE19-62706E023703}">
                      <ahyp:hlinkClr xmlns:ahyp="http://schemas.microsoft.com/office/drawing/2018/hyperlinkcolor" val="tx"/>
                    </a:ext>
                  </a:extLst>
                </a:hlinkClick>
              </a:rPr>
              <a:t>Bundesförderung für Energie- und Ressourceneffizienz in der Wirtschaft –      Modul 1</a:t>
            </a:r>
            <a:r>
              <a:rPr lang="de-DE" sz="1400" dirty="0"/>
              <a:t>, </a:t>
            </a:r>
            <a:r>
              <a:rPr lang="de-DE" sz="1400" dirty="0">
                <a:hlinkClick r:id="rId5" action="ppaction://hlinksldjump">
                  <a:extLst>
                    <a:ext uri="{A12FA001-AC4F-418D-AE19-62706E023703}">
                      <ahyp:hlinkClr xmlns:ahyp="http://schemas.microsoft.com/office/drawing/2018/hyperlinkcolor" val="tx"/>
                    </a:ext>
                  </a:extLst>
                </a:hlinkClick>
              </a:rPr>
              <a:t>2</a:t>
            </a:r>
            <a:r>
              <a:rPr lang="de-DE" sz="1400" dirty="0"/>
              <a:t>, </a:t>
            </a:r>
            <a:r>
              <a:rPr lang="de-DE" sz="1400" dirty="0">
                <a:hlinkClick r:id="rId6" action="ppaction://hlinksldjump">
                  <a:extLst>
                    <a:ext uri="{A12FA001-AC4F-418D-AE19-62706E023703}">
                      <ahyp:hlinkClr xmlns:ahyp="http://schemas.microsoft.com/office/drawing/2018/hyperlinkcolor" val="tx"/>
                    </a:ext>
                  </a:extLst>
                </a:hlinkClick>
              </a:rPr>
              <a:t>3</a:t>
            </a:r>
            <a:r>
              <a:rPr lang="de-DE" sz="1400" dirty="0"/>
              <a:t>, </a:t>
            </a:r>
            <a:r>
              <a:rPr lang="de-DE" sz="1400" dirty="0">
                <a:hlinkClick r:id="rId7" action="ppaction://hlinksldjump">
                  <a:extLst>
                    <a:ext uri="{A12FA001-AC4F-418D-AE19-62706E023703}">
                      <ahyp:hlinkClr xmlns:ahyp="http://schemas.microsoft.com/office/drawing/2018/hyperlinkcolor" val="tx"/>
                    </a:ext>
                  </a:extLst>
                </a:hlinkClick>
              </a:rPr>
              <a:t>4</a:t>
            </a:r>
            <a:r>
              <a:rPr lang="de-DE" sz="1400" dirty="0"/>
              <a:t>, </a:t>
            </a:r>
            <a:r>
              <a:rPr lang="de-DE" sz="1400" dirty="0">
                <a:hlinkClick r:id="rId8" action="ppaction://hlinksldjump">
                  <a:extLst>
                    <a:ext uri="{A12FA001-AC4F-418D-AE19-62706E023703}">
                      <ahyp:hlinkClr xmlns:ahyp="http://schemas.microsoft.com/office/drawing/2018/hyperlinkcolor" val="tx"/>
                    </a:ext>
                  </a:extLst>
                </a:hlinkClick>
              </a:rPr>
              <a:t>5</a:t>
            </a:r>
            <a:r>
              <a:rPr lang="de-DE" sz="1400" dirty="0"/>
              <a:t>, </a:t>
            </a:r>
            <a:r>
              <a:rPr lang="de-DE" sz="1400" u="sng" dirty="0"/>
              <a:t>6</a:t>
            </a:r>
            <a:endParaRPr lang="de-DE" sz="1400" u="sng" dirty="0">
              <a:cs typeface="Segoe UI"/>
            </a:endParaRPr>
          </a:p>
          <a:p>
            <a:pPr marL="285750" indent="-285750">
              <a:spcAft>
                <a:spcPts val="600"/>
              </a:spcAft>
              <a:buFont typeface="Arial" panose="020B0604020202020204" pitchFamily="34" charset="0"/>
              <a:buChar char="•"/>
            </a:pPr>
            <a:r>
              <a:rPr lang="de-DE" sz="1400" dirty="0">
                <a:hlinkClick r:id="rId9" action="ppaction://hlinksldjump">
                  <a:extLst>
                    <a:ext uri="{A12FA001-AC4F-418D-AE19-62706E023703}">
                      <ahyp:hlinkClr xmlns:ahyp="http://schemas.microsoft.com/office/drawing/2018/hyperlinkcolor" val="tx"/>
                    </a:ext>
                  </a:extLst>
                </a:hlinkClick>
              </a:rPr>
              <a:t>Bundesförderung für Energie- und Ressourceneffizienz in der Wirtschaft – ergänzende Länderprogramme</a:t>
            </a:r>
            <a:endParaRPr lang="de-DE" sz="1400" dirty="0"/>
          </a:p>
          <a:p>
            <a:pPr marL="285750" indent="-285750">
              <a:spcAft>
                <a:spcPts val="600"/>
              </a:spcAft>
              <a:buFont typeface="Arial" panose="020B0604020202020204" pitchFamily="34" charset="0"/>
              <a:buChar char="•"/>
            </a:pPr>
            <a:r>
              <a:rPr lang="de-DE" sz="1400" u="sng" dirty="0"/>
              <a:t>BMWE-Förderwettbewerb Energie und Ressourceneffizienz (EEW)</a:t>
            </a:r>
            <a:endParaRPr lang="de-DE" sz="1400" u="sng" dirty="0">
              <a:cs typeface="Segoe UI"/>
            </a:endParaRPr>
          </a:p>
          <a:p>
            <a:pPr marL="285750" indent="-285750">
              <a:spcAft>
                <a:spcPts val="600"/>
              </a:spcAft>
              <a:buFont typeface="Arial" panose="020B0604020202020204" pitchFamily="34" charset="0"/>
              <a:buChar char="•"/>
            </a:pPr>
            <a:r>
              <a:rPr lang="de-DE" sz="1400" u="sng" dirty="0"/>
              <a:t>Bundesförderung Industrie und Klimaschutz (BIK) - Förderung zur Dekarbonisierung der Industrie</a:t>
            </a:r>
            <a:endParaRPr lang="de-DE" sz="1400" u="sng" dirty="0">
              <a:cs typeface="Segoe UI"/>
            </a:endParaRPr>
          </a:p>
          <a:p>
            <a:pPr marL="285750" indent="-285750">
              <a:spcAft>
                <a:spcPts val="600"/>
              </a:spcAft>
              <a:buFont typeface="Arial" panose="020B0604020202020204" pitchFamily="34" charset="0"/>
              <a:buChar char="•"/>
            </a:pPr>
            <a:r>
              <a:rPr lang="de-DE" sz="1400" dirty="0">
                <a:hlinkClick r:id="rId10" action="ppaction://hlinksldjump">
                  <a:extLst>
                    <a:ext uri="{A12FA001-AC4F-418D-AE19-62706E023703}">
                      <ahyp:hlinkClr xmlns:ahyp="http://schemas.microsoft.com/office/drawing/2018/hyperlinkcolor" val="tx"/>
                    </a:ext>
                  </a:extLst>
                </a:hlinkClick>
              </a:rPr>
              <a:t>Förderprogramm Klimaschutzverträge </a:t>
            </a:r>
            <a:endParaRPr lang="de-DE" sz="1400" dirty="0"/>
          </a:p>
          <a:p>
            <a:pPr marL="285750" indent="-285750">
              <a:spcAft>
                <a:spcPts val="600"/>
              </a:spcAft>
              <a:buFont typeface="Arial" panose="020B0604020202020204" pitchFamily="34" charset="0"/>
              <a:buChar char="•"/>
            </a:pPr>
            <a:endParaRPr lang="de-DE" sz="1400"/>
          </a:p>
          <a:p>
            <a:pPr marL="285750" indent="-285750">
              <a:spcAft>
                <a:spcPts val="600"/>
              </a:spcAft>
              <a:buFont typeface="Arial" panose="020B0604020202020204" pitchFamily="34" charset="0"/>
              <a:buChar char="•"/>
            </a:pPr>
            <a:endParaRPr lang="de-DE" sz="1400"/>
          </a:p>
        </p:txBody>
      </p:sp>
      <p:sp>
        <p:nvSpPr>
          <p:cNvPr id="6" name="Textplatzhalter 5">
            <a:extLst>
              <a:ext uri="{FF2B5EF4-FFF2-40B4-BE49-F238E27FC236}">
                <a16:creationId xmlns:a16="http://schemas.microsoft.com/office/drawing/2014/main" id="{6AE9556B-6B57-412B-8687-FBDF9CBAFE39}"/>
              </a:ext>
            </a:extLst>
          </p:cNvPr>
          <p:cNvSpPr>
            <a:spLocks noGrp="1"/>
          </p:cNvSpPr>
          <p:nvPr>
            <p:ph type="body" sz="quarter" idx="16"/>
          </p:nvPr>
        </p:nvSpPr>
        <p:spPr>
          <a:xfrm>
            <a:off x="4295792" y="1341438"/>
            <a:ext cx="287337" cy="25200"/>
          </a:xfrm>
        </p:spPr>
        <p:txBody>
          <a:bodyPr/>
          <a:lstStyle/>
          <a:p>
            <a:r>
              <a:rPr lang="de-DE" dirty="0"/>
              <a:t>01</a:t>
            </a:r>
            <a:endParaRPr lang="en-GB" dirty="0"/>
          </a:p>
        </p:txBody>
      </p:sp>
      <p:sp>
        <p:nvSpPr>
          <p:cNvPr id="19" name="Textfeld 5">
            <a:extLst>
              <a:ext uri="{FF2B5EF4-FFF2-40B4-BE49-F238E27FC236}">
                <a16:creationId xmlns:a16="http://schemas.microsoft.com/office/drawing/2014/main" id="{F18883A5-2A0B-4935-9125-F1B8F866B184}"/>
              </a:ext>
            </a:extLst>
          </p:cNvPr>
          <p:cNvSpPr txBox="1">
            <a:spLocks noChangeArrowheads="1"/>
          </p:cNvSpPr>
          <p:nvPr/>
        </p:nvSpPr>
        <p:spPr bwMode="auto">
          <a:xfrm>
            <a:off x="663051" y="6349826"/>
            <a:ext cx="10480138"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296" tIns="46648" rIns="93296" bIns="46648"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de-DE" sz="800" b="0" i="0" u="none" strike="noStrike" kern="1200" cap="none" spc="0" normalizeH="0" baseline="0" noProof="0">
                <a:ln>
                  <a:noFill/>
                </a:ln>
                <a:solidFill>
                  <a:srgbClr val="008795"/>
                </a:solidFill>
                <a:effectLst/>
                <a:uLnTx/>
                <a:uFillTx/>
                <a:latin typeface="Segoe UI"/>
                <a:ea typeface="Calibri" pitchFamily="34" charset="0"/>
                <a:cs typeface="Times New Roman" pitchFamily="18" charset="0"/>
              </a:rPr>
              <a:t>DISCLAIMER: </a:t>
            </a:r>
            <a:r>
              <a:rPr kumimoji="0" lang="de-DE" altLang="de-DE" sz="800" b="0" i="0" u="none" strike="noStrike" kern="1200" cap="none" spc="0" normalizeH="0" baseline="0" noProof="0">
                <a:ln>
                  <a:noFill/>
                </a:ln>
                <a:solidFill>
                  <a:prstClr val="black"/>
                </a:solidFill>
                <a:effectLst/>
                <a:uLnTx/>
                <a:uFillTx/>
                <a:latin typeface="Segoe UI"/>
                <a:ea typeface="Calibri" pitchFamily="34" charset="0"/>
                <a:cs typeface="Times New Roman" pitchFamily="18" charset="0"/>
              </a:rPr>
              <a:t>Die Informationen in dieser Förderübersicht werden ständig geprüft und aktualisiert. Trotz aller Sorgfalt können sich Angaben inzwischen geändert haben. Eine Haftung oder Garantie für die Aktualität, Richtigkeit und Vollständigkeit der zur Verfügung gestellten Informationen kann deshalb nicht übernommen werden. Die Deutsche Unternehmensinitiative Energieeffizienz e. V. (DENEFF) übernimmt keine Haftung für Informationen auf Webseiten Dritter, die per Link mit dieser Präsentation verbunden sind.</a:t>
            </a:r>
            <a:endParaRPr kumimoji="0" lang="de-DE" altLang="de-DE" sz="800" b="0" i="0" u="none" strike="noStrike" kern="1200" cap="none" spc="0" normalizeH="0" baseline="0" noProof="0">
              <a:ln>
                <a:noFill/>
              </a:ln>
              <a:solidFill>
                <a:srgbClr val="008795"/>
              </a:solidFill>
              <a:effectLst/>
              <a:uLnTx/>
              <a:uFillTx/>
              <a:latin typeface="Segoe UI"/>
              <a:ea typeface="Calibri" pitchFamily="34" charset="0"/>
              <a:cs typeface="Times New Roman" pitchFamily="18" charset="0"/>
            </a:endParaRPr>
          </a:p>
        </p:txBody>
      </p:sp>
      <p:grpSp>
        <p:nvGrpSpPr>
          <p:cNvPr id="20" name="Gruppieren 19">
            <a:extLst>
              <a:ext uri="{FF2B5EF4-FFF2-40B4-BE49-F238E27FC236}">
                <a16:creationId xmlns:a16="http://schemas.microsoft.com/office/drawing/2014/main" id="{134055F5-67F4-4310-B096-4C7F05CE2185}"/>
              </a:ext>
            </a:extLst>
          </p:cNvPr>
          <p:cNvGrpSpPr/>
          <p:nvPr/>
        </p:nvGrpSpPr>
        <p:grpSpPr>
          <a:xfrm>
            <a:off x="4295792" y="4999171"/>
            <a:ext cx="7560848" cy="792000"/>
            <a:chOff x="4295792" y="4999171"/>
            <a:chExt cx="7560848" cy="792000"/>
          </a:xfrm>
        </p:grpSpPr>
        <p:sp>
          <p:nvSpPr>
            <p:cNvPr id="21" name="Textplatzhalter 6">
              <a:extLst>
                <a:ext uri="{FF2B5EF4-FFF2-40B4-BE49-F238E27FC236}">
                  <a16:creationId xmlns:a16="http://schemas.microsoft.com/office/drawing/2014/main" id="{B8E117E0-3C1A-4CF0-BA0A-683F00381ED4}"/>
                </a:ext>
              </a:extLst>
            </p:cNvPr>
            <p:cNvSpPr txBox="1">
              <a:spLocks/>
            </p:cNvSpPr>
            <p:nvPr/>
          </p:nvSpPr>
          <p:spPr bwMode="gray">
            <a:xfrm>
              <a:off x="4295792" y="4999171"/>
              <a:ext cx="7560848" cy="792000"/>
            </a:xfrm>
            <a:prstGeom prst="rect">
              <a:avLst/>
            </a:prstGeom>
          </p:spPr>
          <p:txBody>
            <a:bodyPr vert="horz" lIns="0" tIns="36000" rIns="0" bIns="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16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0"/>
                </a:spcAft>
                <a:buFontTx/>
                <a:buNone/>
                <a:defRPr sz="1600" kern="1200">
                  <a:solidFill>
                    <a:schemeClr val="tx1"/>
                  </a:solidFill>
                  <a:latin typeface="+mn-lt"/>
                  <a:ea typeface="+mn-ea"/>
                  <a:cs typeface="+mn-cs"/>
                </a:defRPr>
              </a:lvl2pPr>
              <a:lvl3pPr marL="0" indent="0" algn="l" defTabSz="914400" rtl="0" eaLnBrk="1" latinLnBrk="0" hangingPunct="1">
                <a:lnSpc>
                  <a:spcPct val="100000"/>
                </a:lnSpc>
                <a:spcBef>
                  <a:spcPts val="0"/>
                </a:spcBef>
                <a:spcAft>
                  <a:spcPts val="0"/>
                </a:spcAft>
                <a:buClr>
                  <a:schemeClr val="bg2"/>
                </a:buClr>
                <a:buFont typeface="Arial" panose="020B0604020202020204" pitchFamily="34" charset="0"/>
                <a:buNone/>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0"/>
                </a:spcAft>
                <a:buClr>
                  <a:schemeClr val="bg2"/>
                </a:buClr>
                <a:buFont typeface="Arial" panose="020B0604020202020204" pitchFamily="34" charset="0"/>
                <a:buNone/>
                <a:defRPr sz="1600"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0"/>
                </a:spcAft>
                <a:buClr>
                  <a:schemeClr val="bg2"/>
                </a:buClr>
                <a:buFont typeface="Arial" panose="020B0604020202020204" pitchFamily="34" charset="0"/>
                <a:buNone/>
                <a:defRPr sz="1600" kern="120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Clr>
                  <a:schemeClr val="bg2"/>
                </a:buClr>
                <a:buFont typeface="Arial" panose="020B0604020202020204" pitchFamily="34" charset="0"/>
                <a:buNone/>
                <a:defRPr sz="16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0"/>
                </a:spcAft>
                <a:buClr>
                  <a:schemeClr val="bg2"/>
                </a:buClr>
                <a:buFont typeface="Arial" panose="020B0604020202020204" pitchFamily="34" charset="0"/>
                <a:buNone/>
                <a:defRPr sz="1600" kern="1200">
                  <a:solidFill>
                    <a:schemeClr val="tx1"/>
                  </a:solidFill>
                  <a:latin typeface="+mn-lt"/>
                  <a:ea typeface="+mn-ea"/>
                  <a:cs typeface="+mn-cs"/>
                </a:defRPr>
              </a:lvl7pPr>
              <a:lvl8pPr marL="0" indent="0" algn="l" defTabSz="914400" rtl="0" eaLnBrk="1" latinLnBrk="0" hangingPunct="1">
                <a:lnSpc>
                  <a:spcPct val="100000"/>
                </a:lnSpc>
                <a:spcBef>
                  <a:spcPts val="0"/>
                </a:spcBef>
                <a:spcAft>
                  <a:spcPts val="0"/>
                </a:spcAft>
                <a:buClr>
                  <a:schemeClr val="bg2"/>
                </a:buClr>
                <a:buFont typeface="Arial" panose="020B0604020202020204" pitchFamily="34" charset="0"/>
                <a:buNone/>
                <a:defRPr sz="1600" kern="1200">
                  <a:solidFill>
                    <a:schemeClr val="tx1"/>
                  </a:solidFill>
                  <a:latin typeface="+mn-lt"/>
                  <a:ea typeface="+mn-ea"/>
                  <a:cs typeface="+mn-cs"/>
                </a:defRPr>
              </a:lvl8pPr>
              <a:lvl9pPr marL="0" indent="0" algn="l" defTabSz="914400" rtl="0" eaLnBrk="1" latinLnBrk="0" hangingPunct="1">
                <a:lnSpc>
                  <a:spcPct val="100000"/>
                </a:lnSpc>
                <a:spcBef>
                  <a:spcPts val="0"/>
                </a:spcBef>
                <a:spcAft>
                  <a:spcPts val="0"/>
                </a:spcAft>
                <a:buClr>
                  <a:schemeClr val="bg2"/>
                </a:buClr>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1600" b="1" i="0" u="none" strike="noStrike" kern="1200" cap="none" spc="0" normalizeH="0" baseline="0" noProof="0">
                  <a:ln>
                    <a:noFill/>
                  </a:ln>
                  <a:solidFill>
                    <a:prstClr val="black"/>
                  </a:solidFill>
                  <a:effectLst/>
                  <a:uLnTx/>
                  <a:uFillTx/>
                  <a:latin typeface="Segoe UI"/>
                  <a:ea typeface="+mn-ea"/>
                  <a:cs typeface="+mn-cs"/>
                </a:rPr>
                <a:t>Die Fördervarianten sind mit Farben markiert:</a:t>
              </a:r>
              <a:endParaRPr kumimoji="0" lang="en-GB" sz="1600" b="1" i="0" u="none" strike="noStrike" kern="1200" cap="none" spc="0" normalizeH="0" baseline="0" noProof="0">
                <a:ln>
                  <a:noFill/>
                </a:ln>
                <a:solidFill>
                  <a:prstClr val="black"/>
                </a:solidFill>
                <a:effectLst/>
                <a:uLnTx/>
                <a:uFillTx/>
                <a:latin typeface="Segoe UI"/>
                <a:ea typeface="+mn-ea"/>
                <a:cs typeface="+mn-cs"/>
              </a:endParaRPr>
            </a:p>
          </p:txBody>
        </p:sp>
        <p:grpSp>
          <p:nvGrpSpPr>
            <p:cNvPr id="22" name="Gruppieren 21">
              <a:extLst>
                <a:ext uri="{FF2B5EF4-FFF2-40B4-BE49-F238E27FC236}">
                  <a16:creationId xmlns:a16="http://schemas.microsoft.com/office/drawing/2014/main" id="{17861F90-9F56-4E56-9EE3-0148998A5778}"/>
                </a:ext>
              </a:extLst>
            </p:cNvPr>
            <p:cNvGrpSpPr/>
            <p:nvPr/>
          </p:nvGrpSpPr>
          <p:grpSpPr>
            <a:xfrm>
              <a:off x="4295792" y="5355765"/>
              <a:ext cx="6847397" cy="306011"/>
              <a:chOff x="4295792" y="5355765"/>
              <a:chExt cx="6847397" cy="306011"/>
            </a:xfrm>
          </p:grpSpPr>
          <p:sp>
            <p:nvSpPr>
              <p:cNvPr id="23" name="Rechteck: abgerundete Ecken 22">
                <a:extLst>
                  <a:ext uri="{FF2B5EF4-FFF2-40B4-BE49-F238E27FC236}">
                    <a16:creationId xmlns:a16="http://schemas.microsoft.com/office/drawing/2014/main" id="{A54732CC-7E9D-4EE3-8607-A773E2ADFA41}"/>
                  </a:ext>
                </a:extLst>
              </p:cNvPr>
              <p:cNvSpPr/>
              <p:nvPr/>
            </p:nvSpPr>
            <p:spPr bwMode="gray">
              <a:xfrm>
                <a:off x="6096002" y="5355765"/>
                <a:ext cx="1436717" cy="296532"/>
              </a:xfrm>
              <a:prstGeom prst="roundRect">
                <a:avLst>
                  <a:gd name="adj" fmla="val 19599"/>
                </a:avLst>
              </a:prstGeom>
              <a:solidFill>
                <a:srgbClr val="D94291"/>
              </a:solidFill>
              <a:ln w="2540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Zuschuss</a:t>
                </a:r>
              </a:p>
            </p:txBody>
          </p:sp>
          <p:sp>
            <p:nvSpPr>
              <p:cNvPr id="24" name="Rechteck: abgerundete Ecken 23">
                <a:extLst>
                  <a:ext uri="{FF2B5EF4-FFF2-40B4-BE49-F238E27FC236}">
                    <a16:creationId xmlns:a16="http://schemas.microsoft.com/office/drawing/2014/main" id="{E46F5C2A-D66E-4EDF-AC7F-78D3C43EDE2F}"/>
                  </a:ext>
                </a:extLst>
              </p:cNvPr>
              <p:cNvSpPr/>
              <p:nvPr/>
            </p:nvSpPr>
            <p:spPr bwMode="gray">
              <a:xfrm>
                <a:off x="4295792" y="5365700"/>
                <a:ext cx="1436718" cy="296076"/>
              </a:xfrm>
              <a:prstGeom prst="roundRect">
                <a:avLst>
                  <a:gd name="adj" fmla="val 19599"/>
                </a:avLst>
              </a:prstGeom>
              <a:solidFill>
                <a:srgbClr val="9D9D9D"/>
              </a:solidFill>
              <a:ln w="2540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Kredit</a:t>
                </a:r>
              </a:p>
            </p:txBody>
          </p:sp>
          <p:sp>
            <p:nvSpPr>
              <p:cNvPr id="25" name="Rechteck: abgerundete Ecken 24">
                <a:extLst>
                  <a:ext uri="{FF2B5EF4-FFF2-40B4-BE49-F238E27FC236}">
                    <a16:creationId xmlns:a16="http://schemas.microsoft.com/office/drawing/2014/main" id="{F526BE99-AB7D-4898-9B0D-93BD67E17AD4}"/>
                  </a:ext>
                </a:extLst>
              </p:cNvPr>
              <p:cNvSpPr/>
              <p:nvPr/>
            </p:nvSpPr>
            <p:spPr bwMode="gray">
              <a:xfrm>
                <a:off x="7892760" y="5361004"/>
                <a:ext cx="1436718" cy="296076"/>
              </a:xfrm>
              <a:prstGeom prst="roundRect">
                <a:avLst>
                  <a:gd name="adj" fmla="val 19599"/>
                </a:avLst>
              </a:prstGeom>
              <a:solidFill>
                <a:srgbClr val="FE935B"/>
              </a:solidFill>
              <a:ln w="2540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teuerbonus</a:t>
                </a:r>
              </a:p>
            </p:txBody>
          </p:sp>
          <p:sp>
            <p:nvSpPr>
              <p:cNvPr id="26" name="Rechteck: abgerundete Ecken 25">
                <a:extLst>
                  <a:ext uri="{FF2B5EF4-FFF2-40B4-BE49-F238E27FC236}">
                    <a16:creationId xmlns:a16="http://schemas.microsoft.com/office/drawing/2014/main" id="{5AF74AFA-E2A8-4750-B4FB-5B4469D13557}"/>
                  </a:ext>
                </a:extLst>
              </p:cNvPr>
              <p:cNvSpPr/>
              <p:nvPr/>
            </p:nvSpPr>
            <p:spPr bwMode="gray">
              <a:xfrm>
                <a:off x="9706471" y="5361022"/>
                <a:ext cx="1436718" cy="296076"/>
              </a:xfrm>
              <a:prstGeom prst="roundRect">
                <a:avLst>
                  <a:gd name="adj" fmla="val 19599"/>
                </a:avLst>
              </a:prstGeom>
              <a:solidFill>
                <a:srgbClr val="DEFE4A"/>
              </a:solidFill>
              <a:ln w="2540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Bürgschaft</a:t>
                </a:r>
              </a:p>
            </p:txBody>
          </p:sp>
        </p:grpSp>
      </p:grpSp>
    </p:spTree>
    <p:extLst>
      <p:ext uri="{BB962C8B-B14F-4D97-AF65-F5344CB8AC3E}">
        <p14:creationId xmlns:p14="http://schemas.microsoft.com/office/powerpoint/2010/main" val="41768879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92885E-3D97-45EE-8081-154E4201EA01}"/>
              </a:ext>
            </a:extLst>
          </p:cNvPr>
          <p:cNvSpPr>
            <a:spLocks noGrp="1"/>
          </p:cNvSpPr>
          <p:nvPr>
            <p:ph type="title"/>
          </p:nvPr>
        </p:nvSpPr>
        <p:spPr/>
        <p:txBody>
          <a:bodyPr/>
          <a:lstStyle/>
          <a:p>
            <a:r>
              <a:rPr lang="de-DE"/>
              <a:t>Energieeffizienzprogramm für Produktionsanlagen und Prozesse: KfW 292/293</a:t>
            </a:r>
            <a:endParaRPr lang="en-GB"/>
          </a:p>
        </p:txBody>
      </p:sp>
      <p:sp>
        <p:nvSpPr>
          <p:cNvPr id="5" name="Foliennummernplatzhalter 4">
            <a:extLst>
              <a:ext uri="{FF2B5EF4-FFF2-40B4-BE49-F238E27FC236}">
                <a16:creationId xmlns:a16="http://schemas.microsoft.com/office/drawing/2014/main" id="{956B46B6-DB94-4332-977B-B2D3BB8D6063}"/>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6A2A10-B827-4CCE-9EB2-A13B5A721707}" type="slidenum">
              <a:rPr kumimoji="0" lang="de-DE" sz="10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de-DE" sz="1000" b="0" i="0" u="none" strike="noStrike" kern="1200" cap="none" spc="0" normalizeH="0" baseline="0" noProof="0">
              <a:ln>
                <a:noFill/>
              </a:ln>
              <a:solidFill>
                <a:prstClr val="black"/>
              </a:solidFill>
              <a:effectLst/>
              <a:uLnTx/>
              <a:uFillTx/>
              <a:latin typeface="Segoe UI"/>
              <a:ea typeface="+mn-ea"/>
              <a:cs typeface="+mn-cs"/>
            </a:endParaRPr>
          </a:p>
        </p:txBody>
      </p:sp>
      <p:sp>
        <p:nvSpPr>
          <p:cNvPr id="22" name="Rechteck: abgerundete Ecken 21">
            <a:extLst>
              <a:ext uri="{FF2B5EF4-FFF2-40B4-BE49-F238E27FC236}">
                <a16:creationId xmlns:a16="http://schemas.microsoft.com/office/drawing/2014/main" id="{D574E688-3A22-4F33-9840-25B4ABF24BD3}"/>
              </a:ext>
            </a:extLst>
          </p:cNvPr>
          <p:cNvSpPr/>
          <p:nvPr/>
        </p:nvSpPr>
        <p:spPr bwMode="gray">
          <a:xfrm>
            <a:off x="3874330" y="1700809"/>
            <a:ext cx="7977299" cy="372194"/>
          </a:xfrm>
          <a:prstGeom prst="roundRect">
            <a:avLst>
              <a:gd name="adj" fmla="val 19599"/>
            </a:avLst>
          </a:prstGeom>
          <a:solidFill>
            <a:srgbClr val="9D9D9D"/>
          </a:solidFill>
          <a:ln w="2540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Kredit</a:t>
            </a:r>
          </a:p>
        </p:txBody>
      </p:sp>
      <p:sp>
        <p:nvSpPr>
          <p:cNvPr id="15" name="Rechteck: abgerundete Ecken 14">
            <a:extLst>
              <a:ext uri="{FF2B5EF4-FFF2-40B4-BE49-F238E27FC236}">
                <a16:creationId xmlns:a16="http://schemas.microsoft.com/office/drawing/2014/main" id="{E251C655-D0ED-4A17-AFC8-9A676441433F}"/>
              </a:ext>
            </a:extLst>
          </p:cNvPr>
          <p:cNvSpPr/>
          <p:nvPr/>
        </p:nvSpPr>
        <p:spPr bwMode="gray">
          <a:xfrm>
            <a:off x="623392" y="1700809"/>
            <a:ext cx="3096344" cy="372194"/>
          </a:xfrm>
          <a:prstGeom prst="roundRect">
            <a:avLst>
              <a:gd name="adj" fmla="val 19599"/>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 </a:t>
            </a:r>
            <a:r>
              <a:rPr kumimoji="0" lang="de-DE" sz="1800" b="1"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C.Noll</a:t>
            </a:r>
            <a:endParaRPr kumimoji="0" lang="de-DE" sz="18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nvGrpSpPr>
          <p:cNvPr id="12" name="Gruppieren 11">
            <a:extLst>
              <a:ext uri="{FF2B5EF4-FFF2-40B4-BE49-F238E27FC236}">
                <a16:creationId xmlns:a16="http://schemas.microsoft.com/office/drawing/2014/main" id="{6F20FC64-4C77-4F39-B834-757526CF3E26}"/>
              </a:ext>
            </a:extLst>
          </p:cNvPr>
          <p:cNvGrpSpPr/>
          <p:nvPr/>
        </p:nvGrpSpPr>
        <p:grpSpPr>
          <a:xfrm>
            <a:off x="3795769" y="1625525"/>
            <a:ext cx="504056" cy="504056"/>
            <a:chOff x="2246051" y="5974"/>
            <a:chExt cx="504056" cy="504056"/>
          </a:xfrm>
        </p:grpSpPr>
        <p:sp>
          <p:nvSpPr>
            <p:cNvPr id="13" name="Ellipse 12">
              <a:extLst>
                <a:ext uri="{FF2B5EF4-FFF2-40B4-BE49-F238E27FC236}">
                  <a16:creationId xmlns:a16="http://schemas.microsoft.com/office/drawing/2014/main" id="{1D0A46DF-5AAD-476E-A7CC-581D587D7267}"/>
                </a:ext>
              </a:extLst>
            </p:cNvPr>
            <p:cNvSpPr/>
            <p:nvPr/>
          </p:nvSpPr>
          <p:spPr>
            <a:xfrm>
              <a:off x="2246051" y="5974"/>
              <a:ext cx="504056" cy="504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4" name="Grafik 13" descr="Geld mit einfarbiger Füllung">
              <a:extLst>
                <a:ext uri="{FF2B5EF4-FFF2-40B4-BE49-F238E27FC236}">
                  <a16:creationId xmlns:a16="http://schemas.microsoft.com/office/drawing/2014/main" id="{5BA272F9-4A80-4CE0-BF06-ED0EBC7520D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324613" y="62894"/>
              <a:ext cx="353486" cy="353486"/>
            </a:xfrm>
            <a:prstGeom prst="rect">
              <a:avLst/>
            </a:prstGeom>
          </p:spPr>
        </p:pic>
      </p:grpSp>
      <p:grpSp>
        <p:nvGrpSpPr>
          <p:cNvPr id="16" name="Gruppieren 15">
            <a:extLst>
              <a:ext uri="{FF2B5EF4-FFF2-40B4-BE49-F238E27FC236}">
                <a16:creationId xmlns:a16="http://schemas.microsoft.com/office/drawing/2014/main" id="{D290039D-AD81-428B-AB88-801BB15DE96C}"/>
              </a:ext>
            </a:extLst>
          </p:cNvPr>
          <p:cNvGrpSpPr/>
          <p:nvPr/>
        </p:nvGrpSpPr>
        <p:grpSpPr>
          <a:xfrm>
            <a:off x="547359" y="1628775"/>
            <a:ext cx="504056" cy="504056"/>
            <a:chOff x="2208090" y="3644203"/>
            <a:chExt cx="504056" cy="504056"/>
          </a:xfrm>
        </p:grpSpPr>
        <p:sp>
          <p:nvSpPr>
            <p:cNvPr id="17" name="Ellipse 16">
              <a:extLst>
                <a:ext uri="{FF2B5EF4-FFF2-40B4-BE49-F238E27FC236}">
                  <a16:creationId xmlns:a16="http://schemas.microsoft.com/office/drawing/2014/main" id="{8BE80A81-6B9A-4C8F-91B3-FD817ABDF367}"/>
                </a:ext>
              </a:extLst>
            </p:cNvPr>
            <p:cNvSpPr/>
            <p:nvPr/>
          </p:nvSpPr>
          <p:spPr>
            <a:xfrm>
              <a:off x="2208090" y="3644203"/>
              <a:ext cx="504056" cy="504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8" name="Grafik 17" descr="Held männlich mit einfarbiger Füllung">
              <a:extLst>
                <a:ext uri="{FF2B5EF4-FFF2-40B4-BE49-F238E27FC236}">
                  <a16:creationId xmlns:a16="http://schemas.microsoft.com/office/drawing/2014/main" id="{15515342-63C0-435C-97D4-64F95D1902D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80098" y="3724140"/>
              <a:ext cx="345800" cy="345800"/>
            </a:xfrm>
            <a:prstGeom prst="rect">
              <a:avLst/>
            </a:prstGeom>
          </p:spPr>
        </p:pic>
      </p:grpSp>
      <p:cxnSp>
        <p:nvCxnSpPr>
          <p:cNvPr id="19" name="Gerader Verbinder 18">
            <a:extLst>
              <a:ext uri="{FF2B5EF4-FFF2-40B4-BE49-F238E27FC236}">
                <a16:creationId xmlns:a16="http://schemas.microsoft.com/office/drawing/2014/main" id="{4C32347F-3977-47FD-8189-AE49A44DA932}"/>
              </a:ext>
            </a:extLst>
          </p:cNvPr>
          <p:cNvCxnSpPr>
            <a:cxnSpLocks/>
          </p:cNvCxnSpPr>
          <p:nvPr/>
        </p:nvCxnSpPr>
        <p:spPr>
          <a:xfrm>
            <a:off x="0" y="404664"/>
            <a:ext cx="407368" cy="0"/>
          </a:xfrm>
          <a:prstGeom prst="line">
            <a:avLst/>
          </a:prstGeom>
          <a:ln w="25400">
            <a:solidFill>
              <a:srgbClr val="008795"/>
            </a:solidFill>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982BB180-EFC3-4ADD-A169-DB5E93678ADE}"/>
              </a:ext>
            </a:extLst>
          </p:cNvPr>
          <p:cNvSpPr txBox="1"/>
          <p:nvPr/>
        </p:nvSpPr>
        <p:spPr>
          <a:xfrm>
            <a:off x="568375" y="310364"/>
            <a:ext cx="914400" cy="284908"/>
          </a:xfrm>
          <a:prstGeom prst="rect">
            <a:avLst/>
          </a:prstGeom>
          <a:noFill/>
        </p:spPr>
        <p:txBody>
          <a:bodyPr wrap="none" lIns="0" tIns="0" rIns="0" bIns="0" rtlCol="0" anchor="t">
            <a:noAutofit/>
          </a:bodyPr>
          <a:lstStyle/>
          <a:p>
            <a:pPr marL="0" marR="0" lvl="0" indent="0" algn="l" defTabSz="914400" rtl="0" eaLnBrk="1" fontAlgn="auto" latinLnBrk="0" hangingPunct="1">
              <a:lnSpc>
                <a:spcPct val="100000"/>
              </a:lnSpc>
              <a:spcBef>
                <a:spcPts val="0"/>
              </a:spcBef>
              <a:spcAft>
                <a:spcPts val="0"/>
              </a:spcAft>
              <a:buClr>
                <a:srgbClr val="008795"/>
              </a:buClr>
              <a:buSzTx/>
              <a:buFontTx/>
              <a:buNone/>
              <a:tabLst/>
              <a:defRPr/>
            </a:pPr>
            <a:r>
              <a:rPr kumimoji="0" lang="de-DE" sz="1000" b="0" i="0" u="none" strike="noStrike" kern="1200" cap="none" spc="0" normalizeH="0" baseline="0" noProof="0">
                <a:ln>
                  <a:noFill/>
                </a:ln>
                <a:solidFill>
                  <a:prstClr val="black"/>
                </a:solidFill>
                <a:effectLst/>
                <a:uLnTx/>
                <a:uFillTx/>
                <a:latin typeface="Segoe UI"/>
                <a:ea typeface="+mn-ea"/>
                <a:cs typeface="+mn-cs"/>
                <a:hlinkClick r:id="rId7" action="ppaction://hlinksldjump">
                  <a:extLst>
                    <a:ext uri="{A12FA001-AC4F-418D-AE19-62706E023703}">
                      <ahyp:hlinkClr xmlns:ahyp="http://schemas.microsoft.com/office/drawing/2018/hyperlinkcolor" val="tx"/>
                    </a:ext>
                  </a:extLst>
                </a:hlinkClick>
              </a:rPr>
              <a:t>Industrie &amp; Gewerbe</a:t>
            </a:r>
            <a:endParaRPr kumimoji="0" lang="en-GB" sz="1000" b="0" i="0" u="none" strike="noStrike" kern="1200" cap="none" spc="0" normalizeH="0" baseline="0" noProof="0" err="1">
              <a:ln>
                <a:noFill/>
              </a:ln>
              <a:solidFill>
                <a:prstClr val="black"/>
              </a:solidFill>
              <a:effectLst/>
              <a:uLnTx/>
              <a:uFillTx/>
              <a:latin typeface="Segoe UI"/>
              <a:ea typeface="+mn-ea"/>
              <a:cs typeface="+mn-cs"/>
            </a:endParaRPr>
          </a:p>
        </p:txBody>
      </p:sp>
      <p:graphicFrame>
        <p:nvGraphicFramePr>
          <p:cNvPr id="21" name="Inhaltsplatzhalter 7">
            <a:hlinkClick r:id="" action="ppaction://noaction" highlightClick="1"/>
            <a:extLst>
              <a:ext uri="{FF2B5EF4-FFF2-40B4-BE49-F238E27FC236}">
                <a16:creationId xmlns:a16="http://schemas.microsoft.com/office/drawing/2014/main" id="{721337B9-F9BF-4A65-9B48-A0D39CF2DE98}"/>
              </a:ext>
            </a:extLst>
          </p:cNvPr>
          <p:cNvGraphicFramePr>
            <a:graphicFrameLocks noGrp="1"/>
          </p:cNvGraphicFramePr>
          <p:nvPr>
            <p:ph idx="1"/>
          </p:nvPr>
        </p:nvGraphicFramePr>
        <p:xfrm>
          <a:off x="547360" y="2168737"/>
          <a:ext cx="11309680" cy="406855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 name="Fußzeilenplatzhalter 3">
            <a:extLst>
              <a:ext uri="{FF2B5EF4-FFF2-40B4-BE49-F238E27FC236}">
                <a16:creationId xmlns:a16="http://schemas.microsoft.com/office/drawing/2014/main" id="{CB66C31B-22E9-A674-6F28-EC877EAD951A}"/>
              </a:ext>
            </a:extLst>
          </p:cNvPr>
          <p:cNvSpPr>
            <a:spLocks noGrp="1"/>
          </p:cNvSpPr>
          <p:nvPr>
            <p:ph type="ftr" sz="quarter" idx="11"/>
          </p:nvPr>
        </p:nvSpPr>
        <p:spPr>
          <a:xfrm>
            <a:off x="2279576" y="6373552"/>
            <a:ext cx="9216000" cy="3678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Segoe UI"/>
                <a:ea typeface="+mn-ea"/>
                <a:cs typeface="+mn-cs"/>
              </a:rPr>
              <a:t>DISCLAIMER: Die Informationen in dieser Förderübersicht werden ständig geprüft und aktualisiert. Trotz aller Sorgfalt können sich Angaben inzwischen geändert haben. Eine Haftung oder Garantie für die Aktualität, Richtigkeit und Vollständigkeit der zur Verfügung gestellten Informationen kann deshalb nicht übernommen werden. Die Deutsche Unternehmensinitiative Energieeffizienz e. V. (DENEFF) übernimmt keine Haftung für Informationen auf Webseiten Dritter, die per Link mit dieser Präsentation verbunden sind</a:t>
            </a:r>
          </a:p>
        </p:txBody>
      </p:sp>
      <p:pic>
        <p:nvPicPr>
          <p:cNvPr id="6" name="Grafik 5">
            <a:extLst>
              <a:ext uri="{FF2B5EF4-FFF2-40B4-BE49-F238E27FC236}">
                <a16:creationId xmlns:a16="http://schemas.microsoft.com/office/drawing/2014/main" id="{AA0F478A-F988-BAEA-76BF-87452853850E}"/>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466359" y="6408284"/>
            <a:ext cx="525185" cy="304946"/>
          </a:xfrm>
          <a:prstGeom prst="rect">
            <a:avLst/>
          </a:prstGeom>
        </p:spPr>
      </p:pic>
    </p:spTree>
    <p:extLst>
      <p:ext uri="{BB962C8B-B14F-4D97-AF65-F5344CB8AC3E}">
        <p14:creationId xmlns:p14="http://schemas.microsoft.com/office/powerpoint/2010/main" val="37326847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92885E-3D97-45EE-8081-154E4201EA01}"/>
              </a:ext>
            </a:extLst>
          </p:cNvPr>
          <p:cNvSpPr>
            <a:spLocks noGrp="1"/>
          </p:cNvSpPr>
          <p:nvPr>
            <p:ph type="title"/>
          </p:nvPr>
        </p:nvSpPr>
        <p:spPr/>
        <p:txBody>
          <a:bodyPr/>
          <a:lstStyle/>
          <a:p>
            <a:r>
              <a:rPr lang="de-DE"/>
              <a:t>Bundesförderung Energie- und Ressourceneffizienz in der Wirtschaft – </a:t>
            </a:r>
            <a:br>
              <a:rPr lang="de-DE"/>
            </a:br>
            <a:r>
              <a:rPr lang="de-DE"/>
              <a:t>Modul 1: Querschnittstechnologien</a:t>
            </a:r>
            <a:endParaRPr lang="en-GB"/>
          </a:p>
        </p:txBody>
      </p:sp>
      <p:graphicFrame>
        <p:nvGraphicFramePr>
          <p:cNvPr id="8" name="Inhaltsplatzhalter 7">
            <a:hlinkClick r:id="" action="ppaction://noaction" highlightClick="1"/>
            <a:extLst>
              <a:ext uri="{FF2B5EF4-FFF2-40B4-BE49-F238E27FC236}">
                <a16:creationId xmlns:a16="http://schemas.microsoft.com/office/drawing/2014/main" id="{A436C903-3416-4159-9C9C-162FE01CA096}"/>
              </a:ext>
            </a:extLst>
          </p:cNvPr>
          <p:cNvGraphicFramePr>
            <a:graphicFrameLocks noGrp="1"/>
          </p:cNvGraphicFramePr>
          <p:nvPr>
            <p:ph idx="1"/>
          </p:nvPr>
        </p:nvGraphicFramePr>
        <p:xfrm>
          <a:off x="547360" y="2168737"/>
          <a:ext cx="11309680" cy="40685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Foliennummernplatzhalter 4">
            <a:extLst>
              <a:ext uri="{FF2B5EF4-FFF2-40B4-BE49-F238E27FC236}">
                <a16:creationId xmlns:a16="http://schemas.microsoft.com/office/drawing/2014/main" id="{956B46B6-DB94-4332-977B-B2D3BB8D6063}"/>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6A2A10-B827-4CCE-9EB2-A13B5A721707}" type="slidenum">
              <a:rPr kumimoji="0" lang="de-DE" sz="10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de-DE" sz="1000" b="0" i="0" u="none" strike="noStrike" kern="1200" cap="none" spc="0" normalizeH="0" baseline="0" noProof="0">
              <a:ln>
                <a:noFill/>
              </a:ln>
              <a:solidFill>
                <a:prstClr val="black"/>
              </a:solidFill>
              <a:effectLst/>
              <a:uLnTx/>
              <a:uFillTx/>
              <a:latin typeface="Segoe UI"/>
              <a:ea typeface="+mn-ea"/>
              <a:cs typeface="+mn-cs"/>
            </a:endParaRPr>
          </a:p>
        </p:txBody>
      </p:sp>
      <p:sp>
        <p:nvSpPr>
          <p:cNvPr id="15" name="Rechteck: abgerundete Ecken 14">
            <a:extLst>
              <a:ext uri="{FF2B5EF4-FFF2-40B4-BE49-F238E27FC236}">
                <a16:creationId xmlns:a16="http://schemas.microsoft.com/office/drawing/2014/main" id="{E251C655-D0ED-4A17-AFC8-9A676441433F}"/>
              </a:ext>
            </a:extLst>
          </p:cNvPr>
          <p:cNvSpPr/>
          <p:nvPr/>
        </p:nvSpPr>
        <p:spPr bwMode="gray">
          <a:xfrm>
            <a:off x="623392" y="1700809"/>
            <a:ext cx="3096344" cy="372194"/>
          </a:xfrm>
          <a:prstGeom prst="roundRect">
            <a:avLst>
              <a:gd name="adj" fmla="val 19599"/>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 </a:t>
            </a:r>
            <a:r>
              <a:rPr kumimoji="0" lang="de-DE" sz="1800" b="1"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rPr>
              <a:t>C.Noll</a:t>
            </a:r>
            <a:endParaRPr kumimoji="0" lang="de-DE" sz="18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nvGrpSpPr>
          <p:cNvPr id="16" name="Gruppieren 15">
            <a:extLst>
              <a:ext uri="{FF2B5EF4-FFF2-40B4-BE49-F238E27FC236}">
                <a16:creationId xmlns:a16="http://schemas.microsoft.com/office/drawing/2014/main" id="{D290039D-AD81-428B-AB88-801BB15DE96C}"/>
              </a:ext>
            </a:extLst>
          </p:cNvPr>
          <p:cNvGrpSpPr/>
          <p:nvPr/>
        </p:nvGrpSpPr>
        <p:grpSpPr>
          <a:xfrm>
            <a:off x="547359" y="1628775"/>
            <a:ext cx="504056" cy="504056"/>
            <a:chOff x="2208090" y="3644203"/>
            <a:chExt cx="504056" cy="504056"/>
          </a:xfrm>
        </p:grpSpPr>
        <p:sp>
          <p:nvSpPr>
            <p:cNvPr id="17" name="Ellipse 16">
              <a:extLst>
                <a:ext uri="{FF2B5EF4-FFF2-40B4-BE49-F238E27FC236}">
                  <a16:creationId xmlns:a16="http://schemas.microsoft.com/office/drawing/2014/main" id="{8BE80A81-6B9A-4C8F-91B3-FD817ABDF367}"/>
                </a:ext>
              </a:extLst>
            </p:cNvPr>
            <p:cNvSpPr/>
            <p:nvPr/>
          </p:nvSpPr>
          <p:spPr>
            <a:xfrm>
              <a:off x="2208090" y="3644203"/>
              <a:ext cx="504056" cy="504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8" name="Grafik 17" descr="Held männlich mit einfarbiger Füllung">
              <a:extLst>
                <a:ext uri="{FF2B5EF4-FFF2-40B4-BE49-F238E27FC236}">
                  <a16:creationId xmlns:a16="http://schemas.microsoft.com/office/drawing/2014/main" id="{15515342-63C0-435C-97D4-64F95D1902D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280098" y="3724140"/>
              <a:ext cx="345800" cy="345800"/>
            </a:xfrm>
            <a:prstGeom prst="rect">
              <a:avLst/>
            </a:prstGeom>
          </p:spPr>
        </p:pic>
      </p:grpSp>
      <p:cxnSp>
        <p:nvCxnSpPr>
          <p:cNvPr id="19" name="Gerader Verbinder 18">
            <a:extLst>
              <a:ext uri="{FF2B5EF4-FFF2-40B4-BE49-F238E27FC236}">
                <a16:creationId xmlns:a16="http://schemas.microsoft.com/office/drawing/2014/main" id="{4C32347F-3977-47FD-8189-AE49A44DA932}"/>
              </a:ext>
            </a:extLst>
          </p:cNvPr>
          <p:cNvCxnSpPr>
            <a:cxnSpLocks/>
          </p:cNvCxnSpPr>
          <p:nvPr/>
        </p:nvCxnSpPr>
        <p:spPr>
          <a:xfrm>
            <a:off x="0" y="404664"/>
            <a:ext cx="407368"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982BB180-EFC3-4ADD-A169-DB5E93678ADE}"/>
              </a:ext>
            </a:extLst>
          </p:cNvPr>
          <p:cNvSpPr txBox="1"/>
          <p:nvPr/>
        </p:nvSpPr>
        <p:spPr>
          <a:xfrm>
            <a:off x="568375" y="310364"/>
            <a:ext cx="914400" cy="284908"/>
          </a:xfrm>
          <a:prstGeom prst="rect">
            <a:avLst/>
          </a:prstGeom>
          <a:noFill/>
        </p:spPr>
        <p:txBody>
          <a:bodyPr wrap="none" lIns="0" tIns="0" rIns="0" bIns="0" rtlCol="0" anchor="t">
            <a:noAutofit/>
          </a:bodyPr>
          <a:lstStyle/>
          <a:p>
            <a:pPr marL="0" marR="0" lvl="0" indent="0" algn="l" defTabSz="914400" rtl="0" eaLnBrk="1" fontAlgn="auto" latinLnBrk="0" hangingPunct="1">
              <a:lnSpc>
                <a:spcPct val="100000"/>
              </a:lnSpc>
              <a:spcBef>
                <a:spcPts val="0"/>
              </a:spcBef>
              <a:spcAft>
                <a:spcPts val="0"/>
              </a:spcAft>
              <a:buClr>
                <a:srgbClr val="008795"/>
              </a:buClr>
              <a:buSzTx/>
              <a:buFontTx/>
              <a:buNone/>
              <a:tabLst/>
              <a:defRPr/>
            </a:pPr>
            <a:r>
              <a:rPr kumimoji="0" lang="de-DE" sz="1000" b="0" i="0" u="none" strike="noStrike" kern="1200" cap="none" spc="0" normalizeH="0" baseline="0" noProof="0">
                <a:ln>
                  <a:noFill/>
                </a:ln>
                <a:solidFill>
                  <a:prstClr val="black"/>
                </a:solidFill>
                <a:effectLst/>
                <a:uLnTx/>
                <a:uFillTx/>
                <a:latin typeface="Segoe UI"/>
                <a:ea typeface="+mn-ea"/>
                <a:cs typeface="+mn-cs"/>
                <a:hlinkClick r:id="" action="ppaction://noaction">
                  <a:extLst>
                    <a:ext uri="{A12FA001-AC4F-418D-AE19-62706E023703}">
                      <ahyp:hlinkClr xmlns:ahyp="http://schemas.microsoft.com/office/drawing/2018/hyperlinkcolor" val="tx"/>
                    </a:ext>
                  </a:extLst>
                </a:hlinkClick>
              </a:rPr>
              <a:t>Industrie &amp; Gewerbe</a:t>
            </a:r>
            <a:endParaRPr kumimoji="0" lang="en-GB" sz="1000" b="0" i="0" u="none" strike="noStrike" kern="1200" cap="none" spc="0" normalizeH="0" baseline="0" noProof="0" err="1">
              <a:ln>
                <a:noFill/>
              </a:ln>
              <a:solidFill>
                <a:prstClr val="black"/>
              </a:solidFill>
              <a:effectLst/>
              <a:uLnTx/>
              <a:uFillTx/>
              <a:latin typeface="Segoe UI"/>
              <a:ea typeface="+mn-ea"/>
              <a:cs typeface="+mn-cs"/>
            </a:endParaRPr>
          </a:p>
        </p:txBody>
      </p:sp>
      <p:sp>
        <p:nvSpPr>
          <p:cNvPr id="21" name="Rechteck: abgerundete Ecken 20">
            <a:extLst>
              <a:ext uri="{FF2B5EF4-FFF2-40B4-BE49-F238E27FC236}">
                <a16:creationId xmlns:a16="http://schemas.microsoft.com/office/drawing/2014/main" id="{7AF18943-B257-4344-80CE-26DC9546AA51}"/>
              </a:ext>
            </a:extLst>
          </p:cNvPr>
          <p:cNvSpPr/>
          <p:nvPr/>
        </p:nvSpPr>
        <p:spPr bwMode="gray">
          <a:xfrm>
            <a:off x="3874331" y="1700809"/>
            <a:ext cx="7977299" cy="372194"/>
          </a:xfrm>
          <a:prstGeom prst="roundRect">
            <a:avLst>
              <a:gd name="adj" fmla="val 19599"/>
            </a:avLst>
          </a:prstGeom>
          <a:gradFill flip="none" rotWithShape="1">
            <a:gsLst>
              <a:gs pos="0">
                <a:srgbClr val="9D9D9D"/>
              </a:gs>
              <a:gs pos="47000">
                <a:srgbClr val="9D9D9D"/>
              </a:gs>
              <a:gs pos="53000">
                <a:srgbClr val="D94291"/>
              </a:gs>
              <a:gs pos="100000">
                <a:srgbClr val="D94291"/>
              </a:gs>
            </a:gsLst>
            <a:lin ang="13500000" scaled="1"/>
            <a:tileRect/>
          </a:gradFill>
          <a:ln w="2540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Zuschuss / Kredit</a:t>
            </a:r>
          </a:p>
        </p:txBody>
      </p:sp>
      <p:sp>
        <p:nvSpPr>
          <p:cNvPr id="3" name="Fußzeilenplatzhalter 3">
            <a:extLst>
              <a:ext uri="{FF2B5EF4-FFF2-40B4-BE49-F238E27FC236}">
                <a16:creationId xmlns:a16="http://schemas.microsoft.com/office/drawing/2014/main" id="{AEDF1678-FAE5-67AD-78DE-95B9B6F336CC}"/>
              </a:ext>
            </a:extLst>
          </p:cNvPr>
          <p:cNvSpPr>
            <a:spLocks noGrp="1"/>
          </p:cNvSpPr>
          <p:nvPr>
            <p:ph type="ftr" sz="quarter" idx="11"/>
          </p:nvPr>
        </p:nvSpPr>
        <p:spPr>
          <a:xfrm>
            <a:off x="2279576" y="6373552"/>
            <a:ext cx="8061322" cy="3678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Segoe UI"/>
                <a:ea typeface="+mn-ea"/>
                <a:cs typeface="+mn-cs"/>
              </a:rPr>
              <a:t>DISCLAIMER: Die Informationen in dieser Förderübersicht werden ständig geprüft und aktualisiert. Trotz aller Sorgfalt können sich Angaben inzwischen geändert haben. Eine Haftung oder Garantie für die Aktualität, Richtigkeit und Vollständigkeit der zur Verfügung gestellten Informationen kann deshalb nicht übernommen werden. Die Deutsche Unternehmensinitiative Energieeffizienz e. V. (DENEFF) übernimmt keine Haftung für Informationen auf Webseiten Dritter, die per Link mit dieser Präsentation verbunden sind.</a:t>
            </a:r>
          </a:p>
        </p:txBody>
      </p:sp>
      <p:pic>
        <p:nvPicPr>
          <p:cNvPr id="6" name="Grafik 5">
            <a:extLst>
              <a:ext uri="{FF2B5EF4-FFF2-40B4-BE49-F238E27FC236}">
                <a16:creationId xmlns:a16="http://schemas.microsoft.com/office/drawing/2014/main" id="{F14E2C2F-83E5-1B94-6FE1-9F82CCB0521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466359" y="6408284"/>
            <a:ext cx="525185" cy="304946"/>
          </a:xfrm>
          <a:prstGeom prst="rect">
            <a:avLst/>
          </a:prstGeom>
        </p:spPr>
      </p:pic>
      <p:grpSp>
        <p:nvGrpSpPr>
          <p:cNvPr id="12" name="Gruppieren 11">
            <a:extLst>
              <a:ext uri="{FF2B5EF4-FFF2-40B4-BE49-F238E27FC236}">
                <a16:creationId xmlns:a16="http://schemas.microsoft.com/office/drawing/2014/main" id="{6F20FC64-4C77-4F39-B834-757526CF3E26}"/>
              </a:ext>
            </a:extLst>
          </p:cNvPr>
          <p:cNvGrpSpPr/>
          <p:nvPr/>
        </p:nvGrpSpPr>
        <p:grpSpPr>
          <a:xfrm>
            <a:off x="3795769" y="1625525"/>
            <a:ext cx="504056" cy="504056"/>
            <a:chOff x="2246051" y="5974"/>
            <a:chExt cx="504056" cy="504056"/>
          </a:xfrm>
        </p:grpSpPr>
        <p:sp>
          <p:nvSpPr>
            <p:cNvPr id="13" name="Ellipse 12">
              <a:extLst>
                <a:ext uri="{FF2B5EF4-FFF2-40B4-BE49-F238E27FC236}">
                  <a16:creationId xmlns:a16="http://schemas.microsoft.com/office/drawing/2014/main" id="{1D0A46DF-5AAD-476E-A7CC-581D587D7267}"/>
                </a:ext>
              </a:extLst>
            </p:cNvPr>
            <p:cNvSpPr/>
            <p:nvPr/>
          </p:nvSpPr>
          <p:spPr>
            <a:xfrm>
              <a:off x="2246051" y="5974"/>
              <a:ext cx="504056" cy="504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4" name="Grafik 13" descr="Geld mit einfarbiger Füllung">
              <a:extLst>
                <a:ext uri="{FF2B5EF4-FFF2-40B4-BE49-F238E27FC236}">
                  <a16:creationId xmlns:a16="http://schemas.microsoft.com/office/drawing/2014/main" id="{5BA272F9-4A80-4CE0-BF06-ED0EBC7520D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324613" y="62894"/>
              <a:ext cx="353486" cy="353486"/>
            </a:xfrm>
            <a:prstGeom prst="rect">
              <a:avLst/>
            </a:prstGeom>
          </p:spPr>
        </p:pic>
      </p:grpSp>
      <p:sp>
        <p:nvSpPr>
          <p:cNvPr id="4" name="Textfeld 3">
            <a:extLst>
              <a:ext uri="{FF2B5EF4-FFF2-40B4-BE49-F238E27FC236}">
                <a16:creationId xmlns:a16="http://schemas.microsoft.com/office/drawing/2014/main" id="{E63AF6D7-7F3A-AE30-5255-E0ACD5832B16}"/>
              </a:ext>
            </a:extLst>
          </p:cNvPr>
          <p:cNvSpPr txBox="1"/>
          <p:nvPr/>
        </p:nvSpPr>
        <p:spPr>
          <a:xfrm>
            <a:off x="10340898" y="6377432"/>
            <a:ext cx="1219200" cy="363936"/>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
                <a:srgbClr val="008795"/>
              </a:buClr>
              <a:buSzTx/>
              <a:buFontTx/>
              <a:buNone/>
              <a:tabLst/>
              <a:defRPr/>
            </a:pPr>
            <a:r>
              <a:rPr kumimoji="0" lang="de-DE" sz="800" b="0" i="0" u="none" strike="noStrike" kern="1200" cap="none" spc="0" normalizeH="0" baseline="30000" noProof="0">
                <a:ln>
                  <a:noFill/>
                </a:ln>
                <a:solidFill>
                  <a:prstClr val="black"/>
                </a:solidFill>
                <a:effectLst/>
                <a:uLnTx/>
                <a:uFillTx/>
                <a:latin typeface="Segoe UI"/>
                <a:ea typeface="+mn-ea"/>
                <a:cs typeface="+mn-cs"/>
              </a:rPr>
              <a:t>1</a:t>
            </a:r>
            <a:r>
              <a:rPr kumimoji="0" lang="de-DE" sz="800" b="0" i="0" u="none" strike="noStrike" kern="1200" cap="none" spc="0" normalizeH="0" baseline="0" noProof="0">
                <a:ln>
                  <a:noFill/>
                </a:ln>
                <a:solidFill>
                  <a:prstClr val="black"/>
                </a:solidFill>
                <a:effectLst/>
                <a:uLnTx/>
                <a:uFillTx/>
                <a:latin typeface="Segoe UI"/>
                <a:ea typeface="+mn-ea"/>
                <a:cs typeface="+mn-cs"/>
              </a:rPr>
              <a:t> KMU-Definition der </a:t>
            </a:r>
            <a:r>
              <a:rPr kumimoji="0" lang="de-DE" sz="800" b="0" i="0" u="none" strike="noStrike" kern="1200" cap="none" spc="0" normalizeH="0" baseline="0" noProof="0">
                <a:ln>
                  <a:noFill/>
                </a:ln>
                <a:solidFill>
                  <a:prstClr val="black"/>
                </a:solidFill>
                <a:effectLst/>
                <a:uLnTx/>
                <a:uFillTx/>
                <a:latin typeface="Segoe UI"/>
                <a:ea typeface="+mn-ea"/>
                <a:cs typeface="+mn-cs"/>
                <a:hlinkClick r:id="rId13"/>
              </a:rPr>
              <a:t>EU-Empfehlung 2003/361/EG </a:t>
            </a:r>
            <a:r>
              <a:rPr kumimoji="0" lang="de-DE" sz="800" b="0" i="0" u="none" strike="noStrike" kern="1200" cap="none" spc="0" normalizeH="0" baseline="0" noProof="0">
                <a:ln>
                  <a:noFill/>
                </a:ln>
                <a:solidFill>
                  <a:prstClr val="black"/>
                </a:solidFill>
                <a:effectLst/>
                <a:uLnTx/>
                <a:uFillTx/>
                <a:latin typeface="Segoe UI"/>
                <a:ea typeface="+mn-ea"/>
                <a:cs typeface="+mn-cs"/>
              </a:rPr>
              <a:t>der EU-Kommission</a:t>
            </a:r>
            <a:endParaRPr kumimoji="0" lang="en-GB" sz="800" b="0" i="0" u="none" strike="noStrike" kern="1200" cap="none" spc="0" normalizeH="0" baseline="0" noProof="0" err="1">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030881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92885E-3D97-45EE-8081-154E4201EA01}"/>
              </a:ext>
            </a:extLst>
          </p:cNvPr>
          <p:cNvSpPr>
            <a:spLocks noGrp="1"/>
          </p:cNvSpPr>
          <p:nvPr>
            <p:ph type="title"/>
          </p:nvPr>
        </p:nvSpPr>
        <p:spPr/>
        <p:txBody>
          <a:bodyPr/>
          <a:lstStyle/>
          <a:p>
            <a:r>
              <a:rPr lang="de-DE"/>
              <a:t>Bundesförderung Energie- und Ressourceneffizienz in der Wirtschaft – </a:t>
            </a:r>
            <a:br>
              <a:rPr lang="de-DE"/>
            </a:br>
            <a:r>
              <a:rPr lang="de-DE"/>
              <a:t>Modul 2: Prozesswärme aus Erneuerbaren Energien</a:t>
            </a:r>
            <a:endParaRPr lang="en-GB"/>
          </a:p>
        </p:txBody>
      </p:sp>
      <p:graphicFrame>
        <p:nvGraphicFramePr>
          <p:cNvPr id="8" name="Inhaltsplatzhalter 7">
            <a:hlinkClick r:id="" action="ppaction://noaction" highlightClick="1"/>
            <a:extLst>
              <a:ext uri="{FF2B5EF4-FFF2-40B4-BE49-F238E27FC236}">
                <a16:creationId xmlns:a16="http://schemas.microsoft.com/office/drawing/2014/main" id="{A436C903-3416-4159-9C9C-162FE01CA096}"/>
              </a:ext>
            </a:extLst>
          </p:cNvPr>
          <p:cNvGraphicFramePr>
            <a:graphicFrameLocks noGrp="1"/>
          </p:cNvGraphicFramePr>
          <p:nvPr>
            <p:ph idx="1"/>
          </p:nvPr>
        </p:nvGraphicFramePr>
        <p:xfrm>
          <a:off x="547360" y="2168737"/>
          <a:ext cx="11309680" cy="40685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Foliennummernplatzhalter 4">
            <a:extLst>
              <a:ext uri="{FF2B5EF4-FFF2-40B4-BE49-F238E27FC236}">
                <a16:creationId xmlns:a16="http://schemas.microsoft.com/office/drawing/2014/main" id="{956B46B6-DB94-4332-977B-B2D3BB8D6063}"/>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6A2A10-B827-4CCE-9EB2-A13B5A721707}" type="slidenum">
              <a:rPr kumimoji="0" lang="de-DE" sz="10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de-DE" sz="1000" b="0" i="0" u="none" strike="noStrike" kern="1200" cap="none" spc="0" normalizeH="0" baseline="0" noProof="0">
              <a:ln>
                <a:noFill/>
              </a:ln>
              <a:solidFill>
                <a:prstClr val="black"/>
              </a:solidFill>
              <a:effectLst/>
              <a:uLnTx/>
              <a:uFillTx/>
              <a:latin typeface="Segoe UI"/>
              <a:ea typeface="+mn-ea"/>
              <a:cs typeface="+mn-cs"/>
            </a:endParaRPr>
          </a:p>
        </p:txBody>
      </p:sp>
      <p:sp>
        <p:nvSpPr>
          <p:cNvPr id="15" name="Rechteck: abgerundete Ecken 14">
            <a:extLst>
              <a:ext uri="{FF2B5EF4-FFF2-40B4-BE49-F238E27FC236}">
                <a16:creationId xmlns:a16="http://schemas.microsoft.com/office/drawing/2014/main" id="{E251C655-D0ED-4A17-AFC8-9A676441433F}"/>
              </a:ext>
            </a:extLst>
          </p:cNvPr>
          <p:cNvSpPr/>
          <p:nvPr/>
        </p:nvSpPr>
        <p:spPr bwMode="gray">
          <a:xfrm>
            <a:off x="623392" y="1700809"/>
            <a:ext cx="3096344" cy="372194"/>
          </a:xfrm>
          <a:prstGeom prst="roundRect">
            <a:avLst>
              <a:gd name="adj" fmla="val 19599"/>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 </a:t>
            </a:r>
            <a:r>
              <a:rPr kumimoji="0" lang="de-DE" sz="1800" b="1"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rPr>
              <a:t>C.Noll</a:t>
            </a:r>
            <a:endParaRPr kumimoji="0" lang="de-DE" sz="18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nvGrpSpPr>
          <p:cNvPr id="16" name="Gruppieren 15">
            <a:extLst>
              <a:ext uri="{FF2B5EF4-FFF2-40B4-BE49-F238E27FC236}">
                <a16:creationId xmlns:a16="http://schemas.microsoft.com/office/drawing/2014/main" id="{D290039D-AD81-428B-AB88-801BB15DE96C}"/>
              </a:ext>
            </a:extLst>
          </p:cNvPr>
          <p:cNvGrpSpPr/>
          <p:nvPr/>
        </p:nvGrpSpPr>
        <p:grpSpPr>
          <a:xfrm>
            <a:off x="547359" y="1628775"/>
            <a:ext cx="504056" cy="504056"/>
            <a:chOff x="2208090" y="3644203"/>
            <a:chExt cx="504056" cy="504056"/>
          </a:xfrm>
        </p:grpSpPr>
        <p:sp>
          <p:nvSpPr>
            <p:cNvPr id="17" name="Ellipse 16">
              <a:extLst>
                <a:ext uri="{FF2B5EF4-FFF2-40B4-BE49-F238E27FC236}">
                  <a16:creationId xmlns:a16="http://schemas.microsoft.com/office/drawing/2014/main" id="{8BE80A81-6B9A-4C8F-91B3-FD817ABDF367}"/>
                </a:ext>
              </a:extLst>
            </p:cNvPr>
            <p:cNvSpPr/>
            <p:nvPr/>
          </p:nvSpPr>
          <p:spPr>
            <a:xfrm>
              <a:off x="2208090" y="3644203"/>
              <a:ext cx="504056" cy="504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8" name="Grafik 17" descr="Held männlich mit einfarbiger Füllung">
              <a:extLst>
                <a:ext uri="{FF2B5EF4-FFF2-40B4-BE49-F238E27FC236}">
                  <a16:creationId xmlns:a16="http://schemas.microsoft.com/office/drawing/2014/main" id="{15515342-63C0-435C-97D4-64F95D1902D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280098" y="3724140"/>
              <a:ext cx="345800" cy="345800"/>
            </a:xfrm>
            <a:prstGeom prst="rect">
              <a:avLst/>
            </a:prstGeom>
          </p:spPr>
        </p:pic>
      </p:grpSp>
      <p:cxnSp>
        <p:nvCxnSpPr>
          <p:cNvPr id="19" name="Gerader Verbinder 18">
            <a:extLst>
              <a:ext uri="{FF2B5EF4-FFF2-40B4-BE49-F238E27FC236}">
                <a16:creationId xmlns:a16="http://schemas.microsoft.com/office/drawing/2014/main" id="{4C32347F-3977-47FD-8189-AE49A44DA932}"/>
              </a:ext>
            </a:extLst>
          </p:cNvPr>
          <p:cNvCxnSpPr>
            <a:cxnSpLocks/>
          </p:cNvCxnSpPr>
          <p:nvPr/>
        </p:nvCxnSpPr>
        <p:spPr>
          <a:xfrm>
            <a:off x="0" y="404664"/>
            <a:ext cx="407368"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982BB180-EFC3-4ADD-A169-DB5E93678ADE}"/>
              </a:ext>
            </a:extLst>
          </p:cNvPr>
          <p:cNvSpPr txBox="1"/>
          <p:nvPr/>
        </p:nvSpPr>
        <p:spPr>
          <a:xfrm>
            <a:off x="568375" y="310364"/>
            <a:ext cx="914400" cy="284908"/>
          </a:xfrm>
          <a:prstGeom prst="rect">
            <a:avLst/>
          </a:prstGeom>
          <a:noFill/>
        </p:spPr>
        <p:txBody>
          <a:bodyPr wrap="none" lIns="0" tIns="0" rIns="0" bIns="0" rtlCol="0" anchor="t">
            <a:noAutofit/>
          </a:bodyPr>
          <a:lstStyle/>
          <a:p>
            <a:pPr marL="0" marR="0" lvl="0" indent="0" algn="l" defTabSz="914400" rtl="0" eaLnBrk="1" fontAlgn="auto" latinLnBrk="0" hangingPunct="1">
              <a:lnSpc>
                <a:spcPct val="100000"/>
              </a:lnSpc>
              <a:spcBef>
                <a:spcPts val="0"/>
              </a:spcBef>
              <a:spcAft>
                <a:spcPts val="0"/>
              </a:spcAft>
              <a:buClr>
                <a:srgbClr val="008795"/>
              </a:buClr>
              <a:buSzTx/>
              <a:buFontTx/>
              <a:buNone/>
              <a:tabLst/>
              <a:defRPr/>
            </a:pPr>
            <a:r>
              <a:rPr kumimoji="0" lang="de-DE" sz="1000" b="0" i="0" u="none" strike="noStrike" kern="1200" cap="none" spc="0" normalizeH="0" baseline="0" noProof="0">
                <a:ln>
                  <a:noFill/>
                </a:ln>
                <a:solidFill>
                  <a:prstClr val="black"/>
                </a:solidFill>
                <a:effectLst/>
                <a:uLnTx/>
                <a:uFillTx/>
                <a:latin typeface="Segoe UI"/>
                <a:ea typeface="+mn-ea"/>
                <a:cs typeface="+mn-cs"/>
                <a:hlinkClick r:id="" action="ppaction://noaction">
                  <a:extLst>
                    <a:ext uri="{A12FA001-AC4F-418D-AE19-62706E023703}">
                      <ahyp:hlinkClr xmlns:ahyp="http://schemas.microsoft.com/office/drawing/2018/hyperlinkcolor" val="tx"/>
                    </a:ext>
                  </a:extLst>
                </a:hlinkClick>
              </a:rPr>
              <a:t>Industrie &amp; Gewerbe</a:t>
            </a:r>
            <a:endParaRPr kumimoji="0" lang="en-GB" sz="1000" b="0" i="0" u="none" strike="noStrike" kern="1200" cap="none" spc="0" normalizeH="0" baseline="0" noProof="0" err="1">
              <a:ln>
                <a:noFill/>
              </a:ln>
              <a:solidFill>
                <a:prstClr val="black"/>
              </a:solidFill>
              <a:effectLst/>
              <a:uLnTx/>
              <a:uFillTx/>
              <a:latin typeface="Segoe UI"/>
              <a:ea typeface="+mn-ea"/>
              <a:cs typeface="+mn-cs"/>
            </a:endParaRPr>
          </a:p>
        </p:txBody>
      </p:sp>
      <p:sp>
        <p:nvSpPr>
          <p:cNvPr id="21" name="Rechteck: abgerundete Ecken 20">
            <a:extLst>
              <a:ext uri="{FF2B5EF4-FFF2-40B4-BE49-F238E27FC236}">
                <a16:creationId xmlns:a16="http://schemas.microsoft.com/office/drawing/2014/main" id="{7AF18943-B257-4344-80CE-26DC9546AA51}"/>
              </a:ext>
            </a:extLst>
          </p:cNvPr>
          <p:cNvSpPr/>
          <p:nvPr/>
        </p:nvSpPr>
        <p:spPr bwMode="gray">
          <a:xfrm>
            <a:off x="3874331" y="1700809"/>
            <a:ext cx="7977299" cy="372194"/>
          </a:xfrm>
          <a:prstGeom prst="roundRect">
            <a:avLst>
              <a:gd name="adj" fmla="val 19599"/>
            </a:avLst>
          </a:prstGeom>
          <a:gradFill flip="none" rotWithShape="1">
            <a:gsLst>
              <a:gs pos="0">
                <a:srgbClr val="9D9D9D"/>
              </a:gs>
              <a:gs pos="47000">
                <a:srgbClr val="9D9D9D"/>
              </a:gs>
              <a:gs pos="53000">
                <a:srgbClr val="D94291"/>
              </a:gs>
              <a:gs pos="100000">
                <a:srgbClr val="D94291"/>
              </a:gs>
            </a:gsLst>
            <a:lin ang="13500000" scaled="1"/>
            <a:tileRect/>
          </a:gradFill>
          <a:ln w="2540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Zuschuss / Kredit</a:t>
            </a:r>
          </a:p>
        </p:txBody>
      </p:sp>
      <p:grpSp>
        <p:nvGrpSpPr>
          <p:cNvPr id="12" name="Gruppieren 11">
            <a:extLst>
              <a:ext uri="{FF2B5EF4-FFF2-40B4-BE49-F238E27FC236}">
                <a16:creationId xmlns:a16="http://schemas.microsoft.com/office/drawing/2014/main" id="{6F20FC64-4C77-4F39-B834-757526CF3E26}"/>
              </a:ext>
            </a:extLst>
          </p:cNvPr>
          <p:cNvGrpSpPr/>
          <p:nvPr/>
        </p:nvGrpSpPr>
        <p:grpSpPr>
          <a:xfrm>
            <a:off x="3795769" y="1625525"/>
            <a:ext cx="504056" cy="504056"/>
            <a:chOff x="2246051" y="5974"/>
            <a:chExt cx="504056" cy="504056"/>
          </a:xfrm>
        </p:grpSpPr>
        <p:sp>
          <p:nvSpPr>
            <p:cNvPr id="13" name="Ellipse 12">
              <a:extLst>
                <a:ext uri="{FF2B5EF4-FFF2-40B4-BE49-F238E27FC236}">
                  <a16:creationId xmlns:a16="http://schemas.microsoft.com/office/drawing/2014/main" id="{1D0A46DF-5AAD-476E-A7CC-581D587D7267}"/>
                </a:ext>
              </a:extLst>
            </p:cNvPr>
            <p:cNvSpPr/>
            <p:nvPr/>
          </p:nvSpPr>
          <p:spPr>
            <a:xfrm>
              <a:off x="2246051" y="5974"/>
              <a:ext cx="504056" cy="504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4" name="Grafik 13" descr="Geld mit einfarbiger Füllung">
              <a:extLst>
                <a:ext uri="{FF2B5EF4-FFF2-40B4-BE49-F238E27FC236}">
                  <a16:creationId xmlns:a16="http://schemas.microsoft.com/office/drawing/2014/main" id="{5BA272F9-4A80-4CE0-BF06-ED0EBC7520D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324613" y="62894"/>
              <a:ext cx="353486" cy="353486"/>
            </a:xfrm>
            <a:prstGeom prst="rect">
              <a:avLst/>
            </a:prstGeom>
          </p:spPr>
        </p:pic>
      </p:grpSp>
      <p:pic>
        <p:nvPicPr>
          <p:cNvPr id="6" name="Grafik 5">
            <a:extLst>
              <a:ext uri="{FF2B5EF4-FFF2-40B4-BE49-F238E27FC236}">
                <a16:creationId xmlns:a16="http://schemas.microsoft.com/office/drawing/2014/main" id="{A41FB66A-3627-E7EC-3598-CF1FCBA49C8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466359" y="6408284"/>
            <a:ext cx="525185" cy="304946"/>
          </a:xfrm>
          <a:prstGeom prst="rect">
            <a:avLst/>
          </a:prstGeom>
        </p:spPr>
      </p:pic>
      <p:sp>
        <p:nvSpPr>
          <p:cNvPr id="4" name="Fußzeilenplatzhalter 3">
            <a:extLst>
              <a:ext uri="{FF2B5EF4-FFF2-40B4-BE49-F238E27FC236}">
                <a16:creationId xmlns:a16="http://schemas.microsoft.com/office/drawing/2014/main" id="{1C40A306-31D3-498C-CA7D-E0377328C1C5}"/>
              </a:ext>
            </a:extLst>
          </p:cNvPr>
          <p:cNvSpPr>
            <a:spLocks noGrp="1"/>
          </p:cNvSpPr>
          <p:nvPr>
            <p:ph type="ftr" sz="quarter" idx="11"/>
          </p:nvPr>
        </p:nvSpPr>
        <p:spPr>
          <a:xfrm>
            <a:off x="2279576" y="6373552"/>
            <a:ext cx="8061322" cy="3678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Segoe UI"/>
                <a:ea typeface="+mn-ea"/>
                <a:cs typeface="+mn-cs"/>
              </a:rPr>
              <a:t>DISCLAIMER: Die Informationen in dieser Förderübersicht werden ständig geprüft und aktualisiert. Trotz aller Sorgfalt können sich Angaben inzwischen geändert haben. Eine Haftung oder Garantie für die Aktualität, Richtigkeit und Vollständigkeit der zur Verfügung gestellten Informationen kann deshalb nicht übernommen werden. Die Deutsche Unternehmensinitiative Energieeffizienz e. V. (DENEFF) übernimmt keine Haftung für Informationen auf Webseiten Dritter, die per Link mit dieser Präsentation verbunden sind.</a:t>
            </a:r>
          </a:p>
        </p:txBody>
      </p:sp>
      <p:sp>
        <p:nvSpPr>
          <p:cNvPr id="7" name="Textfeld 6">
            <a:extLst>
              <a:ext uri="{FF2B5EF4-FFF2-40B4-BE49-F238E27FC236}">
                <a16:creationId xmlns:a16="http://schemas.microsoft.com/office/drawing/2014/main" id="{6C723AFB-A9FD-C959-7CC6-33726DC64062}"/>
              </a:ext>
            </a:extLst>
          </p:cNvPr>
          <p:cNvSpPr txBox="1"/>
          <p:nvPr/>
        </p:nvSpPr>
        <p:spPr>
          <a:xfrm>
            <a:off x="10340898" y="6377432"/>
            <a:ext cx="1219200" cy="363936"/>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
                <a:srgbClr val="008795"/>
              </a:buClr>
              <a:buSzTx/>
              <a:buFontTx/>
              <a:buNone/>
              <a:tabLst/>
              <a:defRPr/>
            </a:pPr>
            <a:r>
              <a:rPr kumimoji="0" lang="de-DE" sz="800" b="0" i="0" u="none" strike="noStrike" kern="1200" cap="none" spc="0" normalizeH="0" baseline="30000" noProof="0">
                <a:ln>
                  <a:noFill/>
                </a:ln>
                <a:solidFill>
                  <a:prstClr val="black"/>
                </a:solidFill>
                <a:effectLst/>
                <a:uLnTx/>
                <a:uFillTx/>
                <a:latin typeface="Segoe UI"/>
                <a:ea typeface="+mn-ea"/>
                <a:cs typeface="+mn-cs"/>
              </a:rPr>
              <a:t>1</a:t>
            </a:r>
            <a:r>
              <a:rPr kumimoji="0" lang="de-DE" sz="800" b="0" i="0" u="none" strike="noStrike" kern="1200" cap="none" spc="0" normalizeH="0" baseline="0" noProof="0">
                <a:ln>
                  <a:noFill/>
                </a:ln>
                <a:solidFill>
                  <a:prstClr val="black"/>
                </a:solidFill>
                <a:effectLst/>
                <a:uLnTx/>
                <a:uFillTx/>
                <a:latin typeface="Segoe UI"/>
                <a:ea typeface="+mn-ea"/>
                <a:cs typeface="+mn-cs"/>
              </a:rPr>
              <a:t> KMU-Definition der </a:t>
            </a:r>
            <a:r>
              <a:rPr kumimoji="0" lang="de-DE" sz="800" b="0" i="0" u="none" strike="noStrike" kern="1200" cap="none" spc="0" normalizeH="0" baseline="0" noProof="0">
                <a:ln>
                  <a:noFill/>
                </a:ln>
                <a:solidFill>
                  <a:prstClr val="black"/>
                </a:solidFill>
                <a:effectLst/>
                <a:uLnTx/>
                <a:uFillTx/>
                <a:latin typeface="Segoe UI"/>
                <a:ea typeface="+mn-ea"/>
                <a:cs typeface="+mn-cs"/>
                <a:hlinkClick r:id="rId13"/>
              </a:rPr>
              <a:t>EU-Empfehlung 2003/361/EG </a:t>
            </a:r>
            <a:r>
              <a:rPr kumimoji="0" lang="de-DE" sz="800" b="0" i="0" u="none" strike="noStrike" kern="1200" cap="none" spc="0" normalizeH="0" baseline="0" noProof="0">
                <a:ln>
                  <a:noFill/>
                </a:ln>
                <a:solidFill>
                  <a:prstClr val="black"/>
                </a:solidFill>
                <a:effectLst/>
                <a:uLnTx/>
                <a:uFillTx/>
                <a:latin typeface="Segoe UI"/>
                <a:ea typeface="+mn-ea"/>
                <a:cs typeface="+mn-cs"/>
              </a:rPr>
              <a:t>der EU-Kommission</a:t>
            </a:r>
            <a:endParaRPr kumimoji="0" lang="en-GB" sz="800" b="0" i="0" u="none" strike="noStrike" kern="1200" cap="none" spc="0" normalizeH="0" baseline="0" noProof="0" err="1">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8831578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92885E-3D97-45EE-8081-154E4201EA01}"/>
              </a:ext>
            </a:extLst>
          </p:cNvPr>
          <p:cNvSpPr>
            <a:spLocks noGrp="1"/>
          </p:cNvSpPr>
          <p:nvPr>
            <p:ph type="title"/>
          </p:nvPr>
        </p:nvSpPr>
        <p:spPr/>
        <p:txBody>
          <a:bodyPr/>
          <a:lstStyle/>
          <a:p>
            <a:r>
              <a:rPr lang="de-DE"/>
              <a:t>Bundesförderung Energie- und Ressourceneffizienz in der Wirtschaft – </a:t>
            </a:r>
            <a:br>
              <a:rPr lang="de-DE"/>
            </a:br>
            <a:r>
              <a:rPr lang="de-DE"/>
              <a:t>Modul 3: MSR, Sensorik und Energiemanagementsoftware</a:t>
            </a:r>
            <a:endParaRPr lang="en-GB"/>
          </a:p>
        </p:txBody>
      </p:sp>
      <p:graphicFrame>
        <p:nvGraphicFramePr>
          <p:cNvPr id="8" name="Inhaltsplatzhalter 7">
            <a:hlinkClick r:id="" action="ppaction://noaction" highlightClick="1"/>
            <a:extLst>
              <a:ext uri="{FF2B5EF4-FFF2-40B4-BE49-F238E27FC236}">
                <a16:creationId xmlns:a16="http://schemas.microsoft.com/office/drawing/2014/main" id="{A436C903-3416-4159-9C9C-162FE01CA096}"/>
              </a:ext>
            </a:extLst>
          </p:cNvPr>
          <p:cNvGraphicFramePr>
            <a:graphicFrameLocks noGrp="1"/>
          </p:cNvGraphicFramePr>
          <p:nvPr>
            <p:ph idx="1"/>
          </p:nvPr>
        </p:nvGraphicFramePr>
        <p:xfrm>
          <a:off x="547360" y="2168737"/>
          <a:ext cx="11309680" cy="40685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Foliennummernplatzhalter 4">
            <a:extLst>
              <a:ext uri="{FF2B5EF4-FFF2-40B4-BE49-F238E27FC236}">
                <a16:creationId xmlns:a16="http://schemas.microsoft.com/office/drawing/2014/main" id="{956B46B6-DB94-4332-977B-B2D3BB8D6063}"/>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6A2A10-B827-4CCE-9EB2-A13B5A721707}" type="slidenum">
              <a:rPr kumimoji="0" lang="de-DE" sz="10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de-DE" sz="1000" b="0" i="0" u="none" strike="noStrike" kern="1200" cap="none" spc="0" normalizeH="0" baseline="0" noProof="0">
              <a:ln>
                <a:noFill/>
              </a:ln>
              <a:solidFill>
                <a:prstClr val="black"/>
              </a:solidFill>
              <a:effectLst/>
              <a:uLnTx/>
              <a:uFillTx/>
              <a:latin typeface="Segoe UI"/>
              <a:ea typeface="+mn-ea"/>
              <a:cs typeface="+mn-cs"/>
            </a:endParaRPr>
          </a:p>
        </p:txBody>
      </p:sp>
      <p:sp>
        <p:nvSpPr>
          <p:cNvPr id="15" name="Rechteck: abgerundete Ecken 14">
            <a:extLst>
              <a:ext uri="{FF2B5EF4-FFF2-40B4-BE49-F238E27FC236}">
                <a16:creationId xmlns:a16="http://schemas.microsoft.com/office/drawing/2014/main" id="{E251C655-D0ED-4A17-AFC8-9A676441433F}"/>
              </a:ext>
            </a:extLst>
          </p:cNvPr>
          <p:cNvSpPr/>
          <p:nvPr/>
        </p:nvSpPr>
        <p:spPr bwMode="gray">
          <a:xfrm>
            <a:off x="623392" y="1700809"/>
            <a:ext cx="3096344" cy="372194"/>
          </a:xfrm>
          <a:prstGeom prst="roundRect">
            <a:avLst>
              <a:gd name="adj" fmla="val 19599"/>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 </a:t>
            </a:r>
            <a:r>
              <a:rPr kumimoji="0" lang="de-DE" sz="1800" b="1"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rPr>
              <a:t>C.Noll</a:t>
            </a:r>
            <a:endParaRPr kumimoji="0" lang="de-DE" sz="18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nvGrpSpPr>
          <p:cNvPr id="16" name="Gruppieren 15">
            <a:extLst>
              <a:ext uri="{FF2B5EF4-FFF2-40B4-BE49-F238E27FC236}">
                <a16:creationId xmlns:a16="http://schemas.microsoft.com/office/drawing/2014/main" id="{D290039D-AD81-428B-AB88-801BB15DE96C}"/>
              </a:ext>
            </a:extLst>
          </p:cNvPr>
          <p:cNvGrpSpPr/>
          <p:nvPr/>
        </p:nvGrpSpPr>
        <p:grpSpPr>
          <a:xfrm>
            <a:off x="547359" y="1628775"/>
            <a:ext cx="504056" cy="504056"/>
            <a:chOff x="2208090" y="3644203"/>
            <a:chExt cx="504056" cy="504056"/>
          </a:xfrm>
        </p:grpSpPr>
        <p:sp>
          <p:nvSpPr>
            <p:cNvPr id="17" name="Ellipse 16">
              <a:extLst>
                <a:ext uri="{FF2B5EF4-FFF2-40B4-BE49-F238E27FC236}">
                  <a16:creationId xmlns:a16="http://schemas.microsoft.com/office/drawing/2014/main" id="{8BE80A81-6B9A-4C8F-91B3-FD817ABDF367}"/>
                </a:ext>
              </a:extLst>
            </p:cNvPr>
            <p:cNvSpPr/>
            <p:nvPr/>
          </p:nvSpPr>
          <p:spPr>
            <a:xfrm>
              <a:off x="2208090" y="3644203"/>
              <a:ext cx="504056" cy="504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8" name="Grafik 17" descr="Held männlich mit einfarbiger Füllung">
              <a:extLst>
                <a:ext uri="{FF2B5EF4-FFF2-40B4-BE49-F238E27FC236}">
                  <a16:creationId xmlns:a16="http://schemas.microsoft.com/office/drawing/2014/main" id="{15515342-63C0-435C-97D4-64F95D1902D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280098" y="3724140"/>
              <a:ext cx="345800" cy="345800"/>
            </a:xfrm>
            <a:prstGeom prst="rect">
              <a:avLst/>
            </a:prstGeom>
          </p:spPr>
        </p:pic>
      </p:grpSp>
      <p:cxnSp>
        <p:nvCxnSpPr>
          <p:cNvPr id="19" name="Gerader Verbinder 18">
            <a:extLst>
              <a:ext uri="{FF2B5EF4-FFF2-40B4-BE49-F238E27FC236}">
                <a16:creationId xmlns:a16="http://schemas.microsoft.com/office/drawing/2014/main" id="{4C32347F-3977-47FD-8189-AE49A44DA932}"/>
              </a:ext>
            </a:extLst>
          </p:cNvPr>
          <p:cNvCxnSpPr>
            <a:cxnSpLocks/>
          </p:cNvCxnSpPr>
          <p:nvPr/>
        </p:nvCxnSpPr>
        <p:spPr>
          <a:xfrm>
            <a:off x="0" y="404664"/>
            <a:ext cx="407368"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982BB180-EFC3-4ADD-A169-DB5E93678ADE}"/>
              </a:ext>
            </a:extLst>
          </p:cNvPr>
          <p:cNvSpPr txBox="1"/>
          <p:nvPr/>
        </p:nvSpPr>
        <p:spPr>
          <a:xfrm>
            <a:off x="568375" y="310364"/>
            <a:ext cx="914400" cy="284908"/>
          </a:xfrm>
          <a:prstGeom prst="rect">
            <a:avLst/>
          </a:prstGeom>
          <a:noFill/>
        </p:spPr>
        <p:txBody>
          <a:bodyPr wrap="none" lIns="0" tIns="0" rIns="0" bIns="0" rtlCol="0" anchor="t">
            <a:noAutofit/>
          </a:bodyPr>
          <a:lstStyle/>
          <a:p>
            <a:pPr marL="0" marR="0" lvl="0" indent="0" algn="l" defTabSz="914400" rtl="0" eaLnBrk="1" fontAlgn="auto" latinLnBrk="0" hangingPunct="1">
              <a:lnSpc>
                <a:spcPct val="100000"/>
              </a:lnSpc>
              <a:spcBef>
                <a:spcPts val="0"/>
              </a:spcBef>
              <a:spcAft>
                <a:spcPts val="0"/>
              </a:spcAft>
              <a:buClr>
                <a:srgbClr val="008795"/>
              </a:buClr>
              <a:buSzTx/>
              <a:buFontTx/>
              <a:buNone/>
              <a:tabLst/>
              <a:defRPr/>
            </a:pPr>
            <a:r>
              <a:rPr kumimoji="0" lang="de-DE" sz="1000" b="0" i="0" u="none" strike="noStrike" kern="1200" cap="none" spc="0" normalizeH="0" baseline="0" noProof="0">
                <a:ln>
                  <a:noFill/>
                </a:ln>
                <a:solidFill>
                  <a:prstClr val="black"/>
                </a:solidFill>
                <a:effectLst/>
                <a:uLnTx/>
                <a:uFillTx/>
                <a:latin typeface="Segoe UI"/>
                <a:ea typeface="+mn-ea"/>
                <a:cs typeface="+mn-cs"/>
                <a:hlinkClick r:id="" action="ppaction://noaction">
                  <a:extLst>
                    <a:ext uri="{A12FA001-AC4F-418D-AE19-62706E023703}">
                      <ahyp:hlinkClr xmlns:ahyp="http://schemas.microsoft.com/office/drawing/2018/hyperlinkcolor" val="tx"/>
                    </a:ext>
                  </a:extLst>
                </a:hlinkClick>
              </a:rPr>
              <a:t>Industrie &amp; Gewerbe</a:t>
            </a:r>
            <a:endParaRPr kumimoji="0" lang="en-GB" sz="1000" b="0" i="0" u="none" strike="noStrike" kern="1200" cap="none" spc="0" normalizeH="0" baseline="0" noProof="0" err="1">
              <a:ln>
                <a:noFill/>
              </a:ln>
              <a:solidFill>
                <a:prstClr val="black"/>
              </a:solidFill>
              <a:effectLst/>
              <a:uLnTx/>
              <a:uFillTx/>
              <a:latin typeface="Segoe UI"/>
              <a:ea typeface="+mn-ea"/>
              <a:cs typeface="+mn-cs"/>
            </a:endParaRPr>
          </a:p>
        </p:txBody>
      </p:sp>
      <p:sp>
        <p:nvSpPr>
          <p:cNvPr id="21" name="Rechteck: abgerundete Ecken 20">
            <a:extLst>
              <a:ext uri="{FF2B5EF4-FFF2-40B4-BE49-F238E27FC236}">
                <a16:creationId xmlns:a16="http://schemas.microsoft.com/office/drawing/2014/main" id="{7AF18943-B257-4344-80CE-26DC9546AA51}"/>
              </a:ext>
            </a:extLst>
          </p:cNvPr>
          <p:cNvSpPr/>
          <p:nvPr/>
        </p:nvSpPr>
        <p:spPr bwMode="gray">
          <a:xfrm>
            <a:off x="3874331" y="1700809"/>
            <a:ext cx="7977299" cy="372194"/>
          </a:xfrm>
          <a:prstGeom prst="roundRect">
            <a:avLst>
              <a:gd name="adj" fmla="val 19599"/>
            </a:avLst>
          </a:prstGeom>
          <a:gradFill flip="none" rotWithShape="1">
            <a:gsLst>
              <a:gs pos="0">
                <a:srgbClr val="9D9D9D"/>
              </a:gs>
              <a:gs pos="47000">
                <a:srgbClr val="9D9D9D"/>
              </a:gs>
              <a:gs pos="53000">
                <a:srgbClr val="D94291"/>
              </a:gs>
              <a:gs pos="100000">
                <a:srgbClr val="D94291"/>
              </a:gs>
            </a:gsLst>
            <a:lin ang="13500000" scaled="1"/>
            <a:tileRect/>
          </a:gradFill>
          <a:ln w="2540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Zuschuss / Kredit</a:t>
            </a:r>
          </a:p>
        </p:txBody>
      </p:sp>
      <p:grpSp>
        <p:nvGrpSpPr>
          <p:cNvPr id="12" name="Gruppieren 11">
            <a:extLst>
              <a:ext uri="{FF2B5EF4-FFF2-40B4-BE49-F238E27FC236}">
                <a16:creationId xmlns:a16="http://schemas.microsoft.com/office/drawing/2014/main" id="{6F20FC64-4C77-4F39-B834-757526CF3E26}"/>
              </a:ext>
            </a:extLst>
          </p:cNvPr>
          <p:cNvGrpSpPr/>
          <p:nvPr/>
        </p:nvGrpSpPr>
        <p:grpSpPr>
          <a:xfrm>
            <a:off x="3795769" y="1625525"/>
            <a:ext cx="504056" cy="504056"/>
            <a:chOff x="2246051" y="5974"/>
            <a:chExt cx="504056" cy="504056"/>
          </a:xfrm>
        </p:grpSpPr>
        <p:sp>
          <p:nvSpPr>
            <p:cNvPr id="13" name="Ellipse 12">
              <a:extLst>
                <a:ext uri="{FF2B5EF4-FFF2-40B4-BE49-F238E27FC236}">
                  <a16:creationId xmlns:a16="http://schemas.microsoft.com/office/drawing/2014/main" id="{1D0A46DF-5AAD-476E-A7CC-581D587D7267}"/>
                </a:ext>
              </a:extLst>
            </p:cNvPr>
            <p:cNvSpPr/>
            <p:nvPr/>
          </p:nvSpPr>
          <p:spPr>
            <a:xfrm>
              <a:off x="2246051" y="5974"/>
              <a:ext cx="504056" cy="504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4" name="Grafik 13" descr="Geld mit einfarbiger Füllung">
              <a:extLst>
                <a:ext uri="{FF2B5EF4-FFF2-40B4-BE49-F238E27FC236}">
                  <a16:creationId xmlns:a16="http://schemas.microsoft.com/office/drawing/2014/main" id="{5BA272F9-4A80-4CE0-BF06-ED0EBC7520D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324613" y="62894"/>
              <a:ext cx="353486" cy="353486"/>
            </a:xfrm>
            <a:prstGeom prst="rect">
              <a:avLst/>
            </a:prstGeom>
          </p:spPr>
        </p:pic>
      </p:grpSp>
      <p:pic>
        <p:nvPicPr>
          <p:cNvPr id="6" name="Grafik 5">
            <a:extLst>
              <a:ext uri="{FF2B5EF4-FFF2-40B4-BE49-F238E27FC236}">
                <a16:creationId xmlns:a16="http://schemas.microsoft.com/office/drawing/2014/main" id="{209D4B66-36DD-4A38-65FC-91F8689DAD7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466359" y="6408284"/>
            <a:ext cx="525185" cy="304946"/>
          </a:xfrm>
          <a:prstGeom prst="rect">
            <a:avLst/>
          </a:prstGeom>
        </p:spPr>
      </p:pic>
      <p:sp>
        <p:nvSpPr>
          <p:cNvPr id="4" name="Fußzeilenplatzhalter 3">
            <a:extLst>
              <a:ext uri="{FF2B5EF4-FFF2-40B4-BE49-F238E27FC236}">
                <a16:creationId xmlns:a16="http://schemas.microsoft.com/office/drawing/2014/main" id="{9390FA47-A213-D2C0-1D3F-E1EF482FA1D2}"/>
              </a:ext>
            </a:extLst>
          </p:cNvPr>
          <p:cNvSpPr>
            <a:spLocks noGrp="1"/>
          </p:cNvSpPr>
          <p:nvPr>
            <p:ph type="ftr" sz="quarter" idx="11"/>
          </p:nvPr>
        </p:nvSpPr>
        <p:spPr>
          <a:xfrm>
            <a:off x="2279576" y="6373552"/>
            <a:ext cx="8061322" cy="3678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Segoe UI"/>
                <a:ea typeface="+mn-ea"/>
                <a:cs typeface="+mn-cs"/>
              </a:rPr>
              <a:t>DISCLAIMER: Die Informationen in dieser Förderübersicht werden ständig geprüft und aktualisiert. Trotz aller Sorgfalt können sich Angaben inzwischen geändert haben. Eine Haftung oder Garantie für die Aktualität, Richtigkeit und Vollständigkeit der zur Verfügung gestellten Informationen kann deshalb nicht übernommen werden. Die Deutsche Unternehmensinitiative Energieeffizienz e. V. (DENEFF) übernimmt keine Haftung für Informationen auf Webseiten Dritter, die per Link mit dieser Präsentation verbunden sind.</a:t>
            </a:r>
          </a:p>
        </p:txBody>
      </p:sp>
      <p:sp>
        <p:nvSpPr>
          <p:cNvPr id="7" name="Textfeld 6">
            <a:extLst>
              <a:ext uri="{FF2B5EF4-FFF2-40B4-BE49-F238E27FC236}">
                <a16:creationId xmlns:a16="http://schemas.microsoft.com/office/drawing/2014/main" id="{6C40F0E1-8759-0561-38AE-29085D4C9C29}"/>
              </a:ext>
            </a:extLst>
          </p:cNvPr>
          <p:cNvSpPr txBox="1"/>
          <p:nvPr/>
        </p:nvSpPr>
        <p:spPr>
          <a:xfrm>
            <a:off x="10340898" y="6377432"/>
            <a:ext cx="1219200" cy="363936"/>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
                <a:srgbClr val="008795"/>
              </a:buClr>
              <a:buSzTx/>
              <a:buFontTx/>
              <a:buNone/>
              <a:tabLst/>
              <a:defRPr/>
            </a:pPr>
            <a:r>
              <a:rPr kumimoji="0" lang="de-DE" sz="800" b="0" i="0" u="none" strike="noStrike" kern="1200" cap="none" spc="0" normalizeH="0" baseline="30000" noProof="0">
                <a:ln>
                  <a:noFill/>
                </a:ln>
                <a:solidFill>
                  <a:prstClr val="black"/>
                </a:solidFill>
                <a:effectLst/>
                <a:uLnTx/>
                <a:uFillTx/>
                <a:latin typeface="Segoe UI"/>
                <a:ea typeface="+mn-ea"/>
                <a:cs typeface="+mn-cs"/>
              </a:rPr>
              <a:t>1</a:t>
            </a:r>
            <a:r>
              <a:rPr kumimoji="0" lang="de-DE" sz="800" b="0" i="0" u="none" strike="noStrike" kern="1200" cap="none" spc="0" normalizeH="0" baseline="0" noProof="0">
                <a:ln>
                  <a:noFill/>
                </a:ln>
                <a:solidFill>
                  <a:prstClr val="black"/>
                </a:solidFill>
                <a:effectLst/>
                <a:uLnTx/>
                <a:uFillTx/>
                <a:latin typeface="Segoe UI"/>
                <a:ea typeface="+mn-ea"/>
                <a:cs typeface="+mn-cs"/>
              </a:rPr>
              <a:t> KMU-Definition der </a:t>
            </a:r>
            <a:r>
              <a:rPr kumimoji="0" lang="de-DE" sz="800" b="0" i="0" u="none" strike="noStrike" kern="1200" cap="none" spc="0" normalizeH="0" baseline="0" noProof="0">
                <a:ln>
                  <a:noFill/>
                </a:ln>
                <a:solidFill>
                  <a:prstClr val="black"/>
                </a:solidFill>
                <a:effectLst/>
                <a:uLnTx/>
                <a:uFillTx/>
                <a:latin typeface="Segoe UI"/>
                <a:ea typeface="+mn-ea"/>
                <a:cs typeface="+mn-cs"/>
                <a:hlinkClick r:id="rId13"/>
              </a:rPr>
              <a:t>EU-Empfehlung 2003/361/EG </a:t>
            </a:r>
            <a:r>
              <a:rPr kumimoji="0" lang="de-DE" sz="800" b="0" i="0" u="none" strike="noStrike" kern="1200" cap="none" spc="0" normalizeH="0" baseline="0" noProof="0">
                <a:ln>
                  <a:noFill/>
                </a:ln>
                <a:solidFill>
                  <a:prstClr val="black"/>
                </a:solidFill>
                <a:effectLst/>
                <a:uLnTx/>
                <a:uFillTx/>
                <a:latin typeface="Segoe UI"/>
                <a:ea typeface="+mn-ea"/>
                <a:cs typeface="+mn-cs"/>
              </a:rPr>
              <a:t>der EU-Kommission</a:t>
            </a:r>
            <a:endParaRPr kumimoji="0" lang="en-GB" sz="800" b="0" i="0" u="none" strike="noStrike" kern="1200" cap="none" spc="0" normalizeH="0" baseline="0" noProof="0" err="1">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8907955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92885E-3D97-45EE-8081-154E4201EA01}"/>
              </a:ext>
            </a:extLst>
          </p:cNvPr>
          <p:cNvSpPr>
            <a:spLocks noGrp="1"/>
          </p:cNvSpPr>
          <p:nvPr>
            <p:ph type="title"/>
          </p:nvPr>
        </p:nvSpPr>
        <p:spPr/>
        <p:txBody>
          <a:bodyPr/>
          <a:lstStyle/>
          <a:p>
            <a:r>
              <a:rPr lang="de-DE"/>
              <a:t>Bundesförderung Energie- und Ressourceneffizienz in der Wirtschaft – </a:t>
            </a:r>
            <a:br>
              <a:rPr lang="de-DE"/>
            </a:br>
            <a:r>
              <a:rPr lang="de-DE"/>
              <a:t>Modul 4: Optimierung von Anlagen und Prozessen</a:t>
            </a:r>
            <a:endParaRPr lang="en-GB"/>
          </a:p>
        </p:txBody>
      </p:sp>
      <p:grpSp>
        <p:nvGrpSpPr>
          <p:cNvPr id="4" name="Gruppieren 3">
            <a:extLst>
              <a:ext uri="{FF2B5EF4-FFF2-40B4-BE49-F238E27FC236}">
                <a16:creationId xmlns:a16="http://schemas.microsoft.com/office/drawing/2014/main" id="{6048A6C3-4E6E-F54E-0D6B-AFDBA0E8ED80}"/>
              </a:ext>
            </a:extLst>
          </p:cNvPr>
          <p:cNvGrpSpPr/>
          <p:nvPr/>
        </p:nvGrpSpPr>
        <p:grpSpPr>
          <a:xfrm>
            <a:off x="547359" y="2170558"/>
            <a:ext cx="11311579" cy="4064907"/>
            <a:chOff x="547359" y="2170558"/>
            <a:chExt cx="11311579" cy="4064907"/>
          </a:xfrm>
        </p:grpSpPr>
        <p:sp>
          <p:nvSpPr>
            <p:cNvPr id="7" name="Freihandform: Form 6">
              <a:extLst>
                <a:ext uri="{FF2B5EF4-FFF2-40B4-BE49-F238E27FC236}">
                  <a16:creationId xmlns:a16="http://schemas.microsoft.com/office/drawing/2014/main" id="{357A434D-7F94-1D36-C98F-1C72B9BB6BCC}"/>
                </a:ext>
              </a:extLst>
            </p:cNvPr>
            <p:cNvSpPr/>
            <p:nvPr/>
          </p:nvSpPr>
          <p:spPr>
            <a:xfrm>
              <a:off x="3769208" y="2214464"/>
              <a:ext cx="8075818" cy="1212564"/>
            </a:xfrm>
            <a:custGeom>
              <a:avLst/>
              <a:gdLst>
                <a:gd name="connsiteX0" fmla="*/ 0 w 1212564"/>
                <a:gd name="connsiteY0" fmla="*/ 202098 h 8075818"/>
                <a:gd name="connsiteX1" fmla="*/ 202098 w 1212564"/>
                <a:gd name="connsiteY1" fmla="*/ 0 h 8075818"/>
                <a:gd name="connsiteX2" fmla="*/ 1010466 w 1212564"/>
                <a:gd name="connsiteY2" fmla="*/ 0 h 8075818"/>
                <a:gd name="connsiteX3" fmla="*/ 1212564 w 1212564"/>
                <a:gd name="connsiteY3" fmla="*/ 202098 h 8075818"/>
                <a:gd name="connsiteX4" fmla="*/ 1212564 w 1212564"/>
                <a:gd name="connsiteY4" fmla="*/ 7873720 h 8075818"/>
                <a:gd name="connsiteX5" fmla="*/ 1010466 w 1212564"/>
                <a:gd name="connsiteY5" fmla="*/ 8075818 h 8075818"/>
                <a:gd name="connsiteX6" fmla="*/ 202098 w 1212564"/>
                <a:gd name="connsiteY6" fmla="*/ 8075818 h 8075818"/>
                <a:gd name="connsiteX7" fmla="*/ 0 w 1212564"/>
                <a:gd name="connsiteY7" fmla="*/ 7873720 h 8075818"/>
                <a:gd name="connsiteX8" fmla="*/ 0 w 1212564"/>
                <a:gd name="connsiteY8" fmla="*/ 202098 h 8075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2564" h="8075818">
                  <a:moveTo>
                    <a:pt x="1182219" y="0"/>
                  </a:moveTo>
                  <a:cubicBezTo>
                    <a:pt x="1198978" y="0"/>
                    <a:pt x="1212564" y="602621"/>
                    <a:pt x="1212564" y="1345996"/>
                  </a:cubicBezTo>
                  <a:lnTo>
                    <a:pt x="1212564" y="6729822"/>
                  </a:lnTo>
                  <a:cubicBezTo>
                    <a:pt x="1212564" y="7473197"/>
                    <a:pt x="1198978" y="8075818"/>
                    <a:pt x="1182219" y="8075818"/>
                  </a:cubicBezTo>
                  <a:lnTo>
                    <a:pt x="30345" y="8075818"/>
                  </a:lnTo>
                  <a:cubicBezTo>
                    <a:pt x="13586" y="8075818"/>
                    <a:pt x="0" y="7473197"/>
                    <a:pt x="0" y="6729822"/>
                  </a:cubicBezTo>
                  <a:lnTo>
                    <a:pt x="0" y="1345996"/>
                  </a:lnTo>
                  <a:cubicBezTo>
                    <a:pt x="0" y="602621"/>
                    <a:pt x="13586" y="0"/>
                    <a:pt x="30345" y="0"/>
                  </a:cubicBezTo>
                  <a:lnTo>
                    <a:pt x="1182219" y="0"/>
                  </a:lnTo>
                  <a:close/>
                </a:path>
              </a:pathLst>
            </a:custGeom>
            <a:solidFill>
              <a:srgbClr val="FEEAE8">
                <a:alpha val="90000"/>
              </a:srgbClr>
            </a:solidFill>
            <a:ln w="63500" cap="rnd" cmpd="sng">
              <a:solidFill>
                <a:schemeClr val="bg1"/>
              </a:solidFill>
              <a:round/>
            </a:ln>
          </p:spPr>
          <p:style>
            <a:lnRef idx="2">
              <a:scrgbClr r="0" g="0" b="0"/>
            </a:lnRef>
            <a:fillRef idx="1">
              <a:scrgbClr r="0" g="0" b="0"/>
            </a:fillRef>
            <a:effectRef idx="0">
              <a:schemeClr val="accent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06842" tIns="183017" rIns="306842" bIns="183017" numCol="1" spcCol="1270" anchor="ctr" anchorCtr="0">
              <a:noAutofit/>
            </a:bodyPr>
            <a:lstStyle/>
            <a:p>
              <a:pPr marL="114300" marR="0" lvl="1" indent="-114300" algn="l" defTabSz="533400" rtl="0" eaLnBrk="1" fontAlgn="auto" latinLnBrk="0" hangingPunct="1">
                <a:lnSpc>
                  <a:spcPct val="90000"/>
                </a:lnSpc>
                <a:spcBef>
                  <a:spcPct val="0"/>
                </a:spcBef>
                <a:spcAft>
                  <a:spcPct val="15000"/>
                </a:spcAft>
                <a:buClrTx/>
                <a:buSzTx/>
                <a:buFontTx/>
                <a:buChar char="•"/>
                <a:tabLst/>
                <a:defRPr/>
              </a:pPr>
              <a:r>
                <a:rPr kumimoji="0" lang="de-DE" altLang="de-DE" sz="1200" b="0" i="0" u="none" strike="noStrike" kern="1200" cap="none" spc="0" normalizeH="0" baseline="0" noProof="0">
                  <a:ln>
                    <a:noFill/>
                  </a:ln>
                  <a:solidFill>
                    <a:srgbClr val="000000"/>
                  </a:solidFill>
                  <a:effectLst/>
                  <a:uLnTx/>
                  <a:uFillTx/>
                  <a:latin typeface="Segoe UI"/>
                  <a:ea typeface="+mn-ea"/>
                  <a:cs typeface="Arial"/>
                </a:rPr>
                <a:t>Maßnahmen mit Investitionsvolumen von mind. 10.000€/Maßnahme zur energetischen Optimierung von industriellen und gewerblichen Anlagen und Prozessen, die zur Erhöhung der Energieeffizienz und damit zur Senkung des Energieverbrauchs in Unternehmen beitragen (kann Maßnahmen aus Modul 1 &amp; 3 einschließen) sowie Maßnahmen zur Ressourceneffizienz (Materialeinsparung und –</a:t>
              </a:r>
              <a:r>
                <a:rPr kumimoji="0" lang="de-DE" altLang="de-DE" sz="1200" b="0" i="0" u="none" strike="noStrike" kern="1200" cap="none" spc="0" normalizeH="0" baseline="0" noProof="0" err="1">
                  <a:ln>
                    <a:noFill/>
                  </a:ln>
                  <a:solidFill>
                    <a:srgbClr val="000000"/>
                  </a:solidFill>
                  <a:effectLst/>
                  <a:uLnTx/>
                  <a:uFillTx/>
                  <a:latin typeface="Segoe UI"/>
                  <a:ea typeface="+mn-ea"/>
                  <a:cs typeface="Arial"/>
                </a:rPr>
                <a:t>wechsel</a:t>
              </a:r>
              <a:r>
                <a:rPr kumimoji="0" lang="de-DE" altLang="de-DE" sz="1200" b="0" i="0" u="none" strike="noStrike" kern="1200" cap="none" spc="0" normalizeH="0" baseline="0" noProof="0">
                  <a:ln>
                    <a:noFill/>
                  </a:ln>
                  <a:solidFill>
                    <a:srgbClr val="000000"/>
                  </a:solidFill>
                  <a:effectLst/>
                  <a:uLnTx/>
                  <a:uFillTx/>
                  <a:latin typeface="Segoe UI"/>
                  <a:ea typeface="+mn-ea"/>
                  <a:cs typeface="Arial"/>
                </a:rPr>
                <a:t>)</a:t>
              </a:r>
              <a:endPar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Arial"/>
              </a:endParaRPr>
            </a:p>
            <a:p>
              <a:pPr marL="114300" marR="0" lvl="1" indent="-114300" algn="l" defTabSz="533400" rtl="0" eaLnBrk="1" fontAlgn="auto" latinLnBrk="0" hangingPunct="1">
                <a:lnSpc>
                  <a:spcPct val="90000"/>
                </a:lnSpc>
                <a:spcBef>
                  <a:spcPct val="0"/>
                </a:spcBef>
                <a:spcAft>
                  <a:spcPct val="15000"/>
                </a:spcAft>
                <a:buClrTx/>
                <a:buSzTx/>
                <a:buFontTx/>
                <a:buChar char="•"/>
                <a:tabLst/>
                <a:defRPr/>
              </a:pPr>
              <a:r>
                <a:rPr kumimoji="0" lang="en-GB" sz="1200" b="0" i="0" u="none" strike="noStrike" kern="1200" cap="none" spc="0" normalizeH="0" baseline="0" noProof="0" err="1">
                  <a:ln>
                    <a:noFill/>
                  </a:ln>
                  <a:solidFill>
                    <a:prstClr val="black">
                      <a:hueOff val="0"/>
                      <a:satOff val="0"/>
                      <a:lumOff val="0"/>
                      <a:alphaOff val="0"/>
                    </a:prstClr>
                  </a:solidFill>
                  <a:effectLst/>
                  <a:uLnTx/>
                  <a:uFillTx/>
                  <a:latin typeface="Segoe UI"/>
                  <a:ea typeface="+mn-ea"/>
                  <a:cs typeface="+mn-cs"/>
                </a:rPr>
                <a:t>Stufenmodell</a:t>
              </a:r>
              <a:r>
                <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 </a:t>
              </a:r>
              <a:r>
                <a:rPr kumimoji="0" lang="en-GB" sz="1200" b="0" i="0" u="none" strike="noStrike" kern="1200" cap="none" spc="0" normalizeH="0" baseline="0" noProof="0" err="1">
                  <a:ln>
                    <a:noFill/>
                  </a:ln>
                  <a:solidFill>
                    <a:prstClr val="black">
                      <a:hueOff val="0"/>
                      <a:satOff val="0"/>
                      <a:lumOff val="0"/>
                      <a:alphaOff val="0"/>
                    </a:prstClr>
                  </a:solidFill>
                  <a:effectLst/>
                  <a:uLnTx/>
                  <a:uFillTx/>
                  <a:latin typeface="Segoe UI"/>
                  <a:ea typeface="+mn-ea"/>
                  <a:cs typeface="+mn-cs"/>
                </a:rPr>
                <a:t>Basisförderung</a:t>
              </a:r>
              <a:r>
                <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 </a:t>
              </a:r>
              <a:r>
                <a:rPr kumimoji="0" lang="en-GB" sz="1200" b="0" i="0" u="none" strike="noStrike" kern="1200" cap="none" spc="0" normalizeH="0" baseline="0" noProof="0" err="1">
                  <a:ln>
                    <a:noFill/>
                  </a:ln>
                  <a:solidFill>
                    <a:prstClr val="black">
                      <a:hueOff val="0"/>
                      <a:satOff val="0"/>
                      <a:lumOff val="0"/>
                      <a:alphaOff val="0"/>
                    </a:prstClr>
                  </a:solidFill>
                  <a:effectLst/>
                  <a:uLnTx/>
                  <a:uFillTx/>
                  <a:latin typeface="Segoe UI"/>
                  <a:ea typeface="+mn-ea"/>
                  <a:cs typeface="+mn-cs"/>
                </a:rPr>
                <a:t>nur</a:t>
              </a:r>
              <a:r>
                <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 für KMU, </a:t>
              </a:r>
              <a:r>
                <a:rPr kumimoji="0" lang="en-GB" sz="1200" b="0" i="0" u="none" strike="noStrike" kern="1200" cap="none" spc="0" normalizeH="0" baseline="0" noProof="0" err="1">
                  <a:ln>
                    <a:noFill/>
                  </a:ln>
                  <a:solidFill>
                    <a:prstClr val="black">
                      <a:hueOff val="0"/>
                      <a:satOff val="0"/>
                      <a:lumOff val="0"/>
                      <a:alphaOff val="0"/>
                    </a:prstClr>
                  </a:solidFill>
                  <a:effectLst/>
                  <a:uLnTx/>
                  <a:uFillTx/>
                  <a:latin typeface="Segoe UI"/>
                  <a:ea typeface="+mn-ea"/>
                  <a:cs typeface="+mn-cs"/>
                </a:rPr>
                <a:t>Premiumförderung</a:t>
              </a:r>
              <a:r>
                <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 </a:t>
              </a:r>
              <a:r>
                <a:rPr kumimoji="0" lang="en-GB" sz="1200" b="0" i="0" u="none" strike="noStrike" kern="1200" cap="none" spc="0" normalizeH="0" baseline="0" noProof="0" err="1">
                  <a:ln>
                    <a:noFill/>
                  </a:ln>
                  <a:solidFill>
                    <a:prstClr val="black">
                      <a:hueOff val="0"/>
                      <a:satOff val="0"/>
                      <a:lumOff val="0"/>
                      <a:alphaOff val="0"/>
                    </a:prstClr>
                  </a:solidFill>
                  <a:effectLst/>
                  <a:uLnTx/>
                  <a:uFillTx/>
                  <a:latin typeface="Segoe UI"/>
                  <a:ea typeface="+mn-ea"/>
                  <a:cs typeface="+mn-cs"/>
                </a:rPr>
                <a:t>mit</a:t>
              </a:r>
              <a:r>
                <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 </a:t>
              </a:r>
              <a:r>
                <a:rPr kumimoji="0" lang="en-GB" sz="1200" b="0" i="0" u="none" strike="noStrike" kern="1200" cap="none" spc="0" normalizeH="0" baseline="0" noProof="0" err="1">
                  <a:ln>
                    <a:noFill/>
                  </a:ln>
                  <a:solidFill>
                    <a:prstClr val="black">
                      <a:hueOff val="0"/>
                      <a:satOff val="0"/>
                      <a:lumOff val="0"/>
                      <a:alphaOff val="0"/>
                    </a:prstClr>
                  </a:solidFill>
                  <a:effectLst/>
                  <a:uLnTx/>
                  <a:uFillTx/>
                  <a:latin typeface="Segoe UI"/>
                  <a:ea typeface="+mn-ea"/>
                  <a:cs typeface="+mn-cs"/>
                </a:rPr>
                <a:t>Einsparkonzept</a:t>
              </a:r>
              <a:r>
                <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 </a:t>
              </a:r>
              <a:r>
                <a:rPr kumimoji="0" lang="en-GB" sz="1200" b="0" i="0" u="none" strike="noStrike" kern="1200" cap="none" spc="0" normalizeH="0" baseline="0" noProof="0" err="1">
                  <a:ln>
                    <a:noFill/>
                  </a:ln>
                  <a:solidFill>
                    <a:prstClr val="black">
                      <a:hueOff val="0"/>
                      <a:satOff val="0"/>
                      <a:lumOff val="0"/>
                      <a:alphaOff val="0"/>
                    </a:prstClr>
                  </a:solidFill>
                  <a:effectLst/>
                  <a:uLnTx/>
                  <a:uFillTx/>
                  <a:latin typeface="Segoe UI"/>
                  <a:ea typeface="+mn-ea"/>
                  <a:cs typeface="+mn-cs"/>
                </a:rPr>
                <a:t>bei</a:t>
              </a:r>
              <a:r>
                <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 min. 30% THG-</a:t>
              </a:r>
              <a:r>
                <a:rPr kumimoji="0" lang="en-GB" sz="1200" b="0" i="0" u="none" strike="noStrike" kern="1200" cap="none" spc="0" normalizeH="0" baseline="0" noProof="0" err="1">
                  <a:ln>
                    <a:noFill/>
                  </a:ln>
                  <a:solidFill>
                    <a:prstClr val="black">
                      <a:hueOff val="0"/>
                      <a:satOff val="0"/>
                      <a:lumOff val="0"/>
                      <a:alphaOff val="0"/>
                    </a:prstClr>
                  </a:solidFill>
                  <a:effectLst/>
                  <a:uLnTx/>
                  <a:uFillTx/>
                  <a:latin typeface="Segoe UI"/>
                  <a:ea typeface="+mn-ea"/>
                  <a:cs typeface="+mn-cs"/>
                </a:rPr>
                <a:t>Einsparung</a:t>
              </a:r>
              <a:r>
                <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 </a:t>
              </a:r>
              <a:r>
                <a:rPr kumimoji="0" lang="en-GB" sz="1200" b="0" i="0" u="none" strike="noStrike" kern="1200" cap="none" spc="0" normalizeH="0" baseline="0" noProof="0" err="1">
                  <a:ln>
                    <a:noFill/>
                  </a:ln>
                  <a:solidFill>
                    <a:prstClr val="black">
                      <a:hueOff val="0"/>
                      <a:satOff val="0"/>
                      <a:lumOff val="0"/>
                      <a:alphaOff val="0"/>
                    </a:prstClr>
                  </a:solidFill>
                  <a:effectLst/>
                  <a:uLnTx/>
                  <a:uFillTx/>
                  <a:latin typeface="Segoe UI"/>
                  <a:ea typeface="+mn-ea"/>
                  <a:cs typeface="+mn-cs"/>
                </a:rPr>
                <a:t>Dekarbonisierungsbonus</a:t>
              </a:r>
              <a:r>
                <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 (</a:t>
              </a:r>
              <a:r>
                <a:rPr kumimoji="0" lang="en-GB" sz="1200" b="0" i="0" u="none" strike="noStrike" kern="1200" cap="none" spc="0" normalizeH="0" baseline="0" noProof="0" err="1">
                  <a:ln>
                    <a:noFill/>
                  </a:ln>
                  <a:solidFill>
                    <a:prstClr val="black">
                      <a:hueOff val="0"/>
                      <a:satOff val="0"/>
                      <a:lumOff val="0"/>
                      <a:alphaOff val="0"/>
                    </a:prstClr>
                  </a:solidFill>
                  <a:effectLst/>
                  <a:uLnTx/>
                  <a:uFillTx/>
                  <a:latin typeface="Segoe UI"/>
                  <a:ea typeface="+mn-ea"/>
                  <a:cs typeface="+mn-cs"/>
                </a:rPr>
                <a:t>betrifft</a:t>
              </a:r>
              <a:r>
                <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 </a:t>
              </a:r>
              <a:r>
                <a:rPr kumimoji="0" lang="en-GB" sz="1200" b="0" i="0" u="none" strike="noStrike" kern="1200" cap="none" spc="0" normalizeH="0" baseline="0" noProof="0" err="1">
                  <a:ln>
                    <a:noFill/>
                  </a:ln>
                  <a:solidFill>
                    <a:prstClr val="black">
                      <a:hueOff val="0"/>
                      <a:satOff val="0"/>
                      <a:lumOff val="0"/>
                      <a:alphaOff val="0"/>
                    </a:prstClr>
                  </a:solidFill>
                  <a:effectLst/>
                  <a:uLnTx/>
                  <a:uFillTx/>
                  <a:latin typeface="Segoe UI"/>
                  <a:ea typeface="+mn-ea"/>
                  <a:cs typeface="+mn-cs"/>
                </a:rPr>
                <a:t>Elektrifizierung</a:t>
              </a:r>
              <a:r>
                <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 </a:t>
              </a:r>
              <a:r>
                <a:rPr kumimoji="0" lang="en-GB" sz="1200" b="0" i="0" u="none" strike="noStrike" kern="1200" cap="none" spc="0" normalizeH="0" baseline="0" noProof="0" err="1">
                  <a:ln>
                    <a:noFill/>
                  </a:ln>
                  <a:solidFill>
                    <a:prstClr val="black">
                      <a:hueOff val="0"/>
                      <a:satOff val="0"/>
                      <a:lumOff val="0"/>
                      <a:alphaOff val="0"/>
                    </a:prstClr>
                  </a:solidFill>
                  <a:effectLst/>
                  <a:uLnTx/>
                  <a:uFillTx/>
                  <a:latin typeface="Segoe UI"/>
                  <a:ea typeface="+mn-ea"/>
                  <a:cs typeface="+mn-cs"/>
                </a:rPr>
                <a:t>mit</a:t>
              </a:r>
              <a:r>
                <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 EE, </a:t>
              </a:r>
              <a:r>
                <a:rPr kumimoji="0" lang="en-GB" sz="1200" b="0" i="0" u="none" strike="noStrike" kern="1200" cap="none" spc="0" normalizeH="0" baseline="0" noProof="0" err="1">
                  <a:ln>
                    <a:noFill/>
                  </a:ln>
                  <a:solidFill>
                    <a:prstClr val="black">
                      <a:hueOff val="0"/>
                      <a:satOff val="0"/>
                      <a:lumOff val="0"/>
                      <a:alphaOff val="0"/>
                    </a:prstClr>
                  </a:solidFill>
                  <a:effectLst/>
                  <a:uLnTx/>
                  <a:uFillTx/>
                  <a:latin typeface="Segoe UI"/>
                  <a:ea typeface="+mn-ea"/>
                  <a:cs typeface="+mn-cs"/>
                </a:rPr>
                <a:t>außerbetriebliche</a:t>
              </a:r>
              <a:r>
                <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 </a:t>
              </a:r>
              <a:r>
                <a:rPr kumimoji="0" lang="en-GB" sz="1200" b="0" i="0" u="none" strike="noStrike" kern="1200" cap="none" spc="0" normalizeH="0" baseline="0" noProof="0" err="1">
                  <a:ln>
                    <a:noFill/>
                  </a:ln>
                  <a:solidFill>
                    <a:prstClr val="black">
                      <a:hueOff val="0"/>
                      <a:satOff val="0"/>
                      <a:lumOff val="0"/>
                      <a:alphaOff val="0"/>
                    </a:prstClr>
                  </a:solidFill>
                  <a:effectLst/>
                  <a:uLnTx/>
                  <a:uFillTx/>
                  <a:latin typeface="Segoe UI"/>
                  <a:ea typeface="+mn-ea"/>
                  <a:cs typeface="+mn-cs"/>
                </a:rPr>
                <a:t>Abwärme</a:t>
              </a:r>
              <a:r>
                <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 </a:t>
              </a:r>
              <a:r>
                <a:rPr kumimoji="0" lang="en-GB" sz="1200" b="0" i="0" u="none" strike="noStrike" kern="1200" cap="none" spc="0" normalizeH="0" baseline="0" noProof="0" err="1">
                  <a:ln>
                    <a:noFill/>
                  </a:ln>
                  <a:solidFill>
                    <a:prstClr val="black">
                      <a:hueOff val="0"/>
                      <a:satOff val="0"/>
                      <a:lumOff val="0"/>
                      <a:alphaOff val="0"/>
                    </a:prstClr>
                  </a:solidFill>
                  <a:effectLst/>
                  <a:uLnTx/>
                  <a:uFillTx/>
                  <a:latin typeface="Segoe UI"/>
                  <a:ea typeface="+mn-ea"/>
                  <a:cs typeface="+mn-cs"/>
                </a:rPr>
                <a:t>grüner</a:t>
              </a:r>
              <a:r>
                <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 H2)</a:t>
              </a:r>
            </a:p>
          </p:txBody>
        </p:sp>
        <p:sp>
          <p:nvSpPr>
            <p:cNvPr id="9" name="Freihandform: Form 8">
              <a:extLst>
                <a:ext uri="{FF2B5EF4-FFF2-40B4-BE49-F238E27FC236}">
                  <a16:creationId xmlns:a16="http://schemas.microsoft.com/office/drawing/2014/main" id="{D792D769-D042-D6A3-A2EE-4C81A5478DC1}"/>
                </a:ext>
              </a:extLst>
            </p:cNvPr>
            <p:cNvSpPr/>
            <p:nvPr/>
          </p:nvSpPr>
          <p:spPr>
            <a:xfrm>
              <a:off x="547583" y="2170558"/>
              <a:ext cx="3221625" cy="1300374"/>
            </a:xfrm>
            <a:custGeom>
              <a:avLst/>
              <a:gdLst>
                <a:gd name="connsiteX0" fmla="*/ 0 w 3221625"/>
                <a:gd name="connsiteY0" fmla="*/ 216733 h 1300374"/>
                <a:gd name="connsiteX1" fmla="*/ 216733 w 3221625"/>
                <a:gd name="connsiteY1" fmla="*/ 0 h 1300374"/>
                <a:gd name="connsiteX2" fmla="*/ 3004892 w 3221625"/>
                <a:gd name="connsiteY2" fmla="*/ 0 h 1300374"/>
                <a:gd name="connsiteX3" fmla="*/ 3221625 w 3221625"/>
                <a:gd name="connsiteY3" fmla="*/ 216733 h 1300374"/>
                <a:gd name="connsiteX4" fmla="*/ 3221625 w 3221625"/>
                <a:gd name="connsiteY4" fmla="*/ 1083641 h 1300374"/>
                <a:gd name="connsiteX5" fmla="*/ 3004892 w 3221625"/>
                <a:gd name="connsiteY5" fmla="*/ 1300374 h 1300374"/>
                <a:gd name="connsiteX6" fmla="*/ 216733 w 3221625"/>
                <a:gd name="connsiteY6" fmla="*/ 1300374 h 1300374"/>
                <a:gd name="connsiteX7" fmla="*/ 0 w 3221625"/>
                <a:gd name="connsiteY7" fmla="*/ 1083641 h 1300374"/>
                <a:gd name="connsiteX8" fmla="*/ 0 w 3221625"/>
                <a:gd name="connsiteY8" fmla="*/ 216733 h 1300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1625" h="1300374">
                  <a:moveTo>
                    <a:pt x="0" y="216733"/>
                  </a:moveTo>
                  <a:cubicBezTo>
                    <a:pt x="0" y="97035"/>
                    <a:pt x="97035" y="0"/>
                    <a:pt x="216733" y="0"/>
                  </a:cubicBezTo>
                  <a:lnTo>
                    <a:pt x="3004892" y="0"/>
                  </a:lnTo>
                  <a:cubicBezTo>
                    <a:pt x="3124590" y="0"/>
                    <a:pt x="3221625" y="97035"/>
                    <a:pt x="3221625" y="216733"/>
                  </a:cubicBezTo>
                  <a:lnTo>
                    <a:pt x="3221625" y="1083641"/>
                  </a:lnTo>
                  <a:cubicBezTo>
                    <a:pt x="3221625" y="1203339"/>
                    <a:pt x="3124590" y="1300374"/>
                    <a:pt x="3004892" y="1300374"/>
                  </a:cubicBezTo>
                  <a:lnTo>
                    <a:pt x="216733" y="1300374"/>
                  </a:lnTo>
                  <a:cubicBezTo>
                    <a:pt x="97035" y="1300374"/>
                    <a:pt x="0" y="1203339"/>
                    <a:pt x="0" y="1083641"/>
                  </a:cubicBezTo>
                  <a:lnTo>
                    <a:pt x="0" y="216733"/>
                  </a:lnTo>
                  <a:close/>
                </a:path>
              </a:pathLst>
            </a:custGeom>
            <a:solidFill>
              <a:srgbClr val="FC5B2F"/>
            </a:solidFill>
            <a:ln w="63500">
              <a:solidFill>
                <a:schemeClr val="bg1"/>
              </a:solid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spcFirstLastPara="0" vert="horz" wrap="square" lIns="139679" tIns="101579" rIns="139679" bIns="101579"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de-DE" sz="2000" b="1" i="0" u="none" strike="noStrike" kern="1200" cap="none" spc="0" normalizeH="0" baseline="0" noProof="0">
                  <a:ln>
                    <a:noFill/>
                  </a:ln>
                  <a:solidFill>
                    <a:prstClr val="white"/>
                  </a:solidFill>
                  <a:effectLst/>
                  <a:uLnTx/>
                  <a:uFillTx/>
                  <a:latin typeface="Segoe UI"/>
                  <a:ea typeface="+mn-ea"/>
                  <a:cs typeface="+mn-cs"/>
                </a:rPr>
                <a:t>WAS?</a:t>
              </a:r>
              <a:endParaRPr kumimoji="0" lang="en-GB" sz="2000" b="1" i="0" u="none" strike="noStrike" kern="1200" cap="none" spc="0" normalizeH="0" baseline="0" noProof="0">
                <a:ln>
                  <a:noFill/>
                </a:ln>
                <a:solidFill>
                  <a:prstClr val="white"/>
                </a:solidFill>
                <a:effectLst/>
                <a:uLnTx/>
                <a:uFillTx/>
                <a:latin typeface="Segoe UI"/>
                <a:ea typeface="+mn-ea"/>
                <a:cs typeface="+mn-cs"/>
              </a:endParaRPr>
            </a:p>
          </p:txBody>
        </p:sp>
        <p:sp>
          <p:nvSpPr>
            <p:cNvPr id="10" name="Freihandform: Form 9">
              <a:extLst>
                <a:ext uri="{FF2B5EF4-FFF2-40B4-BE49-F238E27FC236}">
                  <a16:creationId xmlns:a16="http://schemas.microsoft.com/office/drawing/2014/main" id="{D81E5CC5-6430-68E9-CD9E-E6A0C724D6CC}"/>
                </a:ext>
              </a:extLst>
            </p:cNvPr>
            <p:cNvSpPr/>
            <p:nvPr/>
          </p:nvSpPr>
          <p:spPr>
            <a:xfrm>
              <a:off x="3769207" y="3478358"/>
              <a:ext cx="8075819" cy="869344"/>
            </a:xfrm>
            <a:custGeom>
              <a:avLst/>
              <a:gdLst>
                <a:gd name="connsiteX0" fmla="*/ 0 w 869343"/>
                <a:gd name="connsiteY0" fmla="*/ 144893 h 8075818"/>
                <a:gd name="connsiteX1" fmla="*/ 144893 w 869343"/>
                <a:gd name="connsiteY1" fmla="*/ 0 h 8075818"/>
                <a:gd name="connsiteX2" fmla="*/ 724450 w 869343"/>
                <a:gd name="connsiteY2" fmla="*/ 0 h 8075818"/>
                <a:gd name="connsiteX3" fmla="*/ 869343 w 869343"/>
                <a:gd name="connsiteY3" fmla="*/ 144893 h 8075818"/>
                <a:gd name="connsiteX4" fmla="*/ 869343 w 869343"/>
                <a:gd name="connsiteY4" fmla="*/ 7930925 h 8075818"/>
                <a:gd name="connsiteX5" fmla="*/ 724450 w 869343"/>
                <a:gd name="connsiteY5" fmla="*/ 8075818 h 8075818"/>
                <a:gd name="connsiteX6" fmla="*/ 144893 w 869343"/>
                <a:gd name="connsiteY6" fmla="*/ 8075818 h 8075818"/>
                <a:gd name="connsiteX7" fmla="*/ 0 w 869343"/>
                <a:gd name="connsiteY7" fmla="*/ 7930925 h 8075818"/>
                <a:gd name="connsiteX8" fmla="*/ 0 w 869343"/>
                <a:gd name="connsiteY8" fmla="*/ 144893 h 8075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9343" h="8075818">
                  <a:moveTo>
                    <a:pt x="853746" y="5"/>
                  </a:moveTo>
                  <a:cubicBezTo>
                    <a:pt x="862360" y="5"/>
                    <a:pt x="869343" y="602627"/>
                    <a:pt x="869343" y="1345996"/>
                  </a:cubicBezTo>
                  <a:lnTo>
                    <a:pt x="869343" y="6729822"/>
                  </a:lnTo>
                  <a:cubicBezTo>
                    <a:pt x="869343" y="7473191"/>
                    <a:pt x="862360" y="8075813"/>
                    <a:pt x="853746" y="8075813"/>
                  </a:cubicBezTo>
                  <a:lnTo>
                    <a:pt x="15597" y="8075813"/>
                  </a:lnTo>
                  <a:cubicBezTo>
                    <a:pt x="6983" y="8075813"/>
                    <a:pt x="0" y="7473191"/>
                    <a:pt x="0" y="6729822"/>
                  </a:cubicBezTo>
                  <a:lnTo>
                    <a:pt x="0" y="1345996"/>
                  </a:lnTo>
                  <a:cubicBezTo>
                    <a:pt x="0" y="602627"/>
                    <a:pt x="6983" y="5"/>
                    <a:pt x="15597" y="5"/>
                  </a:cubicBezTo>
                  <a:lnTo>
                    <a:pt x="853746" y="5"/>
                  </a:lnTo>
                  <a:close/>
                </a:path>
              </a:pathLst>
            </a:custGeom>
            <a:solidFill>
              <a:srgbClr val="FEEAE8">
                <a:alpha val="90000"/>
              </a:srgbClr>
            </a:solidFill>
            <a:ln w="63500" cap="rnd">
              <a:solidFill>
                <a:schemeClr val="bg1"/>
              </a:solidFill>
              <a:round/>
            </a:ln>
          </p:spPr>
          <p:style>
            <a:lnRef idx="2">
              <a:scrgbClr r="0" g="0" b="0"/>
            </a:lnRef>
            <a:fillRef idx="1">
              <a:scrgbClr r="0" g="0" b="0"/>
            </a:fillRef>
            <a:effectRef idx="0">
              <a:schemeClr val="accent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0089" tIns="166263" rIns="290088" bIns="166264" numCol="1" spcCol="1270" anchor="ctr" anchorCtr="0">
              <a:noAutofit/>
            </a:bodyPr>
            <a:lstStyle/>
            <a:p>
              <a:pPr marL="114300" marR="0" lvl="1" indent="-114300" algn="l" defTabSz="5334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GB" altLang="de-DE" sz="1200" b="0" i="0" u="none" strike="noStrike" kern="1200" cap="none" spc="0" normalizeH="0" baseline="0" noProof="0">
                  <a:ln>
                    <a:noFill/>
                  </a:ln>
                  <a:solidFill>
                    <a:srgbClr val="000000"/>
                  </a:solidFill>
                  <a:effectLst/>
                  <a:uLnTx/>
                  <a:uFillTx/>
                  <a:latin typeface="Segoe UI"/>
                  <a:ea typeface="+mn-ea"/>
                  <a:cs typeface="Arial"/>
                </a:rPr>
                <a:t>Private </a:t>
              </a:r>
              <a:r>
                <a:rPr kumimoji="0" lang="en-GB" altLang="de-DE" sz="1200" b="0" i="0" u="none" strike="noStrike" kern="1200" cap="none" spc="0" normalizeH="0" baseline="0" noProof="0" err="1">
                  <a:ln>
                    <a:noFill/>
                  </a:ln>
                  <a:solidFill>
                    <a:srgbClr val="000000"/>
                  </a:solidFill>
                  <a:effectLst/>
                  <a:uLnTx/>
                  <a:uFillTx/>
                  <a:latin typeface="Segoe UI"/>
                  <a:ea typeface="+mn-ea"/>
                  <a:cs typeface="Arial"/>
                </a:rPr>
                <a:t>Unternehmen</a:t>
              </a:r>
              <a:endPar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Arial"/>
              </a:endParaRPr>
            </a:p>
            <a:p>
              <a:pPr marL="114300" marR="0" lvl="1" indent="-114300" algn="l" defTabSz="5334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GB" altLang="de-DE" sz="1200" b="0" i="0" u="none" strike="noStrike" kern="1200" cap="none" spc="0" normalizeH="0" baseline="0" noProof="0" err="1">
                  <a:ln>
                    <a:noFill/>
                  </a:ln>
                  <a:solidFill>
                    <a:srgbClr val="000000"/>
                  </a:solidFill>
                  <a:effectLst/>
                  <a:uLnTx/>
                  <a:uFillTx/>
                  <a:latin typeface="Segoe UI"/>
                  <a:ea typeface="+mn-ea"/>
                  <a:cs typeface="Arial"/>
                </a:rPr>
                <a:t>Contractoren</a:t>
              </a:r>
              <a:r>
                <a:rPr kumimoji="0" lang="en-GB" altLang="de-DE" sz="1200" b="0" i="0" u="none" strike="noStrike" kern="1200" cap="none" spc="0" normalizeH="0" baseline="0" noProof="0">
                  <a:ln>
                    <a:noFill/>
                  </a:ln>
                  <a:solidFill>
                    <a:srgbClr val="000000"/>
                  </a:solidFill>
                  <a:effectLst/>
                  <a:uLnTx/>
                  <a:uFillTx/>
                  <a:latin typeface="Segoe UI"/>
                  <a:ea typeface="+mn-ea"/>
                  <a:cs typeface="Arial"/>
                </a:rPr>
                <a:t> </a:t>
              </a:r>
              <a:r>
                <a:rPr kumimoji="0" lang="en-GB" altLang="de-DE" sz="1200" b="0" i="0" u="none" strike="noStrike" kern="1200" cap="none" spc="0" normalizeH="0" baseline="0" noProof="0" err="1">
                  <a:ln>
                    <a:noFill/>
                  </a:ln>
                  <a:solidFill>
                    <a:srgbClr val="000000"/>
                  </a:solidFill>
                  <a:effectLst/>
                  <a:uLnTx/>
                  <a:uFillTx/>
                  <a:latin typeface="Segoe UI"/>
                  <a:ea typeface="+mn-ea"/>
                  <a:cs typeface="Arial"/>
                </a:rPr>
                <a:t>im</a:t>
              </a:r>
              <a:r>
                <a:rPr kumimoji="0" lang="en-GB" altLang="de-DE" sz="1200" b="0" i="0" u="none" strike="noStrike" kern="1200" cap="none" spc="0" normalizeH="0" baseline="0" noProof="0">
                  <a:ln>
                    <a:noFill/>
                  </a:ln>
                  <a:solidFill>
                    <a:srgbClr val="000000"/>
                  </a:solidFill>
                  <a:effectLst/>
                  <a:uLnTx/>
                  <a:uFillTx/>
                  <a:latin typeface="Segoe UI"/>
                  <a:ea typeface="+mn-ea"/>
                  <a:cs typeface="Arial"/>
                </a:rPr>
                <a:t> </a:t>
              </a:r>
              <a:r>
                <a:rPr kumimoji="0" lang="en-GB" altLang="de-DE" sz="1200" b="0" i="0" u="none" strike="noStrike" kern="1200" cap="none" spc="0" normalizeH="0" baseline="0" noProof="0" err="1">
                  <a:ln>
                    <a:noFill/>
                  </a:ln>
                  <a:solidFill>
                    <a:srgbClr val="000000"/>
                  </a:solidFill>
                  <a:effectLst/>
                  <a:uLnTx/>
                  <a:uFillTx/>
                  <a:latin typeface="Segoe UI"/>
                  <a:ea typeface="+mn-ea"/>
                  <a:cs typeface="Arial"/>
                </a:rPr>
                <a:t>Auftrag</a:t>
              </a:r>
              <a:r>
                <a:rPr kumimoji="0" lang="en-GB" altLang="de-DE" sz="1200" b="0" i="0" u="none" strike="noStrike" kern="1200" cap="none" spc="0" normalizeH="0" baseline="0" noProof="0">
                  <a:ln>
                    <a:noFill/>
                  </a:ln>
                  <a:solidFill>
                    <a:srgbClr val="000000"/>
                  </a:solidFill>
                  <a:effectLst/>
                  <a:uLnTx/>
                  <a:uFillTx/>
                  <a:latin typeface="Segoe UI"/>
                  <a:ea typeface="+mn-ea"/>
                  <a:cs typeface="Arial"/>
                </a:rPr>
                <a:t> von </a:t>
              </a:r>
              <a:r>
                <a:rPr kumimoji="0" lang="en-GB" altLang="de-DE" sz="1200" b="0" i="0" u="none" strike="noStrike" kern="1200" cap="none" spc="0" normalizeH="0" baseline="0" noProof="0" err="1">
                  <a:ln>
                    <a:noFill/>
                  </a:ln>
                  <a:solidFill>
                    <a:srgbClr val="000000"/>
                  </a:solidFill>
                  <a:effectLst/>
                  <a:uLnTx/>
                  <a:uFillTx/>
                  <a:latin typeface="Segoe UI"/>
                  <a:ea typeface="+mn-ea"/>
                  <a:cs typeface="Arial"/>
                </a:rPr>
                <a:t>antragsberechtigten</a:t>
              </a:r>
              <a:r>
                <a:rPr kumimoji="0" lang="en-GB" altLang="de-DE" sz="1200" b="0" i="0" u="none" strike="noStrike" kern="1200" cap="none" spc="0" normalizeH="0" baseline="0" noProof="0">
                  <a:ln>
                    <a:noFill/>
                  </a:ln>
                  <a:solidFill>
                    <a:srgbClr val="000000"/>
                  </a:solidFill>
                  <a:effectLst/>
                  <a:uLnTx/>
                  <a:uFillTx/>
                  <a:latin typeface="Segoe UI"/>
                  <a:ea typeface="+mn-ea"/>
                  <a:cs typeface="Arial"/>
                </a:rPr>
                <a:t> </a:t>
              </a:r>
              <a:r>
                <a:rPr kumimoji="0" lang="en-GB" altLang="de-DE" sz="1200" b="0" i="0" u="none" strike="noStrike" kern="1200" cap="none" spc="0" normalizeH="0" baseline="0" noProof="0" err="1">
                  <a:ln>
                    <a:noFill/>
                  </a:ln>
                  <a:solidFill>
                    <a:srgbClr val="000000"/>
                  </a:solidFill>
                  <a:effectLst/>
                  <a:uLnTx/>
                  <a:uFillTx/>
                  <a:latin typeface="Segoe UI"/>
                  <a:ea typeface="+mn-ea"/>
                  <a:cs typeface="Arial"/>
                </a:rPr>
                <a:t>Unternehmen</a:t>
              </a:r>
              <a:endParaRPr kumimoji="0" lang="en-GB" altLang="de-DE" sz="1200" b="0" i="0" u="none" strike="noStrike" kern="1200" cap="none" spc="0" normalizeH="0" baseline="0" noProof="0">
                <a:ln>
                  <a:noFill/>
                </a:ln>
                <a:solidFill>
                  <a:srgbClr val="000000"/>
                </a:solidFill>
                <a:effectLst/>
                <a:uLnTx/>
                <a:uFillTx/>
                <a:latin typeface="Segoe UI"/>
                <a:ea typeface="+mn-ea"/>
                <a:cs typeface="Arial"/>
              </a:endParaRPr>
            </a:p>
            <a:p>
              <a:pPr marL="114300" marR="0" lvl="1" indent="-114300" algn="l" defTabSz="5334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GB" altLang="de-DE" sz="1200" b="0" i="0" u="none" strike="noStrike" kern="1200" cap="none" spc="0" normalizeH="0" baseline="0" noProof="0" err="1">
                  <a:ln>
                    <a:noFill/>
                  </a:ln>
                  <a:solidFill>
                    <a:srgbClr val="000000"/>
                  </a:solidFill>
                  <a:effectLst/>
                  <a:uLnTx/>
                  <a:uFillTx/>
                  <a:latin typeface="Segoe UI"/>
                  <a:ea typeface="+mn-ea"/>
                  <a:cs typeface="Arial"/>
                </a:rPr>
                <a:t>Kommunale</a:t>
              </a:r>
              <a:r>
                <a:rPr kumimoji="0" lang="en-GB" altLang="de-DE" sz="1200" b="0" i="0" u="none" strike="noStrike" kern="1200" cap="none" spc="0" normalizeH="0" baseline="0" noProof="0">
                  <a:ln>
                    <a:noFill/>
                  </a:ln>
                  <a:solidFill>
                    <a:srgbClr val="000000"/>
                  </a:solidFill>
                  <a:effectLst/>
                  <a:uLnTx/>
                  <a:uFillTx/>
                  <a:latin typeface="Segoe UI"/>
                  <a:ea typeface="+mn-ea"/>
                  <a:cs typeface="Arial"/>
                </a:rPr>
                <a:t> </a:t>
              </a:r>
              <a:r>
                <a:rPr kumimoji="0" lang="en-GB" altLang="de-DE" sz="1200" b="0" i="0" u="none" strike="noStrike" kern="1200" cap="none" spc="0" normalizeH="0" baseline="0" noProof="0" err="1">
                  <a:ln>
                    <a:noFill/>
                  </a:ln>
                  <a:solidFill>
                    <a:srgbClr val="000000"/>
                  </a:solidFill>
                  <a:effectLst/>
                  <a:uLnTx/>
                  <a:uFillTx/>
                  <a:latin typeface="Segoe UI"/>
                  <a:ea typeface="+mn-ea"/>
                  <a:cs typeface="Arial"/>
                </a:rPr>
                <a:t>Unternehmen</a:t>
              </a:r>
              <a:r>
                <a:rPr kumimoji="0" lang="en-GB" altLang="de-DE" sz="1200" b="0" i="0" u="none" strike="noStrike" kern="1200" cap="none" spc="0" normalizeH="0" baseline="0" noProof="0">
                  <a:ln>
                    <a:noFill/>
                  </a:ln>
                  <a:solidFill>
                    <a:srgbClr val="000000"/>
                  </a:solidFill>
                  <a:effectLst/>
                  <a:uLnTx/>
                  <a:uFillTx/>
                  <a:latin typeface="Segoe UI"/>
                  <a:ea typeface="+mn-ea"/>
                  <a:cs typeface="Arial"/>
                </a:rPr>
                <a:t>, </a:t>
              </a:r>
              <a:r>
                <a:rPr kumimoji="0" lang="en-GB" altLang="de-DE" sz="1200" b="0" i="0" u="none" strike="noStrike" kern="1200" cap="none" spc="0" normalizeH="0" baseline="0" noProof="0" err="1">
                  <a:ln>
                    <a:noFill/>
                  </a:ln>
                  <a:solidFill>
                    <a:srgbClr val="000000"/>
                  </a:solidFill>
                  <a:effectLst/>
                  <a:uLnTx/>
                  <a:uFillTx/>
                  <a:latin typeface="Segoe UI"/>
                  <a:ea typeface="+mn-ea"/>
                  <a:cs typeface="Arial"/>
                </a:rPr>
                <a:t>Landesunternehmen</a:t>
              </a:r>
              <a:endParaRPr kumimoji="0" lang="en-GB" altLang="de-DE" sz="1200" b="0" i="0" u="none" strike="noStrike" kern="1200" cap="none" spc="0" normalizeH="0" baseline="0" noProof="0">
                <a:ln>
                  <a:noFill/>
                </a:ln>
                <a:solidFill>
                  <a:srgbClr val="000000"/>
                </a:solidFill>
                <a:effectLst/>
                <a:uLnTx/>
                <a:uFillTx/>
                <a:latin typeface="Segoe UI"/>
                <a:ea typeface="+mn-ea"/>
                <a:cs typeface="Arial"/>
              </a:endParaRPr>
            </a:p>
            <a:p>
              <a:pPr marL="114300" marR="0" lvl="1" indent="-114300" algn="l" defTabSz="5334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GB" altLang="de-DE" sz="1200" b="0" i="0" u="none" strike="noStrike" kern="1200" cap="none" spc="0" normalizeH="0" baseline="0" noProof="0" err="1">
                  <a:ln>
                    <a:noFill/>
                  </a:ln>
                  <a:solidFill>
                    <a:srgbClr val="000000"/>
                  </a:solidFill>
                  <a:effectLst/>
                  <a:uLnTx/>
                  <a:uFillTx/>
                  <a:latin typeface="Segoe UI"/>
                  <a:ea typeface="+mn-ea"/>
                  <a:cs typeface="Arial"/>
                </a:rPr>
                <a:t>Freiberuflich</a:t>
              </a:r>
              <a:r>
                <a:rPr kumimoji="0" lang="en-GB" altLang="de-DE" sz="1200" b="0" i="0" u="none" strike="noStrike" kern="1200" cap="none" spc="0" normalizeH="0" baseline="0" noProof="0">
                  <a:ln>
                    <a:noFill/>
                  </a:ln>
                  <a:solidFill>
                    <a:srgbClr val="000000"/>
                  </a:solidFill>
                  <a:effectLst/>
                  <a:uLnTx/>
                  <a:uFillTx/>
                  <a:latin typeface="Segoe UI"/>
                  <a:ea typeface="+mn-ea"/>
                  <a:cs typeface="Arial"/>
                </a:rPr>
                <a:t> </a:t>
              </a:r>
              <a:r>
                <a:rPr kumimoji="0" lang="en-GB" altLang="de-DE" sz="1200" b="0" i="0" u="none" strike="noStrike" kern="1200" cap="none" spc="0" normalizeH="0" baseline="0" noProof="0" err="1">
                  <a:ln>
                    <a:noFill/>
                  </a:ln>
                  <a:solidFill>
                    <a:srgbClr val="000000"/>
                  </a:solidFill>
                  <a:effectLst/>
                  <a:uLnTx/>
                  <a:uFillTx/>
                  <a:latin typeface="Segoe UI"/>
                  <a:ea typeface="+mn-ea"/>
                  <a:cs typeface="Arial"/>
                </a:rPr>
                <a:t>Tätige</a:t>
              </a:r>
              <a:endParaRPr kumimoji="0" lang="en-GB" altLang="de-DE" sz="1200" b="0" i="0" u="none" strike="noStrike" kern="1200" cap="none" spc="0" normalizeH="0" baseline="0" noProof="0">
                <a:ln>
                  <a:noFill/>
                </a:ln>
                <a:solidFill>
                  <a:srgbClr val="000000"/>
                </a:solidFill>
                <a:effectLst/>
                <a:uLnTx/>
                <a:uFillTx/>
                <a:latin typeface="Segoe UI"/>
                <a:ea typeface="+mn-ea"/>
                <a:cs typeface="Arial"/>
              </a:endParaRPr>
            </a:p>
          </p:txBody>
        </p:sp>
        <p:sp>
          <p:nvSpPr>
            <p:cNvPr id="11" name="Freihandform: Form 10">
              <a:extLst>
                <a:ext uri="{FF2B5EF4-FFF2-40B4-BE49-F238E27FC236}">
                  <a16:creationId xmlns:a16="http://schemas.microsoft.com/office/drawing/2014/main" id="{59B2302E-87E5-8034-326E-8A11EA733A08}"/>
                </a:ext>
              </a:extLst>
            </p:cNvPr>
            <p:cNvSpPr/>
            <p:nvPr/>
          </p:nvSpPr>
          <p:spPr>
            <a:xfrm>
              <a:off x="547583" y="3542749"/>
              <a:ext cx="3221625" cy="740560"/>
            </a:xfrm>
            <a:custGeom>
              <a:avLst/>
              <a:gdLst>
                <a:gd name="connsiteX0" fmla="*/ 0 w 3221625"/>
                <a:gd name="connsiteY0" fmla="*/ 123429 h 740560"/>
                <a:gd name="connsiteX1" fmla="*/ 123429 w 3221625"/>
                <a:gd name="connsiteY1" fmla="*/ 0 h 740560"/>
                <a:gd name="connsiteX2" fmla="*/ 3098196 w 3221625"/>
                <a:gd name="connsiteY2" fmla="*/ 0 h 740560"/>
                <a:gd name="connsiteX3" fmla="*/ 3221625 w 3221625"/>
                <a:gd name="connsiteY3" fmla="*/ 123429 h 740560"/>
                <a:gd name="connsiteX4" fmla="*/ 3221625 w 3221625"/>
                <a:gd name="connsiteY4" fmla="*/ 617131 h 740560"/>
                <a:gd name="connsiteX5" fmla="*/ 3098196 w 3221625"/>
                <a:gd name="connsiteY5" fmla="*/ 740560 h 740560"/>
                <a:gd name="connsiteX6" fmla="*/ 123429 w 3221625"/>
                <a:gd name="connsiteY6" fmla="*/ 740560 h 740560"/>
                <a:gd name="connsiteX7" fmla="*/ 0 w 3221625"/>
                <a:gd name="connsiteY7" fmla="*/ 617131 h 740560"/>
                <a:gd name="connsiteX8" fmla="*/ 0 w 3221625"/>
                <a:gd name="connsiteY8" fmla="*/ 123429 h 74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1625" h="740560">
                  <a:moveTo>
                    <a:pt x="0" y="123429"/>
                  </a:moveTo>
                  <a:cubicBezTo>
                    <a:pt x="0" y="55261"/>
                    <a:pt x="55261" y="0"/>
                    <a:pt x="123429" y="0"/>
                  </a:cubicBezTo>
                  <a:lnTo>
                    <a:pt x="3098196" y="0"/>
                  </a:lnTo>
                  <a:cubicBezTo>
                    <a:pt x="3166364" y="0"/>
                    <a:pt x="3221625" y="55261"/>
                    <a:pt x="3221625" y="123429"/>
                  </a:cubicBezTo>
                  <a:lnTo>
                    <a:pt x="3221625" y="617131"/>
                  </a:lnTo>
                  <a:cubicBezTo>
                    <a:pt x="3221625" y="685299"/>
                    <a:pt x="3166364" y="740560"/>
                    <a:pt x="3098196" y="740560"/>
                  </a:cubicBezTo>
                  <a:lnTo>
                    <a:pt x="123429" y="740560"/>
                  </a:lnTo>
                  <a:cubicBezTo>
                    <a:pt x="55261" y="740560"/>
                    <a:pt x="0" y="685299"/>
                    <a:pt x="0" y="617131"/>
                  </a:cubicBezTo>
                  <a:lnTo>
                    <a:pt x="0" y="123429"/>
                  </a:lnTo>
                  <a:close/>
                </a:path>
              </a:pathLst>
            </a:custGeom>
            <a:solidFill>
              <a:srgbClr val="FC5B2F"/>
            </a:solidFill>
            <a:ln w="63500">
              <a:solidFill>
                <a:schemeClr val="bg1"/>
              </a:solid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spcFirstLastPara="0" vert="horz" wrap="square" lIns="112351" tIns="74251" rIns="112351" bIns="74251"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de-DE" sz="2000" b="1" i="0" u="none" strike="noStrike" kern="1200" cap="none" spc="0" normalizeH="0" baseline="0" noProof="0">
                  <a:ln>
                    <a:noFill/>
                  </a:ln>
                  <a:solidFill>
                    <a:prstClr val="white"/>
                  </a:solidFill>
                  <a:effectLst/>
                  <a:uLnTx/>
                  <a:uFillTx/>
                  <a:latin typeface="Segoe UI"/>
                  <a:ea typeface="+mn-ea"/>
                  <a:cs typeface="+mn-cs"/>
                </a:rPr>
                <a:t>WER?</a:t>
              </a:r>
              <a:endParaRPr kumimoji="0" lang="en-GB" sz="2000" b="1" i="0" u="none" strike="noStrike" kern="1200" cap="none" spc="0" normalizeH="0" baseline="0" noProof="0">
                <a:ln>
                  <a:noFill/>
                </a:ln>
                <a:solidFill>
                  <a:prstClr val="white"/>
                </a:solidFill>
                <a:effectLst/>
                <a:uLnTx/>
                <a:uFillTx/>
                <a:latin typeface="Segoe UI"/>
                <a:ea typeface="+mn-ea"/>
                <a:cs typeface="+mn-cs"/>
              </a:endParaRPr>
            </a:p>
          </p:txBody>
        </p:sp>
        <p:sp>
          <p:nvSpPr>
            <p:cNvPr id="22" name="Freihandform: Form 21">
              <a:extLst>
                <a:ext uri="{FF2B5EF4-FFF2-40B4-BE49-F238E27FC236}">
                  <a16:creationId xmlns:a16="http://schemas.microsoft.com/office/drawing/2014/main" id="{0E0EEFF5-99C1-3AA7-5D7C-76A5E79D7BF0}"/>
                </a:ext>
              </a:extLst>
            </p:cNvPr>
            <p:cNvSpPr/>
            <p:nvPr/>
          </p:nvSpPr>
          <p:spPr>
            <a:xfrm>
              <a:off x="3773609" y="4344120"/>
              <a:ext cx="8083429" cy="1118327"/>
            </a:xfrm>
            <a:custGeom>
              <a:avLst/>
              <a:gdLst>
                <a:gd name="connsiteX0" fmla="*/ 0 w 1118327"/>
                <a:gd name="connsiteY0" fmla="*/ 186392 h 8083429"/>
                <a:gd name="connsiteX1" fmla="*/ 186392 w 1118327"/>
                <a:gd name="connsiteY1" fmla="*/ 0 h 8083429"/>
                <a:gd name="connsiteX2" fmla="*/ 931935 w 1118327"/>
                <a:gd name="connsiteY2" fmla="*/ 0 h 8083429"/>
                <a:gd name="connsiteX3" fmla="*/ 1118327 w 1118327"/>
                <a:gd name="connsiteY3" fmla="*/ 186392 h 8083429"/>
                <a:gd name="connsiteX4" fmla="*/ 1118327 w 1118327"/>
                <a:gd name="connsiteY4" fmla="*/ 7897037 h 8083429"/>
                <a:gd name="connsiteX5" fmla="*/ 931935 w 1118327"/>
                <a:gd name="connsiteY5" fmla="*/ 8083429 h 8083429"/>
                <a:gd name="connsiteX6" fmla="*/ 186392 w 1118327"/>
                <a:gd name="connsiteY6" fmla="*/ 8083429 h 8083429"/>
                <a:gd name="connsiteX7" fmla="*/ 0 w 1118327"/>
                <a:gd name="connsiteY7" fmla="*/ 7897037 h 8083429"/>
                <a:gd name="connsiteX8" fmla="*/ 0 w 1118327"/>
                <a:gd name="connsiteY8" fmla="*/ 186392 h 808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8327" h="8083429">
                  <a:moveTo>
                    <a:pt x="1092540" y="0"/>
                  </a:moveTo>
                  <a:cubicBezTo>
                    <a:pt x="1106782" y="0"/>
                    <a:pt x="1118327" y="603196"/>
                    <a:pt x="1118327" y="1347268"/>
                  </a:cubicBezTo>
                  <a:lnTo>
                    <a:pt x="1118327" y="6736161"/>
                  </a:lnTo>
                  <a:cubicBezTo>
                    <a:pt x="1118327" y="7480233"/>
                    <a:pt x="1106782" y="8083429"/>
                    <a:pt x="1092540" y="8083429"/>
                  </a:cubicBezTo>
                  <a:lnTo>
                    <a:pt x="25787" y="8083429"/>
                  </a:lnTo>
                  <a:cubicBezTo>
                    <a:pt x="11545" y="8083429"/>
                    <a:pt x="0" y="7480233"/>
                    <a:pt x="0" y="6736161"/>
                  </a:cubicBezTo>
                  <a:lnTo>
                    <a:pt x="0" y="1347268"/>
                  </a:lnTo>
                  <a:cubicBezTo>
                    <a:pt x="0" y="603196"/>
                    <a:pt x="11545" y="0"/>
                    <a:pt x="25787" y="0"/>
                  </a:cubicBezTo>
                  <a:lnTo>
                    <a:pt x="1092540" y="0"/>
                  </a:lnTo>
                  <a:close/>
                </a:path>
              </a:pathLst>
            </a:custGeom>
            <a:solidFill>
              <a:srgbClr val="FEEAE8">
                <a:alpha val="90000"/>
              </a:srgbClr>
            </a:solidFill>
            <a:ln w="63500" cap="rnd">
              <a:solidFill>
                <a:schemeClr val="bg1"/>
              </a:solidFill>
              <a:round/>
            </a:ln>
          </p:spPr>
          <p:style>
            <a:lnRef idx="2">
              <a:scrgbClr r="0" g="0" b="0"/>
            </a:lnRef>
            <a:fillRef idx="1">
              <a:scrgbClr r="0" g="0" b="0"/>
            </a:fillRef>
            <a:effectRef idx="0">
              <a:schemeClr val="accent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02242" tIns="178417" rIns="302242" bIns="178417" numCol="1" spcCol="1270" anchor="ctr" anchorCtr="0">
              <a:noAutofit/>
            </a:bodyPr>
            <a:lstStyle/>
            <a:p>
              <a:pPr marL="114300" marR="0" lvl="1" indent="-114300" algn="l" defTabSz="533400" rtl="0" eaLnBrk="1" fontAlgn="auto" latinLnBrk="0" hangingPunct="1">
                <a:lnSpc>
                  <a:spcPct val="90000"/>
                </a:lnSpc>
                <a:spcBef>
                  <a:spcPct val="0"/>
                </a:spcBef>
                <a:spcAft>
                  <a:spcPct val="15000"/>
                </a:spcAft>
                <a:buClrTx/>
                <a:buSzTx/>
                <a:buFontTx/>
                <a:buChar char="•"/>
                <a:tabLst/>
                <a:defRPr/>
              </a:pPr>
              <a:r>
                <a:rPr kumimoji="0" lang="en-GB" sz="1200" b="0" i="0" u="none" strike="noStrike" kern="1200" cap="none" spc="0" normalizeH="0" baseline="0" noProof="0" err="1">
                  <a:ln>
                    <a:noFill/>
                  </a:ln>
                  <a:solidFill>
                    <a:prstClr val="black">
                      <a:hueOff val="0"/>
                      <a:satOff val="0"/>
                      <a:lumOff val="0"/>
                      <a:alphaOff val="0"/>
                    </a:prstClr>
                  </a:solidFill>
                  <a:effectLst/>
                  <a:uLnTx/>
                  <a:uFillTx/>
                  <a:latin typeface="Segoe UI"/>
                  <a:ea typeface="+mn-ea"/>
                  <a:cs typeface="+mn-cs"/>
                </a:rPr>
                <a:t>Basisförderung</a:t>
              </a:r>
              <a:r>
                <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 10% der </a:t>
              </a:r>
              <a:r>
                <a:rPr kumimoji="0" lang="en-GB" sz="1200" b="0" i="0" u="none" strike="noStrike" kern="1200" cap="none" spc="0" normalizeH="0" baseline="0" noProof="0" err="1">
                  <a:ln>
                    <a:noFill/>
                  </a:ln>
                  <a:solidFill>
                    <a:prstClr val="black">
                      <a:hueOff val="0"/>
                      <a:satOff val="0"/>
                      <a:lumOff val="0"/>
                      <a:alphaOff val="0"/>
                    </a:prstClr>
                  </a:solidFill>
                  <a:effectLst/>
                  <a:uLnTx/>
                  <a:uFillTx/>
                  <a:latin typeface="Segoe UI"/>
                  <a:ea typeface="+mn-ea"/>
                  <a:cs typeface="+mn-cs"/>
                </a:rPr>
                <a:t>gesamten</a:t>
              </a:r>
              <a:r>
                <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 </a:t>
              </a:r>
              <a:r>
                <a:rPr kumimoji="0" lang="en-GB" sz="1200" b="0" i="0" u="none" strike="noStrike" kern="1200" cap="none" spc="0" normalizeH="0" baseline="0" noProof="0" err="1">
                  <a:ln>
                    <a:noFill/>
                  </a:ln>
                  <a:solidFill>
                    <a:prstClr val="black">
                      <a:hueOff val="0"/>
                      <a:satOff val="0"/>
                      <a:lumOff val="0"/>
                      <a:alphaOff val="0"/>
                    </a:prstClr>
                  </a:solidFill>
                  <a:effectLst/>
                  <a:uLnTx/>
                  <a:uFillTx/>
                  <a:latin typeface="Segoe UI"/>
                  <a:ea typeface="+mn-ea"/>
                  <a:cs typeface="+mn-cs"/>
                </a:rPr>
                <a:t>Investitionskosten</a:t>
              </a:r>
              <a:r>
                <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 für MU, 15% für KU. </a:t>
              </a:r>
              <a:r>
                <a:rPr kumimoji="0" lang="en-GB" sz="1200" b="0" i="0" u="none" strike="noStrike" kern="1200" cap="none" spc="0" normalizeH="0" baseline="0" noProof="0" err="1">
                  <a:ln>
                    <a:noFill/>
                  </a:ln>
                  <a:solidFill>
                    <a:prstClr val="black">
                      <a:hueOff val="0"/>
                      <a:satOff val="0"/>
                      <a:lumOff val="0"/>
                      <a:alphaOff val="0"/>
                    </a:prstClr>
                  </a:solidFill>
                  <a:effectLst/>
                  <a:uLnTx/>
                  <a:uFillTx/>
                  <a:latin typeface="Segoe UI"/>
                  <a:ea typeface="+mn-ea"/>
                  <a:cs typeface="+mn-cs"/>
                </a:rPr>
                <a:t>Premiumförderung</a:t>
              </a:r>
              <a:r>
                <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 10/15/20% der </a:t>
              </a:r>
              <a:r>
                <a:rPr kumimoji="0" lang="en-GB" sz="1200" b="0" i="0" u="none" strike="noStrike" kern="1200" cap="none" spc="0" normalizeH="0" baseline="0" noProof="0" err="1">
                  <a:ln>
                    <a:noFill/>
                  </a:ln>
                  <a:solidFill>
                    <a:prstClr val="black">
                      <a:hueOff val="0"/>
                      <a:satOff val="0"/>
                      <a:lumOff val="0"/>
                      <a:alphaOff val="0"/>
                    </a:prstClr>
                  </a:solidFill>
                  <a:effectLst/>
                  <a:uLnTx/>
                  <a:uFillTx/>
                  <a:latin typeface="Segoe UI"/>
                  <a:ea typeface="+mn-ea"/>
                  <a:cs typeface="+mn-cs"/>
                </a:rPr>
                <a:t>gesamten</a:t>
              </a:r>
              <a:r>
                <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 </a:t>
              </a:r>
              <a:r>
                <a:rPr kumimoji="0" lang="en-GB" sz="1200" b="0" i="0" u="none" strike="noStrike" kern="1200" cap="none" spc="0" normalizeH="0" baseline="0" noProof="0" err="1">
                  <a:ln>
                    <a:noFill/>
                  </a:ln>
                  <a:solidFill>
                    <a:prstClr val="black">
                      <a:hueOff val="0"/>
                      <a:satOff val="0"/>
                      <a:lumOff val="0"/>
                      <a:alphaOff val="0"/>
                    </a:prstClr>
                  </a:solidFill>
                  <a:effectLst/>
                  <a:uLnTx/>
                  <a:uFillTx/>
                  <a:latin typeface="Segoe UI"/>
                  <a:ea typeface="+mn-ea"/>
                  <a:cs typeface="+mn-cs"/>
                </a:rPr>
                <a:t>Investitionskosten</a:t>
              </a:r>
              <a:r>
                <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 </a:t>
              </a:r>
              <a:r>
                <a:rPr kumimoji="0" lang="en-GB" sz="1200" b="0" i="0" u="none" strike="noStrike" kern="1200" cap="none" spc="0" normalizeH="0" baseline="0" noProof="0" err="1">
                  <a:ln>
                    <a:noFill/>
                  </a:ln>
                  <a:solidFill>
                    <a:prstClr val="black">
                      <a:hueOff val="0"/>
                      <a:satOff val="0"/>
                      <a:lumOff val="0"/>
                      <a:alphaOff val="0"/>
                    </a:prstClr>
                  </a:solidFill>
                  <a:effectLst/>
                  <a:uLnTx/>
                  <a:uFillTx/>
                  <a:latin typeface="Segoe UI"/>
                  <a:ea typeface="+mn-ea"/>
                  <a:cs typeface="+mn-cs"/>
                </a:rPr>
                <a:t>oder</a:t>
              </a:r>
              <a:r>
                <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 25/35/45% der </a:t>
              </a:r>
              <a:r>
                <a:rPr kumimoji="0" lang="en-GB" sz="1200" b="0" i="0" u="none" strike="noStrike" kern="1200" cap="none" spc="0" normalizeH="0" baseline="0" noProof="0" err="1">
                  <a:ln>
                    <a:noFill/>
                  </a:ln>
                  <a:solidFill>
                    <a:prstClr val="black">
                      <a:hueOff val="0"/>
                      <a:satOff val="0"/>
                      <a:lumOff val="0"/>
                      <a:alphaOff val="0"/>
                    </a:prstClr>
                  </a:solidFill>
                  <a:effectLst/>
                  <a:uLnTx/>
                  <a:uFillTx/>
                  <a:latin typeface="Segoe UI"/>
                  <a:ea typeface="+mn-ea"/>
                  <a:cs typeface="+mn-cs"/>
                </a:rPr>
                <a:t>Investitionsmehrkosten</a:t>
              </a:r>
              <a:r>
                <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 </a:t>
              </a:r>
              <a:r>
                <a:rPr kumimoji="0" lang="en-GB" sz="1200" b="0" i="0" u="none" strike="noStrike" kern="1200" cap="none" spc="0" normalizeH="0" baseline="0" noProof="0" err="1">
                  <a:ln>
                    <a:noFill/>
                  </a:ln>
                  <a:solidFill>
                    <a:prstClr val="black">
                      <a:hueOff val="0"/>
                      <a:satOff val="0"/>
                      <a:lumOff val="0"/>
                      <a:alphaOff val="0"/>
                    </a:prstClr>
                  </a:solidFill>
                  <a:effectLst/>
                  <a:uLnTx/>
                  <a:uFillTx/>
                  <a:latin typeface="Segoe UI"/>
                  <a:ea typeface="+mn-ea"/>
                  <a:cs typeface="+mn-cs"/>
                </a:rPr>
                <a:t>Dekarbonisierungsbonus</a:t>
              </a:r>
              <a:r>
                <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 15/20/25% der </a:t>
              </a:r>
              <a:r>
                <a:rPr kumimoji="0" lang="en-GB" sz="1200" b="0" i="0" u="none" strike="noStrike" kern="1200" cap="none" spc="0" normalizeH="0" baseline="0" noProof="0" err="1">
                  <a:ln>
                    <a:noFill/>
                  </a:ln>
                  <a:solidFill>
                    <a:prstClr val="black">
                      <a:hueOff val="0"/>
                      <a:satOff val="0"/>
                      <a:lumOff val="0"/>
                      <a:alphaOff val="0"/>
                    </a:prstClr>
                  </a:solidFill>
                  <a:effectLst/>
                  <a:uLnTx/>
                  <a:uFillTx/>
                  <a:latin typeface="Segoe UI"/>
                  <a:ea typeface="+mn-ea"/>
                  <a:cs typeface="+mn-cs"/>
                </a:rPr>
                <a:t>gesamten</a:t>
              </a:r>
              <a:r>
                <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 </a:t>
              </a:r>
              <a:r>
                <a:rPr kumimoji="0" lang="en-GB" sz="1200" b="0" i="0" u="none" strike="noStrike" kern="1200" cap="none" spc="0" normalizeH="0" baseline="0" noProof="0" err="1">
                  <a:ln>
                    <a:noFill/>
                  </a:ln>
                  <a:solidFill>
                    <a:prstClr val="black">
                      <a:hueOff val="0"/>
                      <a:satOff val="0"/>
                      <a:lumOff val="0"/>
                      <a:alphaOff val="0"/>
                    </a:prstClr>
                  </a:solidFill>
                  <a:effectLst/>
                  <a:uLnTx/>
                  <a:uFillTx/>
                  <a:latin typeface="Segoe UI"/>
                  <a:ea typeface="+mn-ea"/>
                  <a:cs typeface="+mn-cs"/>
                </a:rPr>
                <a:t>Investitionskosten</a:t>
              </a:r>
              <a:r>
                <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 </a:t>
              </a:r>
              <a:r>
                <a:rPr kumimoji="0" lang="en-GB" sz="1200" b="0" i="0" u="none" strike="noStrike" kern="1200" cap="none" spc="0" normalizeH="0" baseline="0" noProof="0" err="1">
                  <a:ln>
                    <a:noFill/>
                  </a:ln>
                  <a:solidFill>
                    <a:prstClr val="black">
                      <a:hueOff val="0"/>
                      <a:satOff val="0"/>
                      <a:lumOff val="0"/>
                      <a:alphaOff val="0"/>
                    </a:prstClr>
                  </a:solidFill>
                  <a:effectLst/>
                  <a:uLnTx/>
                  <a:uFillTx/>
                  <a:latin typeface="Segoe UI"/>
                  <a:ea typeface="+mn-ea"/>
                  <a:cs typeface="+mn-cs"/>
                </a:rPr>
                <a:t>oder</a:t>
              </a:r>
              <a:r>
                <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 35/45/55% der </a:t>
              </a:r>
              <a:r>
                <a:rPr kumimoji="0" lang="en-GB" sz="1200" b="0" i="0" u="none" strike="noStrike" kern="1200" cap="none" spc="0" normalizeH="0" baseline="0" noProof="0" err="1">
                  <a:ln>
                    <a:noFill/>
                  </a:ln>
                  <a:solidFill>
                    <a:prstClr val="black">
                      <a:hueOff val="0"/>
                      <a:satOff val="0"/>
                      <a:lumOff val="0"/>
                      <a:alphaOff val="0"/>
                    </a:prstClr>
                  </a:solidFill>
                  <a:effectLst/>
                  <a:uLnTx/>
                  <a:uFillTx/>
                  <a:latin typeface="Segoe UI"/>
                  <a:ea typeface="+mn-ea"/>
                  <a:cs typeface="+mn-cs"/>
                </a:rPr>
                <a:t>Investitionsmehrkosten</a:t>
              </a:r>
              <a:r>
                <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 </a:t>
              </a:r>
              <a:r>
                <a:rPr kumimoji="0" lang="de-DE" altLang="de-DE"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Zinsverbilligung von max. 0,5 Prozentpunkten</a:t>
              </a:r>
              <a:r>
                <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 </a:t>
              </a:r>
            </a:p>
            <a:p>
              <a:pPr marL="114300" marR="0" lvl="1" indent="-114300" algn="l" defTabSz="533400" rtl="0" eaLnBrk="1" fontAlgn="auto" latinLnBrk="0" hangingPunct="1">
                <a:lnSpc>
                  <a:spcPct val="90000"/>
                </a:lnSpc>
                <a:spcBef>
                  <a:spcPct val="0"/>
                </a:spcBef>
                <a:spcAft>
                  <a:spcPct val="15000"/>
                </a:spcAft>
                <a:buClrTx/>
                <a:buSzTx/>
                <a:buFontTx/>
                <a:buChar char="•"/>
                <a:tabLst/>
                <a:defRPr/>
              </a:pPr>
              <a:r>
                <a:rPr kumimoji="0" lang="de-DE" altLang="de-DE"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Max. 1600 €/eingesparte Tonne CO2/Jahr, max. 2200 € bei mittleren Unternehmen, max. 2600€ bei KU</a:t>
              </a:r>
              <a:endPar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endParaRPr>
            </a:p>
            <a:p>
              <a:pPr marL="114300" marR="0" lvl="1" indent="-114300" algn="l" defTabSz="533400" rtl="0" eaLnBrk="1" fontAlgn="auto" latinLnBrk="0" hangingPunct="1">
                <a:lnSpc>
                  <a:spcPct val="90000"/>
                </a:lnSpc>
                <a:spcBef>
                  <a:spcPct val="0"/>
                </a:spcBef>
                <a:spcAft>
                  <a:spcPct val="15000"/>
                </a:spcAft>
                <a:buClrTx/>
                <a:buSzTx/>
                <a:buFontTx/>
                <a:buChar char="•"/>
                <a:tabLst/>
                <a:defRPr/>
              </a:pPr>
              <a:r>
                <a:rPr kumimoji="0" lang="de-DE" altLang="de-DE"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Max. 20 Mio. € pro Vorhaben; Beihilferechtliche Vorgaben: Art. 38 AGVO</a:t>
              </a:r>
              <a:endParaRPr kumimoji="0" lang="en-GB" altLang="de-DE"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endParaRPr>
            </a:p>
          </p:txBody>
        </p:sp>
        <p:sp>
          <p:nvSpPr>
            <p:cNvPr id="23" name="Freihandform: Form 22">
              <a:extLst>
                <a:ext uri="{FF2B5EF4-FFF2-40B4-BE49-F238E27FC236}">
                  <a16:creationId xmlns:a16="http://schemas.microsoft.com/office/drawing/2014/main" id="{64BCB3F8-C75D-F798-357A-45B7A9214CC8}"/>
                </a:ext>
              </a:extLst>
            </p:cNvPr>
            <p:cNvSpPr/>
            <p:nvPr/>
          </p:nvSpPr>
          <p:spPr>
            <a:xfrm>
              <a:off x="547583" y="4355126"/>
              <a:ext cx="3225131" cy="1102704"/>
            </a:xfrm>
            <a:custGeom>
              <a:avLst/>
              <a:gdLst>
                <a:gd name="connsiteX0" fmla="*/ 0 w 3225131"/>
                <a:gd name="connsiteY0" fmla="*/ 205614 h 1233658"/>
                <a:gd name="connsiteX1" fmla="*/ 205614 w 3225131"/>
                <a:gd name="connsiteY1" fmla="*/ 0 h 1233658"/>
                <a:gd name="connsiteX2" fmla="*/ 3019517 w 3225131"/>
                <a:gd name="connsiteY2" fmla="*/ 0 h 1233658"/>
                <a:gd name="connsiteX3" fmla="*/ 3225131 w 3225131"/>
                <a:gd name="connsiteY3" fmla="*/ 205614 h 1233658"/>
                <a:gd name="connsiteX4" fmla="*/ 3225131 w 3225131"/>
                <a:gd name="connsiteY4" fmla="*/ 1028044 h 1233658"/>
                <a:gd name="connsiteX5" fmla="*/ 3019517 w 3225131"/>
                <a:gd name="connsiteY5" fmla="*/ 1233658 h 1233658"/>
                <a:gd name="connsiteX6" fmla="*/ 205614 w 3225131"/>
                <a:gd name="connsiteY6" fmla="*/ 1233658 h 1233658"/>
                <a:gd name="connsiteX7" fmla="*/ 0 w 3225131"/>
                <a:gd name="connsiteY7" fmla="*/ 1028044 h 1233658"/>
                <a:gd name="connsiteX8" fmla="*/ 0 w 3225131"/>
                <a:gd name="connsiteY8" fmla="*/ 205614 h 1233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131" h="1233658">
                  <a:moveTo>
                    <a:pt x="0" y="205614"/>
                  </a:moveTo>
                  <a:cubicBezTo>
                    <a:pt x="0" y="92057"/>
                    <a:pt x="92057" y="0"/>
                    <a:pt x="205614" y="0"/>
                  </a:cubicBezTo>
                  <a:lnTo>
                    <a:pt x="3019517" y="0"/>
                  </a:lnTo>
                  <a:cubicBezTo>
                    <a:pt x="3133074" y="0"/>
                    <a:pt x="3225131" y="92057"/>
                    <a:pt x="3225131" y="205614"/>
                  </a:cubicBezTo>
                  <a:lnTo>
                    <a:pt x="3225131" y="1028044"/>
                  </a:lnTo>
                  <a:cubicBezTo>
                    <a:pt x="3225131" y="1141601"/>
                    <a:pt x="3133074" y="1233658"/>
                    <a:pt x="3019517" y="1233658"/>
                  </a:cubicBezTo>
                  <a:lnTo>
                    <a:pt x="205614" y="1233658"/>
                  </a:lnTo>
                  <a:cubicBezTo>
                    <a:pt x="92057" y="1233658"/>
                    <a:pt x="0" y="1141601"/>
                    <a:pt x="0" y="1028044"/>
                  </a:cubicBezTo>
                  <a:lnTo>
                    <a:pt x="0" y="205614"/>
                  </a:lnTo>
                  <a:close/>
                </a:path>
              </a:pathLst>
            </a:custGeom>
            <a:solidFill>
              <a:srgbClr val="FC5B2F"/>
            </a:solidFill>
            <a:ln w="63500">
              <a:solidFill>
                <a:schemeClr val="bg1"/>
              </a:solid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spcFirstLastPara="0" vert="horz" wrap="square" lIns="136422" tIns="98322" rIns="136422" bIns="98322"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de-DE" sz="2000" b="1" i="0" u="none" strike="noStrike" kern="1200" cap="none" spc="0" normalizeH="0" baseline="0" noProof="0">
                  <a:ln>
                    <a:noFill/>
                  </a:ln>
                  <a:solidFill>
                    <a:prstClr val="white"/>
                  </a:solidFill>
                  <a:effectLst/>
                  <a:uLnTx/>
                  <a:uFillTx/>
                  <a:latin typeface="Segoe UI"/>
                  <a:ea typeface="+mn-ea"/>
                  <a:cs typeface="+mn-cs"/>
                </a:rPr>
                <a:t>WIE VIEL?</a:t>
              </a:r>
              <a:endParaRPr kumimoji="0" lang="en-GB" sz="2000" b="1" i="0" u="none" strike="noStrike" kern="1200" cap="none" spc="0" normalizeH="0" baseline="0" noProof="0">
                <a:ln>
                  <a:noFill/>
                </a:ln>
                <a:solidFill>
                  <a:prstClr val="white"/>
                </a:solidFill>
                <a:effectLst/>
                <a:uLnTx/>
                <a:uFillTx/>
                <a:latin typeface="Segoe UI"/>
                <a:ea typeface="+mn-ea"/>
                <a:cs typeface="+mn-cs"/>
              </a:endParaRPr>
            </a:p>
          </p:txBody>
        </p:sp>
        <p:sp>
          <p:nvSpPr>
            <p:cNvPr id="24" name="Freihandform: Form 23">
              <a:extLst>
                <a:ext uri="{FF2B5EF4-FFF2-40B4-BE49-F238E27FC236}">
                  <a16:creationId xmlns:a16="http://schemas.microsoft.com/office/drawing/2014/main" id="{0745B095-1AE8-CC4B-05DD-CCD25EE95531}"/>
                </a:ext>
              </a:extLst>
            </p:cNvPr>
            <p:cNvSpPr/>
            <p:nvPr/>
          </p:nvSpPr>
          <p:spPr>
            <a:xfrm>
              <a:off x="3771229" y="5474073"/>
              <a:ext cx="8080401" cy="370354"/>
            </a:xfrm>
            <a:custGeom>
              <a:avLst/>
              <a:gdLst>
                <a:gd name="connsiteX0" fmla="*/ 0 w 370353"/>
                <a:gd name="connsiteY0" fmla="*/ 61727 h 8080400"/>
                <a:gd name="connsiteX1" fmla="*/ 61727 w 370353"/>
                <a:gd name="connsiteY1" fmla="*/ 0 h 8080400"/>
                <a:gd name="connsiteX2" fmla="*/ 308626 w 370353"/>
                <a:gd name="connsiteY2" fmla="*/ 0 h 8080400"/>
                <a:gd name="connsiteX3" fmla="*/ 370353 w 370353"/>
                <a:gd name="connsiteY3" fmla="*/ 61727 h 8080400"/>
                <a:gd name="connsiteX4" fmla="*/ 370353 w 370353"/>
                <a:gd name="connsiteY4" fmla="*/ 8018673 h 8080400"/>
                <a:gd name="connsiteX5" fmla="*/ 308626 w 370353"/>
                <a:gd name="connsiteY5" fmla="*/ 8080400 h 8080400"/>
                <a:gd name="connsiteX6" fmla="*/ 61727 w 370353"/>
                <a:gd name="connsiteY6" fmla="*/ 8080400 h 8080400"/>
                <a:gd name="connsiteX7" fmla="*/ 0 w 370353"/>
                <a:gd name="connsiteY7" fmla="*/ 8018673 h 8080400"/>
                <a:gd name="connsiteX8" fmla="*/ 0 w 370353"/>
                <a:gd name="connsiteY8" fmla="*/ 61727 h 808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0353" h="8080400">
                  <a:moveTo>
                    <a:pt x="367524" y="11"/>
                  </a:moveTo>
                  <a:cubicBezTo>
                    <a:pt x="369086" y="11"/>
                    <a:pt x="370353" y="602974"/>
                    <a:pt x="370353" y="1346773"/>
                  </a:cubicBezTo>
                  <a:lnTo>
                    <a:pt x="370353" y="6733627"/>
                  </a:lnTo>
                  <a:cubicBezTo>
                    <a:pt x="370353" y="7477426"/>
                    <a:pt x="369086" y="8080389"/>
                    <a:pt x="367524" y="8080389"/>
                  </a:cubicBezTo>
                  <a:lnTo>
                    <a:pt x="2829" y="8080389"/>
                  </a:lnTo>
                  <a:cubicBezTo>
                    <a:pt x="1267" y="8080389"/>
                    <a:pt x="0" y="7477426"/>
                    <a:pt x="0" y="6733627"/>
                  </a:cubicBezTo>
                  <a:lnTo>
                    <a:pt x="0" y="1346773"/>
                  </a:lnTo>
                  <a:cubicBezTo>
                    <a:pt x="0" y="602974"/>
                    <a:pt x="1267" y="11"/>
                    <a:pt x="2829" y="11"/>
                  </a:cubicBezTo>
                  <a:lnTo>
                    <a:pt x="367524" y="11"/>
                  </a:lnTo>
                  <a:close/>
                </a:path>
              </a:pathLst>
            </a:custGeom>
            <a:solidFill>
              <a:srgbClr val="FEEAE8">
                <a:alpha val="90000"/>
              </a:srgbClr>
            </a:solidFill>
            <a:ln w="63500" cap="rnd">
              <a:solidFill>
                <a:schemeClr val="bg1">
                  <a:alpha val="90000"/>
                </a:schemeClr>
              </a:solidFill>
              <a:round/>
            </a:ln>
          </p:spPr>
          <p:style>
            <a:lnRef idx="2">
              <a:scrgbClr r="0" g="0" b="0"/>
            </a:lnRef>
            <a:fillRef idx="1">
              <a:scrgbClr r="0" g="0" b="0"/>
            </a:fillRef>
            <a:effectRef idx="0">
              <a:schemeClr val="accent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65730" tIns="141904" rIns="265729" bIns="141905" numCol="1" spcCol="1270" anchor="ctr" anchorCtr="0">
              <a:noAutofit/>
            </a:bodyPr>
            <a:lstStyle/>
            <a:p>
              <a:pPr marL="114300" marR="0" lvl="1" indent="-114300" algn="l" defTabSz="533400" rtl="0" eaLnBrk="1" fontAlgn="auto" latinLnBrk="0" hangingPunct="1">
                <a:lnSpc>
                  <a:spcPct val="90000"/>
                </a:lnSpc>
                <a:spcBef>
                  <a:spcPct val="0"/>
                </a:spcBef>
                <a:spcAft>
                  <a:spcPct val="15000"/>
                </a:spcAft>
                <a:buClrTx/>
                <a:buSzTx/>
                <a:buFontTx/>
                <a:buNone/>
                <a:tabLst/>
                <a:defRPr/>
              </a:pPr>
              <a:r>
                <a:rPr kumimoji="0" lang="en-GB" sz="1200" b="0" i="0" u="none" strike="noStrike" kern="1200" cap="none" spc="0" normalizeH="0" baseline="0" noProof="0">
                  <a:ln>
                    <a:noFill/>
                  </a:ln>
                  <a:solidFill>
                    <a:prstClr val="black"/>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BAFA Modul 4 </a:t>
              </a:r>
              <a:r>
                <a:rPr kumimoji="0" lang="en-GB" sz="1200" b="0" i="0" u="none" strike="noStrike" kern="1200" cap="none" spc="0" normalizeH="0" baseline="0" noProof="0" err="1">
                  <a:ln>
                    <a:noFill/>
                  </a:ln>
                  <a:solidFill>
                    <a:prstClr val="black"/>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Basisförderung</a:t>
              </a:r>
              <a:r>
                <a:rPr kumimoji="0" lang="en-GB" sz="1200" b="0" i="0" u="none" strike="noStrike" kern="1200" cap="none" spc="0" normalizeH="0" baseline="0" noProof="0">
                  <a:ln>
                    <a:noFill/>
                  </a:ln>
                  <a:solidFill>
                    <a:prstClr val="black"/>
                  </a:solidFill>
                  <a:effectLst/>
                  <a:uLnTx/>
                  <a:uFillTx/>
                  <a:latin typeface="Segoe UI"/>
                  <a:ea typeface="+mn-ea"/>
                  <a:cs typeface="+mn-cs"/>
                </a:rPr>
                <a:t> und </a:t>
              </a:r>
              <a:r>
                <a:rPr kumimoji="0" lang="de-DE" sz="1200" b="0" i="0" u="none" strike="noStrike" kern="1200" cap="none" spc="0" normalizeH="0" baseline="0" noProof="0">
                  <a:ln>
                    <a:noFill/>
                  </a:ln>
                  <a:solidFill>
                    <a:prstClr val="black"/>
                  </a:solidFill>
                  <a:effectLst/>
                  <a:uLnTx/>
                  <a:uFillTx/>
                  <a:latin typeface="Segoe UI"/>
                  <a:ea typeface="+mn-ea"/>
                  <a:cs typeface="+mn-cs"/>
                  <a:hlinkClick r:id="rId4">
                    <a:extLst>
                      <a:ext uri="{A12FA001-AC4F-418D-AE19-62706E023703}">
                        <ahyp:hlinkClr xmlns:ahyp="http://schemas.microsoft.com/office/drawing/2018/hyperlinkcolor" val="tx"/>
                      </a:ext>
                    </a:extLst>
                  </a:hlinkClick>
                </a:rPr>
                <a:t>BAFA Modul 4 Premiumförderung</a:t>
              </a:r>
              <a:r>
                <a:rPr kumimoji="0" lang="de-DE" sz="1200" b="0" i="0" u="none" strike="noStrike" kern="1200" cap="none" spc="0" normalizeH="0" baseline="0" noProof="0">
                  <a:ln>
                    <a:noFill/>
                  </a:ln>
                  <a:solidFill>
                    <a:prstClr val="black"/>
                  </a:solidFill>
                  <a:effectLst/>
                  <a:uLnTx/>
                  <a:uFillTx/>
                  <a:latin typeface="Segoe UI"/>
                  <a:ea typeface="+mn-ea"/>
                  <a:cs typeface="+mn-cs"/>
                </a:rPr>
                <a:t> </a:t>
              </a:r>
              <a:endParaRPr kumimoji="0" lang="en-GB" sz="1200" b="0" i="0" u="none" strike="noStrike" kern="1200" cap="none" spc="0" normalizeH="0" baseline="0" noProof="0">
                <a:ln>
                  <a:noFill/>
                </a:ln>
                <a:solidFill>
                  <a:prstClr val="black"/>
                </a:solidFill>
                <a:effectLst/>
                <a:uLnTx/>
                <a:uFillTx/>
                <a:latin typeface="Segoe UI"/>
                <a:ea typeface="+mn-ea"/>
                <a:cs typeface="+mn-cs"/>
              </a:endParaRPr>
            </a:p>
          </p:txBody>
        </p:sp>
        <p:sp>
          <p:nvSpPr>
            <p:cNvPr id="25" name="Freihandform: Form 24">
              <a:extLst>
                <a:ext uri="{FF2B5EF4-FFF2-40B4-BE49-F238E27FC236}">
                  <a16:creationId xmlns:a16="http://schemas.microsoft.com/office/drawing/2014/main" id="{079FEA60-84C3-3134-C280-7DB938894B5D}"/>
                </a:ext>
              </a:extLst>
            </p:cNvPr>
            <p:cNvSpPr/>
            <p:nvPr/>
          </p:nvSpPr>
          <p:spPr>
            <a:xfrm>
              <a:off x="547359" y="5473469"/>
              <a:ext cx="3225145" cy="370958"/>
            </a:xfrm>
            <a:custGeom>
              <a:avLst/>
              <a:gdLst>
                <a:gd name="connsiteX0" fmla="*/ 0 w 3225145"/>
                <a:gd name="connsiteY0" fmla="*/ 61828 h 370958"/>
                <a:gd name="connsiteX1" fmla="*/ 61828 w 3225145"/>
                <a:gd name="connsiteY1" fmla="*/ 0 h 370958"/>
                <a:gd name="connsiteX2" fmla="*/ 3163317 w 3225145"/>
                <a:gd name="connsiteY2" fmla="*/ 0 h 370958"/>
                <a:gd name="connsiteX3" fmla="*/ 3225145 w 3225145"/>
                <a:gd name="connsiteY3" fmla="*/ 61828 h 370958"/>
                <a:gd name="connsiteX4" fmla="*/ 3225145 w 3225145"/>
                <a:gd name="connsiteY4" fmla="*/ 309130 h 370958"/>
                <a:gd name="connsiteX5" fmla="*/ 3163317 w 3225145"/>
                <a:gd name="connsiteY5" fmla="*/ 370958 h 370958"/>
                <a:gd name="connsiteX6" fmla="*/ 61828 w 3225145"/>
                <a:gd name="connsiteY6" fmla="*/ 370958 h 370958"/>
                <a:gd name="connsiteX7" fmla="*/ 0 w 3225145"/>
                <a:gd name="connsiteY7" fmla="*/ 309130 h 370958"/>
                <a:gd name="connsiteX8" fmla="*/ 0 w 3225145"/>
                <a:gd name="connsiteY8" fmla="*/ 61828 h 370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145" h="370958">
                  <a:moveTo>
                    <a:pt x="0" y="61828"/>
                  </a:moveTo>
                  <a:cubicBezTo>
                    <a:pt x="0" y="27681"/>
                    <a:pt x="27681" y="0"/>
                    <a:pt x="61828" y="0"/>
                  </a:cubicBezTo>
                  <a:lnTo>
                    <a:pt x="3163317" y="0"/>
                  </a:lnTo>
                  <a:cubicBezTo>
                    <a:pt x="3197464" y="0"/>
                    <a:pt x="3225145" y="27681"/>
                    <a:pt x="3225145" y="61828"/>
                  </a:cubicBezTo>
                  <a:lnTo>
                    <a:pt x="3225145" y="309130"/>
                  </a:lnTo>
                  <a:cubicBezTo>
                    <a:pt x="3225145" y="343277"/>
                    <a:pt x="3197464" y="370958"/>
                    <a:pt x="3163317" y="370958"/>
                  </a:cubicBezTo>
                  <a:lnTo>
                    <a:pt x="61828" y="370958"/>
                  </a:lnTo>
                  <a:cubicBezTo>
                    <a:pt x="27681" y="370958"/>
                    <a:pt x="0" y="343277"/>
                    <a:pt x="0" y="309130"/>
                  </a:cubicBezTo>
                  <a:lnTo>
                    <a:pt x="0" y="61828"/>
                  </a:lnTo>
                  <a:close/>
                </a:path>
              </a:pathLst>
            </a:custGeom>
            <a:solidFill>
              <a:srgbClr val="FC5B2F"/>
            </a:solidFill>
            <a:ln w="63500">
              <a:solidFill>
                <a:schemeClr val="bg1"/>
              </a:solid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spcFirstLastPara="0" vert="horz" wrap="square" lIns="94309" tIns="56209" rIns="94309" bIns="56209"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de-DE" sz="2000" b="1" i="0" u="none" strike="noStrike" kern="1200" cap="none" spc="0" normalizeH="0" baseline="0" noProof="0">
                  <a:ln>
                    <a:noFill/>
                  </a:ln>
                  <a:solidFill>
                    <a:prstClr val="white"/>
                  </a:solidFill>
                  <a:effectLst/>
                  <a:uLnTx/>
                  <a:uFillTx/>
                  <a:latin typeface="Segoe UI"/>
                  <a:ea typeface="+mn-ea"/>
                  <a:cs typeface="+mn-cs"/>
                </a:rPr>
                <a:t>WO?</a:t>
              </a:r>
              <a:endParaRPr kumimoji="0" lang="en-GB" sz="2000" b="1" i="0" u="none" strike="noStrike" kern="1200" cap="none" spc="0" normalizeH="0" baseline="0" noProof="0">
                <a:ln>
                  <a:noFill/>
                </a:ln>
                <a:solidFill>
                  <a:prstClr val="white"/>
                </a:solidFill>
                <a:effectLst/>
                <a:uLnTx/>
                <a:uFillTx/>
                <a:latin typeface="Segoe UI"/>
                <a:ea typeface="+mn-ea"/>
                <a:cs typeface="+mn-cs"/>
              </a:endParaRPr>
            </a:p>
          </p:txBody>
        </p:sp>
        <p:sp>
          <p:nvSpPr>
            <p:cNvPr id="26" name="Freihandform: Form 25">
              <a:extLst>
                <a:ext uri="{FF2B5EF4-FFF2-40B4-BE49-F238E27FC236}">
                  <a16:creationId xmlns:a16="http://schemas.microsoft.com/office/drawing/2014/main" id="{2920089E-C317-4276-BAD9-E11C45F1B71E}"/>
                </a:ext>
              </a:extLst>
            </p:cNvPr>
            <p:cNvSpPr/>
            <p:nvPr/>
          </p:nvSpPr>
          <p:spPr>
            <a:xfrm>
              <a:off x="3771708" y="5874266"/>
              <a:ext cx="8087230" cy="314432"/>
            </a:xfrm>
            <a:custGeom>
              <a:avLst/>
              <a:gdLst>
                <a:gd name="connsiteX0" fmla="*/ 0 w 260282"/>
                <a:gd name="connsiteY0" fmla="*/ 43381 h 8087229"/>
                <a:gd name="connsiteX1" fmla="*/ 43381 w 260282"/>
                <a:gd name="connsiteY1" fmla="*/ 0 h 8087229"/>
                <a:gd name="connsiteX2" fmla="*/ 216901 w 260282"/>
                <a:gd name="connsiteY2" fmla="*/ 0 h 8087229"/>
                <a:gd name="connsiteX3" fmla="*/ 260282 w 260282"/>
                <a:gd name="connsiteY3" fmla="*/ 43381 h 8087229"/>
                <a:gd name="connsiteX4" fmla="*/ 260282 w 260282"/>
                <a:gd name="connsiteY4" fmla="*/ 8043848 h 8087229"/>
                <a:gd name="connsiteX5" fmla="*/ 216901 w 260282"/>
                <a:gd name="connsiteY5" fmla="*/ 8087229 h 8087229"/>
                <a:gd name="connsiteX6" fmla="*/ 43381 w 260282"/>
                <a:gd name="connsiteY6" fmla="*/ 8087229 h 8087229"/>
                <a:gd name="connsiteX7" fmla="*/ 0 w 260282"/>
                <a:gd name="connsiteY7" fmla="*/ 8043848 h 8087229"/>
                <a:gd name="connsiteX8" fmla="*/ 0 w 260282"/>
                <a:gd name="connsiteY8" fmla="*/ 43381 h 808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282" h="8087229">
                  <a:moveTo>
                    <a:pt x="258886" y="16"/>
                  </a:moveTo>
                  <a:cubicBezTo>
                    <a:pt x="259657" y="16"/>
                    <a:pt x="260282" y="603475"/>
                    <a:pt x="260282" y="1347903"/>
                  </a:cubicBezTo>
                  <a:lnTo>
                    <a:pt x="260282" y="6739326"/>
                  </a:lnTo>
                  <a:cubicBezTo>
                    <a:pt x="260282" y="7483754"/>
                    <a:pt x="259657" y="8087213"/>
                    <a:pt x="258886" y="8087213"/>
                  </a:cubicBezTo>
                  <a:lnTo>
                    <a:pt x="1396" y="8087213"/>
                  </a:lnTo>
                  <a:cubicBezTo>
                    <a:pt x="625" y="8087213"/>
                    <a:pt x="0" y="7483754"/>
                    <a:pt x="0" y="6739326"/>
                  </a:cubicBezTo>
                  <a:lnTo>
                    <a:pt x="0" y="1347903"/>
                  </a:lnTo>
                  <a:cubicBezTo>
                    <a:pt x="0" y="603475"/>
                    <a:pt x="625" y="16"/>
                    <a:pt x="1396" y="16"/>
                  </a:cubicBezTo>
                  <a:lnTo>
                    <a:pt x="258886" y="16"/>
                  </a:lnTo>
                  <a:close/>
                </a:path>
              </a:pathLst>
            </a:custGeom>
            <a:solidFill>
              <a:srgbClr val="FEEAE8">
                <a:alpha val="90000"/>
              </a:srgbClr>
            </a:solidFill>
            <a:ln w="63500" cap="rnd">
              <a:solidFill>
                <a:schemeClr val="bg1"/>
              </a:solidFill>
              <a:round/>
            </a:ln>
          </p:spPr>
          <p:style>
            <a:lnRef idx="2">
              <a:scrgbClr r="0" g="0" b="0"/>
            </a:lnRef>
            <a:fillRef idx="1">
              <a:scrgbClr r="0" g="0" b="0"/>
            </a:fillRef>
            <a:effectRef idx="0">
              <a:schemeClr val="accent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60357" tIns="136531" rIns="260356" bIns="136532" numCol="1" spcCol="1270" anchor="ctr" anchorCtr="0">
              <a:noAutofit/>
            </a:bodyPr>
            <a:lstStyle/>
            <a:p>
              <a:pPr marL="114300" marR="0" lvl="1" indent="-114300" algn="l" defTabSz="533400" rtl="0" eaLnBrk="1" fontAlgn="auto" latinLnBrk="0" hangingPunct="1">
                <a:lnSpc>
                  <a:spcPct val="90000"/>
                </a:lnSpc>
                <a:spcBef>
                  <a:spcPct val="0"/>
                </a:spcBef>
                <a:spcAft>
                  <a:spcPct val="15000"/>
                </a:spcAft>
                <a:buClrTx/>
                <a:buSzTx/>
                <a:buFontTx/>
                <a:buNone/>
                <a:tabLst/>
                <a:defRPr/>
              </a:pPr>
              <a:r>
                <a:rPr kumimoji="0" lang="en-GB" sz="1200" b="0" i="0" u="none" strike="noStrike" kern="1200" cap="none" spc="0" normalizeH="0" baseline="0" noProof="0">
                  <a:ln>
                    <a:noFill/>
                  </a:ln>
                  <a:solidFill>
                    <a:prstClr val="black">
                      <a:hueOff val="0"/>
                      <a:satOff val="0"/>
                      <a:lumOff val="0"/>
                      <a:alphaOff val="0"/>
                    </a:prstClr>
                  </a:solidFill>
                  <a:effectLst/>
                  <a:uLnTx/>
                  <a:uFillTx/>
                  <a:latin typeface="Segoe UI"/>
                  <a:ea typeface="+mn-ea"/>
                  <a:cs typeface="+mn-cs"/>
                </a:rPr>
                <a:t>31.12.2028</a:t>
              </a:r>
            </a:p>
          </p:txBody>
        </p:sp>
        <p:sp>
          <p:nvSpPr>
            <p:cNvPr id="27" name="Freihandform: Form 26">
              <a:extLst>
                <a:ext uri="{FF2B5EF4-FFF2-40B4-BE49-F238E27FC236}">
                  <a16:creationId xmlns:a16="http://schemas.microsoft.com/office/drawing/2014/main" id="{A8084C95-4F13-7323-C69F-45C17A9C8C5A}"/>
                </a:ext>
              </a:extLst>
            </p:cNvPr>
            <p:cNvSpPr/>
            <p:nvPr/>
          </p:nvSpPr>
          <p:spPr>
            <a:xfrm>
              <a:off x="547583" y="5864507"/>
              <a:ext cx="3222004" cy="370958"/>
            </a:xfrm>
            <a:custGeom>
              <a:avLst/>
              <a:gdLst>
                <a:gd name="connsiteX0" fmla="*/ 0 w 3222004"/>
                <a:gd name="connsiteY0" fmla="*/ 43480 h 260872"/>
                <a:gd name="connsiteX1" fmla="*/ 43480 w 3222004"/>
                <a:gd name="connsiteY1" fmla="*/ 0 h 260872"/>
                <a:gd name="connsiteX2" fmla="*/ 3178524 w 3222004"/>
                <a:gd name="connsiteY2" fmla="*/ 0 h 260872"/>
                <a:gd name="connsiteX3" fmla="*/ 3222004 w 3222004"/>
                <a:gd name="connsiteY3" fmla="*/ 43480 h 260872"/>
                <a:gd name="connsiteX4" fmla="*/ 3222004 w 3222004"/>
                <a:gd name="connsiteY4" fmla="*/ 217392 h 260872"/>
                <a:gd name="connsiteX5" fmla="*/ 3178524 w 3222004"/>
                <a:gd name="connsiteY5" fmla="*/ 260872 h 260872"/>
                <a:gd name="connsiteX6" fmla="*/ 43480 w 3222004"/>
                <a:gd name="connsiteY6" fmla="*/ 260872 h 260872"/>
                <a:gd name="connsiteX7" fmla="*/ 0 w 3222004"/>
                <a:gd name="connsiteY7" fmla="*/ 217392 h 260872"/>
                <a:gd name="connsiteX8" fmla="*/ 0 w 3222004"/>
                <a:gd name="connsiteY8" fmla="*/ 43480 h 260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2004" h="260872">
                  <a:moveTo>
                    <a:pt x="0" y="43480"/>
                  </a:moveTo>
                  <a:cubicBezTo>
                    <a:pt x="0" y="19467"/>
                    <a:pt x="19467" y="0"/>
                    <a:pt x="43480" y="0"/>
                  </a:cubicBezTo>
                  <a:lnTo>
                    <a:pt x="3178524" y="0"/>
                  </a:lnTo>
                  <a:cubicBezTo>
                    <a:pt x="3202537" y="0"/>
                    <a:pt x="3222004" y="19467"/>
                    <a:pt x="3222004" y="43480"/>
                  </a:cubicBezTo>
                  <a:lnTo>
                    <a:pt x="3222004" y="217392"/>
                  </a:lnTo>
                  <a:cubicBezTo>
                    <a:pt x="3222004" y="241405"/>
                    <a:pt x="3202537" y="260872"/>
                    <a:pt x="3178524" y="260872"/>
                  </a:cubicBezTo>
                  <a:lnTo>
                    <a:pt x="43480" y="260872"/>
                  </a:lnTo>
                  <a:cubicBezTo>
                    <a:pt x="19467" y="260872"/>
                    <a:pt x="0" y="241405"/>
                    <a:pt x="0" y="217392"/>
                  </a:cubicBezTo>
                  <a:lnTo>
                    <a:pt x="0" y="43480"/>
                  </a:lnTo>
                  <a:close/>
                </a:path>
              </a:pathLst>
            </a:custGeom>
            <a:solidFill>
              <a:srgbClr val="FC5B2F"/>
            </a:solidFill>
            <a:ln w="63500">
              <a:solidFill>
                <a:schemeClr val="bg1"/>
              </a:solid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spcFirstLastPara="0" vert="horz" wrap="square" lIns="88935" tIns="50835" rIns="88935" bIns="50835"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de-DE" sz="2000" b="1" i="0" u="none" strike="noStrike" kern="1200" cap="none" spc="0" normalizeH="0" baseline="0" noProof="0">
                  <a:ln>
                    <a:noFill/>
                  </a:ln>
                  <a:solidFill>
                    <a:prstClr val="white"/>
                  </a:solidFill>
                  <a:effectLst/>
                  <a:uLnTx/>
                  <a:uFillTx/>
                  <a:latin typeface="Segoe UI"/>
                  <a:ea typeface="+mn-ea"/>
                  <a:cs typeface="+mn-cs"/>
                </a:rPr>
                <a:t>BIS WANN?</a:t>
              </a:r>
              <a:endParaRPr kumimoji="0" lang="en-GB" sz="2000" b="1" i="0" u="none" strike="noStrike" kern="1200" cap="none" spc="0" normalizeH="0" baseline="0" noProof="0">
                <a:ln>
                  <a:noFill/>
                </a:ln>
                <a:solidFill>
                  <a:prstClr val="white"/>
                </a:solidFill>
                <a:effectLst/>
                <a:uLnTx/>
                <a:uFillTx/>
                <a:latin typeface="Segoe UI"/>
                <a:ea typeface="+mn-ea"/>
                <a:cs typeface="+mn-cs"/>
              </a:endParaRPr>
            </a:p>
          </p:txBody>
        </p:sp>
      </p:grpSp>
      <p:sp>
        <p:nvSpPr>
          <p:cNvPr id="5" name="Foliennummernplatzhalter 4">
            <a:extLst>
              <a:ext uri="{FF2B5EF4-FFF2-40B4-BE49-F238E27FC236}">
                <a16:creationId xmlns:a16="http://schemas.microsoft.com/office/drawing/2014/main" id="{956B46B6-DB94-4332-977B-B2D3BB8D6063}"/>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6A2A10-B827-4CCE-9EB2-A13B5A721707}" type="slidenum">
              <a:rPr kumimoji="0" lang="de-DE" sz="10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de-DE" sz="1000" b="0" i="0" u="none" strike="noStrike" kern="1200" cap="none" spc="0" normalizeH="0" baseline="0" noProof="0">
              <a:ln>
                <a:noFill/>
              </a:ln>
              <a:solidFill>
                <a:prstClr val="black"/>
              </a:solidFill>
              <a:effectLst/>
              <a:uLnTx/>
              <a:uFillTx/>
              <a:latin typeface="Segoe UI"/>
              <a:ea typeface="+mn-ea"/>
              <a:cs typeface="+mn-cs"/>
            </a:endParaRPr>
          </a:p>
        </p:txBody>
      </p:sp>
      <p:sp>
        <p:nvSpPr>
          <p:cNvPr id="15" name="Rechteck: abgerundete Ecken 14">
            <a:extLst>
              <a:ext uri="{FF2B5EF4-FFF2-40B4-BE49-F238E27FC236}">
                <a16:creationId xmlns:a16="http://schemas.microsoft.com/office/drawing/2014/main" id="{E251C655-D0ED-4A17-AFC8-9A676441433F}"/>
              </a:ext>
            </a:extLst>
          </p:cNvPr>
          <p:cNvSpPr/>
          <p:nvPr/>
        </p:nvSpPr>
        <p:spPr bwMode="gray">
          <a:xfrm>
            <a:off x="623392" y="1700809"/>
            <a:ext cx="3096344" cy="372194"/>
          </a:xfrm>
          <a:prstGeom prst="roundRect">
            <a:avLst>
              <a:gd name="adj" fmla="val 19599"/>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 </a:t>
            </a:r>
            <a:r>
              <a:rPr kumimoji="0" lang="de-DE" sz="1800" b="1"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rPr>
              <a:t>C.Noll</a:t>
            </a:r>
            <a:endParaRPr kumimoji="0" lang="de-DE" sz="18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nvGrpSpPr>
          <p:cNvPr id="16" name="Gruppieren 15">
            <a:extLst>
              <a:ext uri="{FF2B5EF4-FFF2-40B4-BE49-F238E27FC236}">
                <a16:creationId xmlns:a16="http://schemas.microsoft.com/office/drawing/2014/main" id="{D290039D-AD81-428B-AB88-801BB15DE96C}"/>
              </a:ext>
            </a:extLst>
          </p:cNvPr>
          <p:cNvGrpSpPr/>
          <p:nvPr/>
        </p:nvGrpSpPr>
        <p:grpSpPr>
          <a:xfrm>
            <a:off x="547359" y="1628775"/>
            <a:ext cx="504056" cy="504056"/>
            <a:chOff x="2208090" y="3644203"/>
            <a:chExt cx="504056" cy="504056"/>
          </a:xfrm>
        </p:grpSpPr>
        <p:sp>
          <p:nvSpPr>
            <p:cNvPr id="17" name="Ellipse 16">
              <a:extLst>
                <a:ext uri="{FF2B5EF4-FFF2-40B4-BE49-F238E27FC236}">
                  <a16:creationId xmlns:a16="http://schemas.microsoft.com/office/drawing/2014/main" id="{8BE80A81-6B9A-4C8F-91B3-FD817ABDF367}"/>
                </a:ext>
              </a:extLst>
            </p:cNvPr>
            <p:cNvSpPr/>
            <p:nvPr/>
          </p:nvSpPr>
          <p:spPr>
            <a:xfrm>
              <a:off x="2208090" y="3644203"/>
              <a:ext cx="504056" cy="504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8" name="Grafik 17" descr="Held männlich mit einfarbiger Füllung">
              <a:extLst>
                <a:ext uri="{FF2B5EF4-FFF2-40B4-BE49-F238E27FC236}">
                  <a16:creationId xmlns:a16="http://schemas.microsoft.com/office/drawing/2014/main" id="{15515342-63C0-435C-97D4-64F95D1902D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80098" y="3724140"/>
              <a:ext cx="345800" cy="345800"/>
            </a:xfrm>
            <a:prstGeom prst="rect">
              <a:avLst/>
            </a:prstGeom>
          </p:spPr>
        </p:pic>
      </p:grpSp>
      <p:cxnSp>
        <p:nvCxnSpPr>
          <p:cNvPr id="19" name="Gerader Verbinder 18">
            <a:extLst>
              <a:ext uri="{FF2B5EF4-FFF2-40B4-BE49-F238E27FC236}">
                <a16:creationId xmlns:a16="http://schemas.microsoft.com/office/drawing/2014/main" id="{4C32347F-3977-47FD-8189-AE49A44DA932}"/>
              </a:ext>
            </a:extLst>
          </p:cNvPr>
          <p:cNvCxnSpPr>
            <a:cxnSpLocks/>
          </p:cNvCxnSpPr>
          <p:nvPr/>
        </p:nvCxnSpPr>
        <p:spPr>
          <a:xfrm>
            <a:off x="0" y="404664"/>
            <a:ext cx="407368"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982BB180-EFC3-4ADD-A169-DB5E93678ADE}"/>
              </a:ext>
            </a:extLst>
          </p:cNvPr>
          <p:cNvSpPr txBox="1"/>
          <p:nvPr/>
        </p:nvSpPr>
        <p:spPr>
          <a:xfrm>
            <a:off x="568375" y="310364"/>
            <a:ext cx="914400" cy="284908"/>
          </a:xfrm>
          <a:prstGeom prst="rect">
            <a:avLst/>
          </a:prstGeom>
          <a:noFill/>
        </p:spPr>
        <p:txBody>
          <a:bodyPr wrap="none" lIns="0" tIns="0" rIns="0" bIns="0" rtlCol="0" anchor="t">
            <a:noAutofit/>
          </a:bodyPr>
          <a:lstStyle/>
          <a:p>
            <a:pPr marL="0" marR="0" lvl="0" indent="0" algn="l" defTabSz="914400" rtl="0" eaLnBrk="1" fontAlgn="auto" latinLnBrk="0" hangingPunct="1">
              <a:lnSpc>
                <a:spcPct val="100000"/>
              </a:lnSpc>
              <a:spcBef>
                <a:spcPts val="0"/>
              </a:spcBef>
              <a:spcAft>
                <a:spcPts val="0"/>
              </a:spcAft>
              <a:buClr>
                <a:srgbClr val="008795"/>
              </a:buClr>
              <a:buSzTx/>
              <a:buFontTx/>
              <a:buNone/>
              <a:tabLst/>
              <a:defRPr/>
            </a:pPr>
            <a:r>
              <a:rPr kumimoji="0" lang="de-DE" sz="1000" b="0" i="0" u="none" strike="noStrike" kern="1200" cap="none" spc="0" normalizeH="0" baseline="0" noProof="0">
                <a:ln>
                  <a:noFill/>
                </a:ln>
                <a:solidFill>
                  <a:prstClr val="black"/>
                </a:solidFill>
                <a:effectLst/>
                <a:uLnTx/>
                <a:uFillTx/>
                <a:latin typeface="Segoe UI"/>
                <a:ea typeface="+mn-ea"/>
                <a:cs typeface="+mn-cs"/>
                <a:hlinkClick r:id="" action="ppaction://noaction">
                  <a:extLst>
                    <a:ext uri="{A12FA001-AC4F-418D-AE19-62706E023703}">
                      <ahyp:hlinkClr xmlns:ahyp="http://schemas.microsoft.com/office/drawing/2018/hyperlinkcolor" val="tx"/>
                    </a:ext>
                  </a:extLst>
                </a:hlinkClick>
              </a:rPr>
              <a:t>Industrie &amp; Gewerbe</a:t>
            </a:r>
            <a:endParaRPr kumimoji="0" lang="en-GB" sz="1000" b="0" i="0" u="none" strike="noStrike" kern="1200" cap="none" spc="0" normalizeH="0" baseline="0" noProof="0" err="1">
              <a:ln>
                <a:noFill/>
              </a:ln>
              <a:solidFill>
                <a:prstClr val="black"/>
              </a:solidFill>
              <a:effectLst/>
              <a:uLnTx/>
              <a:uFillTx/>
              <a:latin typeface="Segoe UI"/>
              <a:ea typeface="+mn-ea"/>
              <a:cs typeface="+mn-cs"/>
            </a:endParaRPr>
          </a:p>
        </p:txBody>
      </p:sp>
      <p:sp>
        <p:nvSpPr>
          <p:cNvPr id="21" name="Rechteck: abgerundete Ecken 20">
            <a:extLst>
              <a:ext uri="{FF2B5EF4-FFF2-40B4-BE49-F238E27FC236}">
                <a16:creationId xmlns:a16="http://schemas.microsoft.com/office/drawing/2014/main" id="{7AF18943-B257-4344-80CE-26DC9546AA51}"/>
              </a:ext>
            </a:extLst>
          </p:cNvPr>
          <p:cNvSpPr/>
          <p:nvPr/>
        </p:nvSpPr>
        <p:spPr bwMode="gray">
          <a:xfrm>
            <a:off x="3874331" y="1700809"/>
            <a:ext cx="7977299" cy="372194"/>
          </a:xfrm>
          <a:prstGeom prst="roundRect">
            <a:avLst>
              <a:gd name="adj" fmla="val 19599"/>
            </a:avLst>
          </a:prstGeom>
          <a:gradFill flip="none" rotWithShape="1">
            <a:gsLst>
              <a:gs pos="0">
                <a:srgbClr val="9D9D9D"/>
              </a:gs>
              <a:gs pos="47000">
                <a:srgbClr val="9D9D9D"/>
              </a:gs>
              <a:gs pos="53000">
                <a:srgbClr val="D94291"/>
              </a:gs>
              <a:gs pos="100000">
                <a:srgbClr val="D94291"/>
              </a:gs>
            </a:gsLst>
            <a:lin ang="13500000" scaled="1"/>
            <a:tileRect/>
          </a:gradFill>
          <a:ln w="2540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Zuschuss / Kredit</a:t>
            </a:r>
          </a:p>
        </p:txBody>
      </p:sp>
      <p:grpSp>
        <p:nvGrpSpPr>
          <p:cNvPr id="12" name="Gruppieren 11">
            <a:extLst>
              <a:ext uri="{FF2B5EF4-FFF2-40B4-BE49-F238E27FC236}">
                <a16:creationId xmlns:a16="http://schemas.microsoft.com/office/drawing/2014/main" id="{6F20FC64-4C77-4F39-B834-757526CF3E26}"/>
              </a:ext>
            </a:extLst>
          </p:cNvPr>
          <p:cNvGrpSpPr/>
          <p:nvPr/>
        </p:nvGrpSpPr>
        <p:grpSpPr>
          <a:xfrm>
            <a:off x="3795769" y="1625525"/>
            <a:ext cx="504056" cy="504056"/>
            <a:chOff x="2246051" y="5974"/>
            <a:chExt cx="504056" cy="504056"/>
          </a:xfrm>
        </p:grpSpPr>
        <p:sp>
          <p:nvSpPr>
            <p:cNvPr id="13" name="Ellipse 12">
              <a:extLst>
                <a:ext uri="{FF2B5EF4-FFF2-40B4-BE49-F238E27FC236}">
                  <a16:creationId xmlns:a16="http://schemas.microsoft.com/office/drawing/2014/main" id="{1D0A46DF-5AAD-476E-A7CC-581D587D7267}"/>
                </a:ext>
              </a:extLst>
            </p:cNvPr>
            <p:cNvSpPr/>
            <p:nvPr/>
          </p:nvSpPr>
          <p:spPr>
            <a:xfrm>
              <a:off x="2246051" y="5974"/>
              <a:ext cx="504056" cy="504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4" name="Grafik 13" descr="Geld mit einfarbiger Füllung">
              <a:extLst>
                <a:ext uri="{FF2B5EF4-FFF2-40B4-BE49-F238E27FC236}">
                  <a16:creationId xmlns:a16="http://schemas.microsoft.com/office/drawing/2014/main" id="{5BA272F9-4A80-4CE0-BF06-ED0EBC7520D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24613" y="62894"/>
              <a:ext cx="353486" cy="353486"/>
            </a:xfrm>
            <a:prstGeom prst="rect">
              <a:avLst/>
            </a:prstGeom>
          </p:spPr>
        </p:pic>
      </p:grpSp>
      <p:pic>
        <p:nvPicPr>
          <p:cNvPr id="6" name="Grafik 5">
            <a:extLst>
              <a:ext uri="{FF2B5EF4-FFF2-40B4-BE49-F238E27FC236}">
                <a16:creationId xmlns:a16="http://schemas.microsoft.com/office/drawing/2014/main" id="{18BEA692-C8D8-8697-DB83-F2BCD51CAD3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466359" y="6408284"/>
            <a:ext cx="525185" cy="304946"/>
          </a:xfrm>
          <a:prstGeom prst="rect">
            <a:avLst/>
          </a:prstGeom>
        </p:spPr>
      </p:pic>
      <p:sp>
        <p:nvSpPr>
          <p:cNvPr id="8" name="Fußzeilenplatzhalter 3">
            <a:extLst>
              <a:ext uri="{FF2B5EF4-FFF2-40B4-BE49-F238E27FC236}">
                <a16:creationId xmlns:a16="http://schemas.microsoft.com/office/drawing/2014/main" id="{E006B596-BF5F-D0AA-7DFD-169A160F56D4}"/>
              </a:ext>
            </a:extLst>
          </p:cNvPr>
          <p:cNvSpPr>
            <a:spLocks noGrp="1"/>
          </p:cNvSpPr>
          <p:nvPr>
            <p:ph type="ftr" sz="quarter" idx="11"/>
          </p:nvPr>
        </p:nvSpPr>
        <p:spPr>
          <a:xfrm>
            <a:off x="2279576" y="6373552"/>
            <a:ext cx="8061322" cy="3678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Segoe UI"/>
                <a:ea typeface="+mn-ea"/>
                <a:cs typeface="+mn-cs"/>
              </a:rPr>
              <a:t>DISCLAIMER: Die Informationen in dieser Förderübersicht werden ständig geprüft und aktualisiert. Trotz aller Sorgfalt können sich Angaben inzwischen geändert haben. Eine Haftung oder Garantie für die Aktualität, Richtigkeit und Vollständigkeit der zur Verfügung gestellten Informationen kann deshalb nicht übernommen werden. Die Deutsche Unternehmensinitiative Energieeffizienz e. V. (DENEFF) übernimmt keine Haftung für Informationen auf Webseiten Dritter, die per Link mit dieser Präsentation verbunden sind.</a:t>
            </a:r>
          </a:p>
        </p:txBody>
      </p:sp>
      <p:sp>
        <p:nvSpPr>
          <p:cNvPr id="28" name="Textfeld 27">
            <a:extLst>
              <a:ext uri="{FF2B5EF4-FFF2-40B4-BE49-F238E27FC236}">
                <a16:creationId xmlns:a16="http://schemas.microsoft.com/office/drawing/2014/main" id="{481FA234-6FBF-CF6D-663E-C0A8ACBD9450}"/>
              </a:ext>
            </a:extLst>
          </p:cNvPr>
          <p:cNvSpPr txBox="1"/>
          <p:nvPr/>
        </p:nvSpPr>
        <p:spPr>
          <a:xfrm>
            <a:off x="10340898" y="6377432"/>
            <a:ext cx="1219200" cy="363936"/>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
                <a:srgbClr val="008795"/>
              </a:buClr>
              <a:buSzTx/>
              <a:buFontTx/>
              <a:buNone/>
              <a:tabLst/>
              <a:defRPr/>
            </a:pPr>
            <a:r>
              <a:rPr kumimoji="0" lang="de-DE" sz="800" b="0" i="0" u="none" strike="noStrike" kern="1200" cap="none" spc="0" normalizeH="0" baseline="30000" noProof="0">
                <a:ln>
                  <a:noFill/>
                </a:ln>
                <a:solidFill>
                  <a:prstClr val="black"/>
                </a:solidFill>
                <a:effectLst/>
                <a:uLnTx/>
                <a:uFillTx/>
                <a:latin typeface="Segoe UI"/>
                <a:ea typeface="+mn-ea"/>
                <a:cs typeface="+mn-cs"/>
              </a:rPr>
              <a:t>1</a:t>
            </a:r>
            <a:r>
              <a:rPr kumimoji="0" lang="de-DE" sz="800" b="0" i="0" u="none" strike="noStrike" kern="1200" cap="none" spc="0" normalizeH="0" baseline="0" noProof="0">
                <a:ln>
                  <a:noFill/>
                </a:ln>
                <a:solidFill>
                  <a:prstClr val="black"/>
                </a:solidFill>
                <a:effectLst/>
                <a:uLnTx/>
                <a:uFillTx/>
                <a:latin typeface="Segoe UI"/>
                <a:ea typeface="+mn-ea"/>
                <a:cs typeface="+mn-cs"/>
              </a:rPr>
              <a:t> KMU-Definition der </a:t>
            </a:r>
            <a:r>
              <a:rPr kumimoji="0" lang="de-DE" sz="800" b="0" i="0" u="none" strike="noStrike" kern="1200" cap="none" spc="0" normalizeH="0" baseline="0" noProof="0">
                <a:ln>
                  <a:noFill/>
                </a:ln>
                <a:solidFill>
                  <a:prstClr val="black"/>
                </a:solidFill>
                <a:effectLst/>
                <a:uLnTx/>
                <a:uFillTx/>
                <a:latin typeface="Segoe UI"/>
                <a:ea typeface="+mn-ea"/>
                <a:cs typeface="+mn-cs"/>
                <a:hlinkClick r:id="rId10"/>
              </a:rPr>
              <a:t>EU-Empfehlung 2003/361/EG </a:t>
            </a:r>
            <a:r>
              <a:rPr kumimoji="0" lang="de-DE" sz="800" b="0" i="0" u="none" strike="noStrike" kern="1200" cap="none" spc="0" normalizeH="0" baseline="0" noProof="0">
                <a:ln>
                  <a:noFill/>
                </a:ln>
                <a:solidFill>
                  <a:prstClr val="black"/>
                </a:solidFill>
                <a:effectLst/>
                <a:uLnTx/>
                <a:uFillTx/>
                <a:latin typeface="Segoe UI"/>
                <a:ea typeface="+mn-ea"/>
                <a:cs typeface="+mn-cs"/>
              </a:rPr>
              <a:t>der EU-Kommission</a:t>
            </a:r>
            <a:endParaRPr kumimoji="0" lang="en-GB" sz="800" b="0" i="0" u="none" strike="noStrike" kern="1200" cap="none" spc="0" normalizeH="0" baseline="0" noProof="0" err="1">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0886922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92885E-3D97-45EE-8081-154E4201EA01}"/>
              </a:ext>
            </a:extLst>
          </p:cNvPr>
          <p:cNvSpPr>
            <a:spLocks noGrp="1"/>
          </p:cNvSpPr>
          <p:nvPr>
            <p:ph type="title"/>
          </p:nvPr>
        </p:nvSpPr>
        <p:spPr/>
        <p:txBody>
          <a:bodyPr/>
          <a:lstStyle/>
          <a:p>
            <a:r>
              <a:rPr lang="de-DE"/>
              <a:t>Bundesförderung Energie- und Ressourceneffizienz in der Wirtschaft – </a:t>
            </a:r>
            <a:br>
              <a:rPr lang="de-DE"/>
            </a:br>
            <a:r>
              <a:rPr lang="de-DE"/>
              <a:t>Modul 5: Transformationspläne</a:t>
            </a:r>
            <a:endParaRPr lang="en-GB"/>
          </a:p>
        </p:txBody>
      </p:sp>
      <p:graphicFrame>
        <p:nvGraphicFramePr>
          <p:cNvPr id="8" name="Inhaltsplatzhalter 7">
            <a:hlinkClick r:id="" action="ppaction://noaction" highlightClick="1"/>
            <a:extLst>
              <a:ext uri="{FF2B5EF4-FFF2-40B4-BE49-F238E27FC236}">
                <a16:creationId xmlns:a16="http://schemas.microsoft.com/office/drawing/2014/main" id="{A436C903-3416-4159-9C9C-162FE01CA096}"/>
              </a:ext>
            </a:extLst>
          </p:cNvPr>
          <p:cNvGraphicFramePr>
            <a:graphicFrameLocks noGrp="1"/>
          </p:cNvGraphicFramePr>
          <p:nvPr>
            <p:ph idx="1"/>
          </p:nvPr>
        </p:nvGraphicFramePr>
        <p:xfrm>
          <a:off x="550862" y="2208115"/>
          <a:ext cx="11306177" cy="36829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Foliennummernplatzhalter 4">
            <a:extLst>
              <a:ext uri="{FF2B5EF4-FFF2-40B4-BE49-F238E27FC236}">
                <a16:creationId xmlns:a16="http://schemas.microsoft.com/office/drawing/2014/main" id="{956B46B6-DB94-4332-977B-B2D3BB8D6063}"/>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6A2A10-B827-4CCE-9EB2-A13B5A721707}" type="slidenum">
              <a:rPr kumimoji="0" lang="de-DE" sz="10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de-DE" sz="1000" b="0" i="0" u="none" strike="noStrike" kern="1200" cap="none" spc="0" normalizeH="0" baseline="0" noProof="0">
              <a:ln>
                <a:noFill/>
              </a:ln>
              <a:solidFill>
                <a:prstClr val="black"/>
              </a:solidFill>
              <a:effectLst/>
              <a:uLnTx/>
              <a:uFillTx/>
              <a:latin typeface="Segoe UI"/>
              <a:ea typeface="+mn-ea"/>
              <a:cs typeface="+mn-cs"/>
            </a:endParaRPr>
          </a:p>
        </p:txBody>
      </p:sp>
      <p:sp>
        <p:nvSpPr>
          <p:cNvPr id="15" name="Rechteck: abgerundete Ecken 14">
            <a:extLst>
              <a:ext uri="{FF2B5EF4-FFF2-40B4-BE49-F238E27FC236}">
                <a16:creationId xmlns:a16="http://schemas.microsoft.com/office/drawing/2014/main" id="{E251C655-D0ED-4A17-AFC8-9A676441433F}"/>
              </a:ext>
            </a:extLst>
          </p:cNvPr>
          <p:cNvSpPr/>
          <p:nvPr/>
        </p:nvSpPr>
        <p:spPr bwMode="gray">
          <a:xfrm>
            <a:off x="623392" y="1700809"/>
            <a:ext cx="3096344" cy="372194"/>
          </a:xfrm>
          <a:prstGeom prst="roundRect">
            <a:avLst>
              <a:gd name="adj" fmla="val 19599"/>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 </a:t>
            </a:r>
            <a:r>
              <a:rPr kumimoji="0" lang="de-DE" sz="1800" b="1"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rPr>
              <a:t>C.Noll</a:t>
            </a:r>
            <a:endParaRPr kumimoji="0" lang="de-DE" sz="18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nvGrpSpPr>
          <p:cNvPr id="16" name="Gruppieren 15">
            <a:extLst>
              <a:ext uri="{FF2B5EF4-FFF2-40B4-BE49-F238E27FC236}">
                <a16:creationId xmlns:a16="http://schemas.microsoft.com/office/drawing/2014/main" id="{D290039D-AD81-428B-AB88-801BB15DE96C}"/>
              </a:ext>
            </a:extLst>
          </p:cNvPr>
          <p:cNvGrpSpPr/>
          <p:nvPr/>
        </p:nvGrpSpPr>
        <p:grpSpPr>
          <a:xfrm>
            <a:off x="547359" y="1628775"/>
            <a:ext cx="504056" cy="504056"/>
            <a:chOff x="2208090" y="3644203"/>
            <a:chExt cx="504056" cy="504056"/>
          </a:xfrm>
        </p:grpSpPr>
        <p:sp>
          <p:nvSpPr>
            <p:cNvPr id="17" name="Ellipse 16">
              <a:extLst>
                <a:ext uri="{FF2B5EF4-FFF2-40B4-BE49-F238E27FC236}">
                  <a16:creationId xmlns:a16="http://schemas.microsoft.com/office/drawing/2014/main" id="{8BE80A81-6B9A-4C8F-91B3-FD817ABDF367}"/>
                </a:ext>
              </a:extLst>
            </p:cNvPr>
            <p:cNvSpPr/>
            <p:nvPr/>
          </p:nvSpPr>
          <p:spPr>
            <a:xfrm>
              <a:off x="2208090" y="3644203"/>
              <a:ext cx="504056" cy="504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8" name="Grafik 17" descr="Held männlich mit einfarbiger Füllung">
              <a:extLst>
                <a:ext uri="{FF2B5EF4-FFF2-40B4-BE49-F238E27FC236}">
                  <a16:creationId xmlns:a16="http://schemas.microsoft.com/office/drawing/2014/main" id="{15515342-63C0-435C-97D4-64F95D1902D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280098" y="3724140"/>
              <a:ext cx="345800" cy="345800"/>
            </a:xfrm>
            <a:prstGeom prst="rect">
              <a:avLst/>
            </a:prstGeom>
          </p:spPr>
        </p:pic>
      </p:grpSp>
      <p:cxnSp>
        <p:nvCxnSpPr>
          <p:cNvPr id="19" name="Gerader Verbinder 18">
            <a:extLst>
              <a:ext uri="{FF2B5EF4-FFF2-40B4-BE49-F238E27FC236}">
                <a16:creationId xmlns:a16="http://schemas.microsoft.com/office/drawing/2014/main" id="{4C32347F-3977-47FD-8189-AE49A44DA932}"/>
              </a:ext>
            </a:extLst>
          </p:cNvPr>
          <p:cNvCxnSpPr>
            <a:cxnSpLocks/>
          </p:cNvCxnSpPr>
          <p:nvPr/>
        </p:nvCxnSpPr>
        <p:spPr>
          <a:xfrm>
            <a:off x="0" y="404664"/>
            <a:ext cx="407368"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982BB180-EFC3-4ADD-A169-DB5E93678ADE}"/>
              </a:ext>
            </a:extLst>
          </p:cNvPr>
          <p:cNvSpPr txBox="1"/>
          <p:nvPr/>
        </p:nvSpPr>
        <p:spPr>
          <a:xfrm>
            <a:off x="568375" y="310364"/>
            <a:ext cx="914400" cy="284908"/>
          </a:xfrm>
          <a:prstGeom prst="rect">
            <a:avLst/>
          </a:prstGeom>
          <a:noFill/>
        </p:spPr>
        <p:txBody>
          <a:bodyPr wrap="none" lIns="0" tIns="0" rIns="0" bIns="0" rtlCol="0" anchor="t">
            <a:noAutofit/>
          </a:bodyPr>
          <a:lstStyle/>
          <a:p>
            <a:pPr marL="0" marR="0" lvl="0" indent="0" algn="l" defTabSz="914400" rtl="0" eaLnBrk="1" fontAlgn="auto" latinLnBrk="0" hangingPunct="1">
              <a:lnSpc>
                <a:spcPct val="100000"/>
              </a:lnSpc>
              <a:spcBef>
                <a:spcPts val="0"/>
              </a:spcBef>
              <a:spcAft>
                <a:spcPts val="0"/>
              </a:spcAft>
              <a:buClr>
                <a:srgbClr val="008795"/>
              </a:buClr>
              <a:buSzTx/>
              <a:buFontTx/>
              <a:buNone/>
              <a:tabLst/>
              <a:defRPr/>
            </a:pPr>
            <a:r>
              <a:rPr kumimoji="0" lang="de-DE" sz="1000" b="0" i="0" u="none" strike="noStrike" kern="1200" cap="none" spc="0" normalizeH="0" baseline="0" noProof="0">
                <a:ln>
                  <a:noFill/>
                </a:ln>
                <a:solidFill>
                  <a:prstClr val="black"/>
                </a:solidFill>
                <a:effectLst/>
                <a:uLnTx/>
                <a:uFillTx/>
                <a:latin typeface="Segoe UI"/>
                <a:ea typeface="+mn-ea"/>
                <a:cs typeface="+mn-cs"/>
                <a:hlinkClick r:id="" action="ppaction://noaction">
                  <a:extLst>
                    <a:ext uri="{A12FA001-AC4F-418D-AE19-62706E023703}">
                      <ahyp:hlinkClr xmlns:ahyp="http://schemas.microsoft.com/office/drawing/2018/hyperlinkcolor" val="tx"/>
                    </a:ext>
                  </a:extLst>
                </a:hlinkClick>
              </a:rPr>
              <a:t>Industrie &amp; Gewerbe</a:t>
            </a:r>
            <a:endParaRPr kumimoji="0" lang="en-GB" sz="1000" b="0" i="0" u="none" strike="noStrike" kern="1200" cap="none" spc="0" normalizeH="0" baseline="0" noProof="0" err="1">
              <a:ln>
                <a:noFill/>
              </a:ln>
              <a:solidFill>
                <a:prstClr val="black"/>
              </a:solidFill>
              <a:effectLst/>
              <a:uLnTx/>
              <a:uFillTx/>
              <a:latin typeface="Segoe UI"/>
              <a:ea typeface="+mn-ea"/>
              <a:cs typeface="+mn-cs"/>
            </a:endParaRPr>
          </a:p>
        </p:txBody>
      </p:sp>
      <p:sp>
        <p:nvSpPr>
          <p:cNvPr id="21" name="Rechteck: abgerundete Ecken 20">
            <a:extLst>
              <a:ext uri="{FF2B5EF4-FFF2-40B4-BE49-F238E27FC236}">
                <a16:creationId xmlns:a16="http://schemas.microsoft.com/office/drawing/2014/main" id="{7AF18943-B257-4344-80CE-26DC9546AA51}"/>
              </a:ext>
            </a:extLst>
          </p:cNvPr>
          <p:cNvSpPr/>
          <p:nvPr/>
        </p:nvSpPr>
        <p:spPr bwMode="gray">
          <a:xfrm>
            <a:off x="3874331" y="1700809"/>
            <a:ext cx="7977299" cy="372194"/>
          </a:xfrm>
          <a:prstGeom prst="roundRect">
            <a:avLst>
              <a:gd name="adj" fmla="val 19599"/>
            </a:avLst>
          </a:prstGeom>
          <a:gradFill flip="none" rotWithShape="1">
            <a:gsLst>
              <a:gs pos="0">
                <a:srgbClr val="9D9D9D"/>
              </a:gs>
              <a:gs pos="47000">
                <a:srgbClr val="9D9D9D"/>
              </a:gs>
              <a:gs pos="53000">
                <a:srgbClr val="D94291"/>
              </a:gs>
              <a:gs pos="100000">
                <a:srgbClr val="D94291"/>
              </a:gs>
            </a:gsLst>
            <a:lin ang="13500000" scaled="1"/>
            <a:tileRect/>
          </a:gradFill>
          <a:ln w="2540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white"/>
                </a:solidFill>
                <a:effectLst/>
                <a:uLnTx/>
                <a:uFillTx/>
                <a:latin typeface="Segoe UI"/>
                <a:ea typeface="+mn-ea"/>
                <a:cs typeface="Segoe UI"/>
              </a:rPr>
              <a:t>Zuschuss </a:t>
            </a:r>
          </a:p>
        </p:txBody>
      </p:sp>
      <p:grpSp>
        <p:nvGrpSpPr>
          <p:cNvPr id="12" name="Gruppieren 11">
            <a:extLst>
              <a:ext uri="{FF2B5EF4-FFF2-40B4-BE49-F238E27FC236}">
                <a16:creationId xmlns:a16="http://schemas.microsoft.com/office/drawing/2014/main" id="{6F20FC64-4C77-4F39-B834-757526CF3E26}"/>
              </a:ext>
            </a:extLst>
          </p:cNvPr>
          <p:cNvGrpSpPr/>
          <p:nvPr/>
        </p:nvGrpSpPr>
        <p:grpSpPr>
          <a:xfrm>
            <a:off x="3795769" y="1625525"/>
            <a:ext cx="504056" cy="504056"/>
            <a:chOff x="2246051" y="5974"/>
            <a:chExt cx="504056" cy="504056"/>
          </a:xfrm>
        </p:grpSpPr>
        <p:sp>
          <p:nvSpPr>
            <p:cNvPr id="13" name="Ellipse 12">
              <a:extLst>
                <a:ext uri="{FF2B5EF4-FFF2-40B4-BE49-F238E27FC236}">
                  <a16:creationId xmlns:a16="http://schemas.microsoft.com/office/drawing/2014/main" id="{1D0A46DF-5AAD-476E-A7CC-581D587D7267}"/>
                </a:ext>
              </a:extLst>
            </p:cNvPr>
            <p:cNvSpPr/>
            <p:nvPr/>
          </p:nvSpPr>
          <p:spPr>
            <a:xfrm>
              <a:off x="2246051" y="5974"/>
              <a:ext cx="504056" cy="504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4" name="Grafik 13" descr="Geld mit einfarbiger Füllung">
              <a:extLst>
                <a:ext uri="{FF2B5EF4-FFF2-40B4-BE49-F238E27FC236}">
                  <a16:creationId xmlns:a16="http://schemas.microsoft.com/office/drawing/2014/main" id="{5BA272F9-4A80-4CE0-BF06-ED0EBC7520D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324613" y="62894"/>
              <a:ext cx="353486" cy="353486"/>
            </a:xfrm>
            <a:prstGeom prst="rect">
              <a:avLst/>
            </a:prstGeom>
          </p:spPr>
        </p:pic>
      </p:grpSp>
      <p:pic>
        <p:nvPicPr>
          <p:cNvPr id="6" name="Grafik 5">
            <a:extLst>
              <a:ext uri="{FF2B5EF4-FFF2-40B4-BE49-F238E27FC236}">
                <a16:creationId xmlns:a16="http://schemas.microsoft.com/office/drawing/2014/main" id="{3DBB2765-01F8-1A0F-F774-1D3175FFBF2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466359" y="6408284"/>
            <a:ext cx="525185" cy="304946"/>
          </a:xfrm>
          <a:prstGeom prst="rect">
            <a:avLst/>
          </a:prstGeom>
        </p:spPr>
      </p:pic>
      <p:sp>
        <p:nvSpPr>
          <p:cNvPr id="4" name="Fußzeilenplatzhalter 3">
            <a:extLst>
              <a:ext uri="{FF2B5EF4-FFF2-40B4-BE49-F238E27FC236}">
                <a16:creationId xmlns:a16="http://schemas.microsoft.com/office/drawing/2014/main" id="{6BBF4716-147A-44DE-F57D-4A9A7A4767A3}"/>
              </a:ext>
            </a:extLst>
          </p:cNvPr>
          <p:cNvSpPr>
            <a:spLocks noGrp="1"/>
          </p:cNvSpPr>
          <p:nvPr>
            <p:ph type="ftr" sz="quarter" idx="11"/>
          </p:nvPr>
        </p:nvSpPr>
        <p:spPr>
          <a:xfrm>
            <a:off x="2279576" y="6373552"/>
            <a:ext cx="8061322" cy="3678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Segoe UI"/>
                <a:ea typeface="+mn-ea"/>
                <a:cs typeface="+mn-cs"/>
              </a:rPr>
              <a:t>DISCLAIMER: Die Informationen in dieser Förderübersicht werden ständig geprüft und aktualisiert. Trotz aller Sorgfalt können sich Angaben inzwischen geändert haben. Eine Haftung oder Garantie für die Aktualität, Richtigkeit und Vollständigkeit der zur Verfügung gestellten Informationen kann deshalb nicht übernommen werden. Die Deutsche Unternehmensinitiative Energieeffizienz e. V. (DENEFF) übernimmt keine Haftung für Informationen auf Webseiten Dritter, die per Link mit dieser Präsentation verbunden sind.</a:t>
            </a:r>
          </a:p>
        </p:txBody>
      </p:sp>
      <p:sp>
        <p:nvSpPr>
          <p:cNvPr id="7" name="Textfeld 6">
            <a:extLst>
              <a:ext uri="{FF2B5EF4-FFF2-40B4-BE49-F238E27FC236}">
                <a16:creationId xmlns:a16="http://schemas.microsoft.com/office/drawing/2014/main" id="{32ED0FF2-E6CE-B355-6265-0706A5FA588E}"/>
              </a:ext>
            </a:extLst>
          </p:cNvPr>
          <p:cNvSpPr txBox="1"/>
          <p:nvPr/>
        </p:nvSpPr>
        <p:spPr>
          <a:xfrm>
            <a:off x="10340898" y="6377432"/>
            <a:ext cx="1219200" cy="363936"/>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
                <a:srgbClr val="008795"/>
              </a:buClr>
              <a:buSzTx/>
              <a:buFontTx/>
              <a:buNone/>
              <a:tabLst/>
              <a:defRPr/>
            </a:pPr>
            <a:r>
              <a:rPr kumimoji="0" lang="de-DE" sz="800" b="0" i="0" u="none" strike="noStrike" kern="1200" cap="none" spc="0" normalizeH="0" baseline="30000" noProof="0">
                <a:ln>
                  <a:noFill/>
                </a:ln>
                <a:solidFill>
                  <a:prstClr val="black"/>
                </a:solidFill>
                <a:effectLst/>
                <a:uLnTx/>
                <a:uFillTx/>
                <a:latin typeface="Segoe UI"/>
                <a:ea typeface="+mn-ea"/>
                <a:cs typeface="+mn-cs"/>
              </a:rPr>
              <a:t>1</a:t>
            </a:r>
            <a:r>
              <a:rPr kumimoji="0" lang="de-DE" sz="800" b="0" i="0" u="none" strike="noStrike" kern="1200" cap="none" spc="0" normalizeH="0" baseline="0" noProof="0">
                <a:ln>
                  <a:noFill/>
                </a:ln>
                <a:solidFill>
                  <a:prstClr val="black"/>
                </a:solidFill>
                <a:effectLst/>
                <a:uLnTx/>
                <a:uFillTx/>
                <a:latin typeface="Segoe UI"/>
                <a:ea typeface="+mn-ea"/>
                <a:cs typeface="+mn-cs"/>
              </a:rPr>
              <a:t> KMU-Definition der </a:t>
            </a:r>
            <a:r>
              <a:rPr kumimoji="0" lang="de-DE" sz="800" b="0" i="0" u="none" strike="noStrike" kern="1200" cap="none" spc="0" normalizeH="0" baseline="0" noProof="0">
                <a:ln>
                  <a:noFill/>
                </a:ln>
                <a:solidFill>
                  <a:prstClr val="black"/>
                </a:solidFill>
                <a:effectLst/>
                <a:uLnTx/>
                <a:uFillTx/>
                <a:latin typeface="Segoe UI"/>
                <a:ea typeface="+mn-ea"/>
                <a:cs typeface="+mn-cs"/>
                <a:hlinkClick r:id="rId13"/>
              </a:rPr>
              <a:t>EU-Empfehlung 2003/361/EG </a:t>
            </a:r>
            <a:r>
              <a:rPr kumimoji="0" lang="de-DE" sz="800" b="0" i="0" u="none" strike="noStrike" kern="1200" cap="none" spc="0" normalizeH="0" baseline="0" noProof="0">
                <a:ln>
                  <a:noFill/>
                </a:ln>
                <a:solidFill>
                  <a:prstClr val="black"/>
                </a:solidFill>
                <a:effectLst/>
                <a:uLnTx/>
                <a:uFillTx/>
                <a:latin typeface="Segoe UI"/>
                <a:ea typeface="+mn-ea"/>
                <a:cs typeface="+mn-cs"/>
              </a:rPr>
              <a:t>der EU-Kommission</a:t>
            </a:r>
            <a:endParaRPr kumimoji="0" lang="en-GB" sz="800" b="0" i="0" u="none" strike="noStrike" kern="1200" cap="none" spc="0" normalizeH="0" baseline="0" noProof="0" err="1">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6213826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92885E-3D97-45EE-8081-154E4201EA01}"/>
              </a:ext>
            </a:extLst>
          </p:cNvPr>
          <p:cNvSpPr>
            <a:spLocks noGrp="1"/>
          </p:cNvSpPr>
          <p:nvPr>
            <p:ph type="title"/>
          </p:nvPr>
        </p:nvSpPr>
        <p:spPr/>
        <p:txBody>
          <a:bodyPr/>
          <a:lstStyle/>
          <a:p>
            <a:r>
              <a:rPr lang="de-DE"/>
              <a:t>Bundesförderung Energie- und Ressourceneffizienz in der Wirtschaft – </a:t>
            </a:r>
            <a:br>
              <a:rPr lang="de-DE"/>
            </a:br>
            <a:r>
              <a:rPr lang="de-DE"/>
              <a:t>Modul 6: Elektrifizierung von kleinen Unternehmen</a:t>
            </a:r>
            <a:endParaRPr lang="en-GB"/>
          </a:p>
        </p:txBody>
      </p:sp>
      <p:graphicFrame>
        <p:nvGraphicFramePr>
          <p:cNvPr id="8" name="Inhaltsplatzhalter 7">
            <a:hlinkClick r:id="" action="ppaction://noaction" highlightClick="1"/>
            <a:extLst>
              <a:ext uri="{FF2B5EF4-FFF2-40B4-BE49-F238E27FC236}">
                <a16:creationId xmlns:a16="http://schemas.microsoft.com/office/drawing/2014/main" id="{A436C903-3416-4159-9C9C-162FE01CA096}"/>
              </a:ext>
            </a:extLst>
          </p:cNvPr>
          <p:cNvGraphicFramePr>
            <a:graphicFrameLocks noGrp="1"/>
          </p:cNvGraphicFramePr>
          <p:nvPr>
            <p:ph idx="1"/>
          </p:nvPr>
        </p:nvGraphicFramePr>
        <p:xfrm>
          <a:off x="550862" y="2208115"/>
          <a:ext cx="11306177" cy="36829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Foliennummernplatzhalter 4">
            <a:extLst>
              <a:ext uri="{FF2B5EF4-FFF2-40B4-BE49-F238E27FC236}">
                <a16:creationId xmlns:a16="http://schemas.microsoft.com/office/drawing/2014/main" id="{956B46B6-DB94-4332-977B-B2D3BB8D6063}"/>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6A2A10-B827-4CCE-9EB2-A13B5A721707}" type="slidenum">
              <a:rPr kumimoji="0" lang="de-DE" sz="10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de-DE" sz="1000" b="0" i="0" u="none" strike="noStrike" kern="1200" cap="none" spc="0" normalizeH="0" baseline="0" noProof="0">
              <a:ln>
                <a:noFill/>
              </a:ln>
              <a:solidFill>
                <a:prstClr val="black"/>
              </a:solidFill>
              <a:effectLst/>
              <a:uLnTx/>
              <a:uFillTx/>
              <a:latin typeface="Segoe UI"/>
              <a:ea typeface="+mn-ea"/>
              <a:cs typeface="+mn-cs"/>
            </a:endParaRPr>
          </a:p>
        </p:txBody>
      </p:sp>
      <p:sp>
        <p:nvSpPr>
          <p:cNvPr id="15" name="Rechteck: abgerundete Ecken 14">
            <a:extLst>
              <a:ext uri="{FF2B5EF4-FFF2-40B4-BE49-F238E27FC236}">
                <a16:creationId xmlns:a16="http://schemas.microsoft.com/office/drawing/2014/main" id="{E251C655-D0ED-4A17-AFC8-9A676441433F}"/>
              </a:ext>
            </a:extLst>
          </p:cNvPr>
          <p:cNvSpPr/>
          <p:nvPr/>
        </p:nvSpPr>
        <p:spPr bwMode="gray">
          <a:xfrm>
            <a:off x="623392" y="1700809"/>
            <a:ext cx="3096344" cy="372194"/>
          </a:xfrm>
          <a:prstGeom prst="roundRect">
            <a:avLst>
              <a:gd name="adj" fmla="val 19599"/>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 </a:t>
            </a:r>
            <a:r>
              <a:rPr kumimoji="0" lang="de-DE" sz="1800" b="1"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rPr>
              <a:t>C.Noll</a:t>
            </a:r>
            <a:endParaRPr kumimoji="0" lang="de-DE" sz="18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nvGrpSpPr>
          <p:cNvPr id="16" name="Gruppieren 15">
            <a:extLst>
              <a:ext uri="{FF2B5EF4-FFF2-40B4-BE49-F238E27FC236}">
                <a16:creationId xmlns:a16="http://schemas.microsoft.com/office/drawing/2014/main" id="{D290039D-AD81-428B-AB88-801BB15DE96C}"/>
              </a:ext>
            </a:extLst>
          </p:cNvPr>
          <p:cNvGrpSpPr/>
          <p:nvPr/>
        </p:nvGrpSpPr>
        <p:grpSpPr>
          <a:xfrm>
            <a:off x="547359" y="1628775"/>
            <a:ext cx="504056" cy="504056"/>
            <a:chOff x="2208090" y="3644203"/>
            <a:chExt cx="504056" cy="504056"/>
          </a:xfrm>
        </p:grpSpPr>
        <p:sp>
          <p:nvSpPr>
            <p:cNvPr id="17" name="Ellipse 16">
              <a:extLst>
                <a:ext uri="{FF2B5EF4-FFF2-40B4-BE49-F238E27FC236}">
                  <a16:creationId xmlns:a16="http://schemas.microsoft.com/office/drawing/2014/main" id="{8BE80A81-6B9A-4C8F-91B3-FD817ABDF367}"/>
                </a:ext>
              </a:extLst>
            </p:cNvPr>
            <p:cNvSpPr/>
            <p:nvPr/>
          </p:nvSpPr>
          <p:spPr>
            <a:xfrm>
              <a:off x="2208090" y="3644203"/>
              <a:ext cx="504056" cy="504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8" name="Grafik 17" descr="Held männlich mit einfarbiger Füllung">
              <a:extLst>
                <a:ext uri="{FF2B5EF4-FFF2-40B4-BE49-F238E27FC236}">
                  <a16:creationId xmlns:a16="http://schemas.microsoft.com/office/drawing/2014/main" id="{15515342-63C0-435C-97D4-64F95D1902D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280098" y="3724140"/>
              <a:ext cx="345800" cy="345800"/>
            </a:xfrm>
            <a:prstGeom prst="rect">
              <a:avLst/>
            </a:prstGeom>
          </p:spPr>
        </p:pic>
      </p:grpSp>
      <p:cxnSp>
        <p:nvCxnSpPr>
          <p:cNvPr id="19" name="Gerader Verbinder 18">
            <a:extLst>
              <a:ext uri="{FF2B5EF4-FFF2-40B4-BE49-F238E27FC236}">
                <a16:creationId xmlns:a16="http://schemas.microsoft.com/office/drawing/2014/main" id="{4C32347F-3977-47FD-8189-AE49A44DA932}"/>
              </a:ext>
            </a:extLst>
          </p:cNvPr>
          <p:cNvCxnSpPr>
            <a:cxnSpLocks/>
          </p:cNvCxnSpPr>
          <p:nvPr/>
        </p:nvCxnSpPr>
        <p:spPr>
          <a:xfrm>
            <a:off x="0" y="404664"/>
            <a:ext cx="407368"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982BB180-EFC3-4ADD-A169-DB5E93678ADE}"/>
              </a:ext>
            </a:extLst>
          </p:cNvPr>
          <p:cNvSpPr txBox="1"/>
          <p:nvPr/>
        </p:nvSpPr>
        <p:spPr>
          <a:xfrm>
            <a:off x="568375" y="310364"/>
            <a:ext cx="914400" cy="284908"/>
          </a:xfrm>
          <a:prstGeom prst="rect">
            <a:avLst/>
          </a:prstGeom>
          <a:noFill/>
        </p:spPr>
        <p:txBody>
          <a:bodyPr wrap="none" lIns="0" tIns="0" rIns="0" bIns="0" rtlCol="0" anchor="t">
            <a:noAutofit/>
          </a:bodyPr>
          <a:lstStyle/>
          <a:p>
            <a:pPr marL="0" marR="0" lvl="0" indent="0" algn="l" defTabSz="914400" rtl="0" eaLnBrk="1" fontAlgn="auto" latinLnBrk="0" hangingPunct="1">
              <a:lnSpc>
                <a:spcPct val="100000"/>
              </a:lnSpc>
              <a:spcBef>
                <a:spcPts val="0"/>
              </a:spcBef>
              <a:spcAft>
                <a:spcPts val="0"/>
              </a:spcAft>
              <a:buClr>
                <a:srgbClr val="008795"/>
              </a:buClr>
              <a:buSzTx/>
              <a:buFontTx/>
              <a:buNone/>
              <a:tabLst/>
              <a:defRPr/>
            </a:pPr>
            <a:r>
              <a:rPr kumimoji="0" lang="de-DE" sz="1000" b="0" i="0" u="none" strike="noStrike" kern="1200" cap="none" spc="0" normalizeH="0" baseline="0" noProof="0">
                <a:ln>
                  <a:noFill/>
                </a:ln>
                <a:solidFill>
                  <a:prstClr val="black"/>
                </a:solidFill>
                <a:effectLst/>
                <a:uLnTx/>
                <a:uFillTx/>
                <a:latin typeface="Segoe UI"/>
                <a:ea typeface="+mn-ea"/>
                <a:cs typeface="+mn-cs"/>
                <a:hlinkClick r:id="" action="ppaction://noaction">
                  <a:extLst>
                    <a:ext uri="{A12FA001-AC4F-418D-AE19-62706E023703}">
                      <ahyp:hlinkClr xmlns:ahyp="http://schemas.microsoft.com/office/drawing/2018/hyperlinkcolor" val="tx"/>
                    </a:ext>
                  </a:extLst>
                </a:hlinkClick>
              </a:rPr>
              <a:t>Industrie &amp; Gewerbe</a:t>
            </a:r>
            <a:endParaRPr kumimoji="0" lang="en-GB" sz="1000" b="0" i="0" u="none" strike="noStrike" kern="1200" cap="none" spc="0" normalizeH="0" baseline="0" noProof="0" err="1">
              <a:ln>
                <a:noFill/>
              </a:ln>
              <a:solidFill>
                <a:prstClr val="black"/>
              </a:solidFill>
              <a:effectLst/>
              <a:uLnTx/>
              <a:uFillTx/>
              <a:latin typeface="Segoe UI"/>
              <a:ea typeface="+mn-ea"/>
              <a:cs typeface="+mn-cs"/>
            </a:endParaRPr>
          </a:p>
        </p:txBody>
      </p:sp>
      <p:sp>
        <p:nvSpPr>
          <p:cNvPr id="21" name="Rechteck: abgerundete Ecken 20">
            <a:extLst>
              <a:ext uri="{FF2B5EF4-FFF2-40B4-BE49-F238E27FC236}">
                <a16:creationId xmlns:a16="http://schemas.microsoft.com/office/drawing/2014/main" id="{7AF18943-B257-4344-80CE-26DC9546AA51}"/>
              </a:ext>
            </a:extLst>
          </p:cNvPr>
          <p:cNvSpPr/>
          <p:nvPr/>
        </p:nvSpPr>
        <p:spPr bwMode="gray">
          <a:xfrm>
            <a:off x="3874331" y="1700809"/>
            <a:ext cx="7977299" cy="372194"/>
          </a:xfrm>
          <a:prstGeom prst="roundRect">
            <a:avLst>
              <a:gd name="adj" fmla="val 19599"/>
            </a:avLst>
          </a:prstGeom>
          <a:gradFill flip="none" rotWithShape="1">
            <a:gsLst>
              <a:gs pos="0">
                <a:srgbClr val="9D9D9D"/>
              </a:gs>
              <a:gs pos="47000">
                <a:srgbClr val="9D9D9D"/>
              </a:gs>
              <a:gs pos="53000">
                <a:srgbClr val="D94291"/>
              </a:gs>
              <a:gs pos="100000">
                <a:srgbClr val="D94291"/>
              </a:gs>
            </a:gsLst>
            <a:lin ang="13500000" scaled="1"/>
            <a:tileRect/>
          </a:gradFill>
          <a:ln w="2540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Zuschuss / Kredit</a:t>
            </a:r>
          </a:p>
        </p:txBody>
      </p:sp>
      <p:grpSp>
        <p:nvGrpSpPr>
          <p:cNvPr id="12" name="Gruppieren 11">
            <a:extLst>
              <a:ext uri="{FF2B5EF4-FFF2-40B4-BE49-F238E27FC236}">
                <a16:creationId xmlns:a16="http://schemas.microsoft.com/office/drawing/2014/main" id="{6F20FC64-4C77-4F39-B834-757526CF3E26}"/>
              </a:ext>
            </a:extLst>
          </p:cNvPr>
          <p:cNvGrpSpPr/>
          <p:nvPr/>
        </p:nvGrpSpPr>
        <p:grpSpPr>
          <a:xfrm>
            <a:off x="3795769" y="1625525"/>
            <a:ext cx="504056" cy="504056"/>
            <a:chOff x="2246051" y="5974"/>
            <a:chExt cx="504056" cy="504056"/>
          </a:xfrm>
        </p:grpSpPr>
        <p:sp>
          <p:nvSpPr>
            <p:cNvPr id="13" name="Ellipse 12">
              <a:extLst>
                <a:ext uri="{FF2B5EF4-FFF2-40B4-BE49-F238E27FC236}">
                  <a16:creationId xmlns:a16="http://schemas.microsoft.com/office/drawing/2014/main" id="{1D0A46DF-5AAD-476E-A7CC-581D587D7267}"/>
                </a:ext>
              </a:extLst>
            </p:cNvPr>
            <p:cNvSpPr/>
            <p:nvPr/>
          </p:nvSpPr>
          <p:spPr>
            <a:xfrm>
              <a:off x="2246051" y="5974"/>
              <a:ext cx="504056" cy="504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4" name="Grafik 13" descr="Geld mit einfarbiger Füllung">
              <a:extLst>
                <a:ext uri="{FF2B5EF4-FFF2-40B4-BE49-F238E27FC236}">
                  <a16:creationId xmlns:a16="http://schemas.microsoft.com/office/drawing/2014/main" id="{5BA272F9-4A80-4CE0-BF06-ED0EBC7520D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324613" y="62894"/>
              <a:ext cx="353486" cy="353486"/>
            </a:xfrm>
            <a:prstGeom prst="rect">
              <a:avLst/>
            </a:prstGeom>
          </p:spPr>
        </p:pic>
      </p:grpSp>
      <p:pic>
        <p:nvPicPr>
          <p:cNvPr id="6" name="Grafik 5">
            <a:extLst>
              <a:ext uri="{FF2B5EF4-FFF2-40B4-BE49-F238E27FC236}">
                <a16:creationId xmlns:a16="http://schemas.microsoft.com/office/drawing/2014/main" id="{3DBB2765-01F8-1A0F-F774-1D3175FFBF2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466359" y="6408284"/>
            <a:ext cx="525185" cy="304946"/>
          </a:xfrm>
          <a:prstGeom prst="rect">
            <a:avLst/>
          </a:prstGeom>
        </p:spPr>
      </p:pic>
      <p:sp>
        <p:nvSpPr>
          <p:cNvPr id="4" name="Fußzeilenplatzhalter 3">
            <a:extLst>
              <a:ext uri="{FF2B5EF4-FFF2-40B4-BE49-F238E27FC236}">
                <a16:creationId xmlns:a16="http://schemas.microsoft.com/office/drawing/2014/main" id="{3641A9E4-23B5-C39E-EE39-A6F5AF8F8D13}"/>
              </a:ext>
            </a:extLst>
          </p:cNvPr>
          <p:cNvSpPr>
            <a:spLocks noGrp="1"/>
          </p:cNvSpPr>
          <p:nvPr>
            <p:ph type="ftr" sz="quarter" idx="11"/>
          </p:nvPr>
        </p:nvSpPr>
        <p:spPr>
          <a:xfrm>
            <a:off x="2279576" y="6373552"/>
            <a:ext cx="8061322" cy="3678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Segoe UI"/>
                <a:ea typeface="+mn-ea"/>
                <a:cs typeface="+mn-cs"/>
              </a:rPr>
              <a:t>DISCLAIMER: Die Informationen in dieser Förderübersicht werden ständig geprüft und aktualisiert. Trotz aller Sorgfalt können sich Angaben inzwischen geändert haben. Eine Haftung oder Garantie für die Aktualität, Richtigkeit und Vollständigkeit der zur Verfügung gestellten Informationen kann deshalb nicht übernommen werden. Die Deutsche Unternehmensinitiative Energieeffizienz e. V. (DENEFF) übernimmt keine Haftung für Informationen auf Webseiten Dritter, die per Link mit dieser Präsentation verbunden sind.</a:t>
            </a:r>
          </a:p>
        </p:txBody>
      </p:sp>
      <p:sp>
        <p:nvSpPr>
          <p:cNvPr id="7" name="Textfeld 6">
            <a:extLst>
              <a:ext uri="{FF2B5EF4-FFF2-40B4-BE49-F238E27FC236}">
                <a16:creationId xmlns:a16="http://schemas.microsoft.com/office/drawing/2014/main" id="{96DDB71B-5BD4-4C6A-2F94-1A555511A8DF}"/>
              </a:ext>
            </a:extLst>
          </p:cNvPr>
          <p:cNvSpPr txBox="1"/>
          <p:nvPr/>
        </p:nvSpPr>
        <p:spPr>
          <a:xfrm>
            <a:off x="10340898" y="6377432"/>
            <a:ext cx="1219200" cy="363936"/>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
                <a:srgbClr val="008795"/>
              </a:buClr>
              <a:buSzTx/>
              <a:buFontTx/>
              <a:buNone/>
              <a:tabLst/>
              <a:defRPr/>
            </a:pPr>
            <a:r>
              <a:rPr kumimoji="0" lang="de-DE" sz="800" b="0" i="0" u="none" strike="noStrike" kern="1200" cap="none" spc="0" normalizeH="0" baseline="30000" noProof="0">
                <a:ln>
                  <a:noFill/>
                </a:ln>
                <a:solidFill>
                  <a:prstClr val="black"/>
                </a:solidFill>
                <a:effectLst/>
                <a:uLnTx/>
                <a:uFillTx/>
                <a:latin typeface="Segoe UI"/>
                <a:ea typeface="+mn-ea"/>
                <a:cs typeface="+mn-cs"/>
              </a:rPr>
              <a:t>1</a:t>
            </a:r>
            <a:r>
              <a:rPr kumimoji="0" lang="de-DE" sz="800" b="0" i="0" u="none" strike="noStrike" kern="1200" cap="none" spc="0" normalizeH="0" baseline="0" noProof="0">
                <a:ln>
                  <a:noFill/>
                </a:ln>
                <a:solidFill>
                  <a:prstClr val="black"/>
                </a:solidFill>
                <a:effectLst/>
                <a:uLnTx/>
                <a:uFillTx/>
                <a:latin typeface="Segoe UI"/>
                <a:ea typeface="+mn-ea"/>
                <a:cs typeface="+mn-cs"/>
              </a:rPr>
              <a:t> KMU-Definition der </a:t>
            </a:r>
            <a:r>
              <a:rPr kumimoji="0" lang="de-DE" sz="800" b="0" i="0" u="none" strike="noStrike" kern="1200" cap="none" spc="0" normalizeH="0" baseline="0" noProof="0">
                <a:ln>
                  <a:noFill/>
                </a:ln>
                <a:solidFill>
                  <a:prstClr val="black"/>
                </a:solidFill>
                <a:effectLst/>
                <a:uLnTx/>
                <a:uFillTx/>
                <a:latin typeface="Segoe UI"/>
                <a:ea typeface="+mn-ea"/>
                <a:cs typeface="+mn-cs"/>
                <a:hlinkClick r:id="rId13"/>
              </a:rPr>
              <a:t>EU-Empfehlung 2003/361/EG </a:t>
            </a:r>
            <a:r>
              <a:rPr kumimoji="0" lang="de-DE" sz="800" b="0" i="0" u="none" strike="noStrike" kern="1200" cap="none" spc="0" normalizeH="0" baseline="0" noProof="0">
                <a:ln>
                  <a:noFill/>
                </a:ln>
                <a:solidFill>
                  <a:prstClr val="black"/>
                </a:solidFill>
                <a:effectLst/>
                <a:uLnTx/>
                <a:uFillTx/>
                <a:latin typeface="Segoe UI"/>
                <a:ea typeface="+mn-ea"/>
                <a:cs typeface="+mn-cs"/>
              </a:rPr>
              <a:t>der EU-Kommission</a:t>
            </a:r>
            <a:endParaRPr kumimoji="0" lang="en-GB" sz="800" b="0" i="0" u="none" strike="noStrike" kern="1200" cap="none" spc="0" normalizeH="0" baseline="0" noProof="0" err="1">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2663691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NEFF">
  <a:themeElements>
    <a:clrScheme name="DENEFF">
      <a:dk1>
        <a:sysClr val="windowText" lastClr="000000"/>
      </a:dk1>
      <a:lt1>
        <a:sysClr val="window" lastClr="FFFFFF"/>
      </a:lt1>
      <a:dk2>
        <a:srgbClr val="FC5B2F"/>
      </a:dk2>
      <a:lt2>
        <a:srgbClr val="008795"/>
      </a:lt2>
      <a:accent1>
        <a:srgbClr val="6F6F6F"/>
      </a:accent1>
      <a:accent2>
        <a:srgbClr val="BFE900"/>
      </a:accent2>
      <a:accent3>
        <a:srgbClr val="D94291"/>
      </a:accent3>
      <a:accent4>
        <a:srgbClr val="FE935B"/>
      </a:accent4>
      <a:accent5>
        <a:srgbClr val="DEFE4A"/>
      </a:accent5>
      <a:accent6>
        <a:srgbClr val="9D9D9D"/>
      </a:accent6>
      <a:hlink>
        <a:srgbClr val="008795"/>
      </a:hlink>
      <a:folHlink>
        <a:srgbClr val="008795"/>
      </a:folHlink>
    </a:clrScheme>
    <a:fontScheme name="DENEFF">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flip="none" rotWithShape="1">
          <a:gsLst>
            <a:gs pos="0">
              <a:srgbClr val="008795"/>
            </a:gs>
            <a:gs pos="45000">
              <a:srgbClr val="00C7D6"/>
            </a:gs>
          </a:gsLst>
          <a:lin ang="18900000" scaled="1"/>
          <a:tileRect/>
        </a:gradFill>
        <a:ln w="25400">
          <a:noFill/>
        </a:ln>
      </a:spPr>
      <a:bodyPr wrap="square" lIns="108000" tIns="108000" rIns="108000" bIns="108000" rtlCol="0" anchor="ctr"/>
      <a:lstStyle>
        <a:defPPr algn="l">
          <a:defRPr smtClean="0">
            <a:solidFill>
              <a:schemeClr val="tx1"/>
            </a:solidFill>
            <a:latin typeface="Segoe UI" panose="020B0502040204020203" pitchFamily="34" charset="0"/>
            <a:cs typeface="Segoe UI" panose="020B05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oAutofit/>
      </a:bodyPr>
      <a:lstStyle>
        <a:defPPr marL="216000" indent="-216000" algn="l">
          <a:buClr>
            <a:schemeClr val="bg2"/>
          </a:buClr>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K16_DENEFF_Master_Rebranding.potx" id="{3925D9AB-BEF9-4BB7-9265-7B68B51517CC}" vid="{E66C5E07-20B6-4FBD-A909-45267EB30D46}"/>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17934c99-9713-4f2f-b31e-3dad2438f0bc">
      <Terms xmlns="http://schemas.microsoft.com/office/infopath/2007/PartnerControls"/>
    </lcf76f155ced4ddcb4097134ff3c332f>
    <TaxCatchAll xmlns="a437a9af-f405-45f1-b0fa-90ea4841bb2d"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CCDE158DA5EE6C4894D8817AA990E9A8" ma:contentTypeVersion="12" ma:contentTypeDescription="Ein neues Dokument erstellen." ma:contentTypeScope="" ma:versionID="5102c55cb9730e919d24e9b32086bf63">
  <xsd:schema xmlns:xsd="http://www.w3.org/2001/XMLSchema" xmlns:xs="http://www.w3.org/2001/XMLSchema" xmlns:p="http://schemas.microsoft.com/office/2006/metadata/properties" xmlns:ns2="17934c99-9713-4f2f-b31e-3dad2438f0bc" xmlns:ns3="a437a9af-f405-45f1-b0fa-90ea4841bb2d" targetNamespace="http://schemas.microsoft.com/office/2006/metadata/properties" ma:root="true" ma:fieldsID="bc3767356085b42ad41f2774e3ab8c4a" ns2:_="" ns3:_="">
    <xsd:import namespace="17934c99-9713-4f2f-b31e-3dad2438f0bc"/>
    <xsd:import namespace="a437a9af-f405-45f1-b0fa-90ea4841bb2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7934c99-9713-4f2f-b31e-3dad2438f0b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Bildmarkierungen" ma:readOnly="false" ma:fieldId="{5cf76f15-5ced-4ddc-b409-7134ff3c332f}" ma:taxonomyMulti="true" ma:sspId="8cec0183-bb4a-41ce-aa3b-3083c9da215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437a9af-f405-45f1-b0fa-90ea4841bb2d"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7cbddee7-5a36-4e8b-9a61-8cdf18a6a5cb}" ma:internalName="TaxCatchAll" ma:showField="CatchAllData" ma:web="a437a9af-f405-45f1-b0fa-90ea4841bb2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94505F6-703E-42AE-89D9-EBEB7975BAAA}">
  <ds:schemaRefs>
    <ds:schemaRef ds:uri="http://schemas.microsoft.com/office/2006/metadata/properties"/>
    <ds:schemaRef ds:uri="http://schemas.microsoft.com/office/infopath/2007/PartnerControls"/>
    <ds:schemaRef ds:uri="17934c99-9713-4f2f-b31e-3dad2438f0bc"/>
    <ds:schemaRef ds:uri="a437a9af-f405-45f1-b0fa-90ea4841bb2d"/>
  </ds:schemaRefs>
</ds:datastoreItem>
</file>

<file path=customXml/itemProps2.xml><?xml version="1.0" encoding="utf-8"?>
<ds:datastoreItem xmlns:ds="http://schemas.openxmlformats.org/officeDocument/2006/customXml" ds:itemID="{A08CAD87-ED4F-4839-A722-2204CA1AA059}">
  <ds:schemaRefs>
    <ds:schemaRef ds:uri="http://schemas.microsoft.com/sharepoint/v3/contenttype/forms"/>
  </ds:schemaRefs>
</ds:datastoreItem>
</file>

<file path=customXml/itemProps3.xml><?xml version="1.0" encoding="utf-8"?>
<ds:datastoreItem xmlns:ds="http://schemas.openxmlformats.org/officeDocument/2006/customXml" ds:itemID="{53131042-4ED3-4F27-882E-EA9F762942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7934c99-9713-4f2f-b31e-3dad2438f0bc"/>
    <ds:schemaRef ds:uri="a437a9af-f405-45f1-b0fa-90ea4841bb2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3069</Words>
  <Application>Microsoft Office PowerPoint</Application>
  <PresentationFormat>Breitbild</PresentationFormat>
  <Paragraphs>260</Paragraphs>
  <Slides>13</Slides>
  <Notes>10</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3</vt:i4>
      </vt:variant>
    </vt:vector>
  </HeadingPairs>
  <TitlesOfParts>
    <vt:vector size="20" baseType="lpstr">
      <vt:lpstr>Aptos</vt:lpstr>
      <vt:lpstr>Arial</vt:lpstr>
      <vt:lpstr>Segoe UI</vt:lpstr>
      <vt:lpstr>Times New Roman</vt:lpstr>
      <vt:lpstr>Wingdings</vt:lpstr>
      <vt:lpstr>DENEFF</vt:lpstr>
      <vt:lpstr>think-cell Folie</vt:lpstr>
      <vt:lpstr>Energieeffizienz: Übersicht über die Förderprogramme des Bundes</vt:lpstr>
      <vt:lpstr> Übersicht</vt:lpstr>
      <vt:lpstr>Energieeffizienzprogramm für Produktionsanlagen und Prozesse: KfW 292/293</vt:lpstr>
      <vt:lpstr>Bundesförderung Energie- und Ressourceneffizienz in der Wirtschaft –  Modul 1: Querschnittstechnologien</vt:lpstr>
      <vt:lpstr>Bundesförderung Energie- und Ressourceneffizienz in der Wirtschaft –  Modul 2: Prozesswärme aus Erneuerbaren Energien</vt:lpstr>
      <vt:lpstr>Bundesförderung Energie- und Ressourceneffizienz in der Wirtschaft –  Modul 3: MSR, Sensorik und Energiemanagementsoftware</vt:lpstr>
      <vt:lpstr>Bundesförderung Energie- und Ressourceneffizienz in der Wirtschaft –  Modul 4: Optimierung von Anlagen und Prozessen</vt:lpstr>
      <vt:lpstr>Bundesförderung Energie- und Ressourceneffizienz in der Wirtschaft –  Modul 5: Transformationspläne</vt:lpstr>
      <vt:lpstr>Bundesförderung Energie- und Ressourceneffizienz in der Wirtschaft –  Modul 6: Elektrifizierung von kleinen Unternehmen</vt:lpstr>
      <vt:lpstr>BMWE-Förderwettbewerb Energie und Ressourceneffizienz (EEW)</vt:lpstr>
      <vt:lpstr>Bundesförderung Industrie und Klimaschutz (BIK) – Förderung zur Dekarbonisierung der Industrie (Modul 1)</vt:lpstr>
      <vt:lpstr>Förderprogramm Klimaschutzverträge </vt:lpstr>
      <vt:lpstr>Impressum  Deutsche Unternehmensinitiative Energieeffizienz e.V. (DENEFF) Alt-Moabit 103 10559 Berlin www.deneff.org  DENEFF EDL_HUB gGmbH Alt-Moabit 103 10559 Berlin www.deneff.org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ENEFF / Clemens Buhr</dc:creator>
  <cp:lastModifiedBy>Roland Hamelmann</cp:lastModifiedBy>
  <cp:revision>1</cp:revision>
  <dcterms:created xsi:type="dcterms:W3CDTF">2026-03-05T15:38:58Z</dcterms:created>
  <dcterms:modified xsi:type="dcterms:W3CDTF">2026-03-20T10:30: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DE158DA5EE6C4894D8817AA990E9A8</vt:lpwstr>
  </property>
</Properties>
</file>